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6.xml" ContentType="application/vnd.openxmlformats-officedocument.drawingml.chart+xml"/>
  <Override PartName="/ppt/theme/themeOverride3.xml" ContentType="application/vnd.openxmlformats-officedocument.themeOverride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drawings/drawing2.xml" ContentType="application/vnd.openxmlformats-officedocument.drawingml.chartshapes+xml"/>
  <Override PartName="/ppt/comments/modernComment_DC0793B_328A17C9.xml" ContentType="application/vnd.ms-powerpoint.comments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drawings/drawing3.xml" ContentType="application/vnd.openxmlformats-officedocument.drawingml.chartshapes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omments/modernComment_DC07938_AF935367.xml" ContentType="application/vnd.ms-powerpoint.comments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4.xml" ContentType="application/vnd.openxmlformats-officedocument.drawingml.chartshapes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5.xml" ContentType="application/vnd.openxmlformats-officedocument.drawingml.chartshapes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6.xml" ContentType="application/vnd.openxmlformats-officedocument.themeOverride+xml"/>
  <Override PartName="/ppt/charts/chart15.xml" ContentType="application/vnd.openxmlformats-officedocument.drawingml.chart+xml"/>
  <Override PartName="/ppt/theme/themeOverride7.xml" ContentType="application/vnd.openxmlformats-officedocument.themeOverride+xml"/>
  <Override PartName="/ppt/charts/chart16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8.xml" ContentType="application/vnd.openxmlformats-officedocument.themeOverride+xml"/>
  <Override PartName="/ppt/drawings/drawing6.xml" ContentType="application/vnd.openxmlformats-officedocument.drawingml.chartshapes+xml"/>
  <Override PartName="/ppt/charts/chart17.xml" ContentType="application/vnd.openxmlformats-officedocument.drawingml.chart+xml"/>
  <Override PartName="/ppt/theme/themeOverride9.xml" ContentType="application/vnd.openxmlformats-officedocument.themeOverride+xml"/>
  <Override PartName="/ppt/drawings/drawing7.xml" ContentType="application/vnd.openxmlformats-officedocument.drawingml.chartshapes+xml"/>
  <Override PartName="/ppt/charts/chart1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0.xml" ContentType="application/vnd.openxmlformats-officedocument.themeOverr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1.xml" ContentType="application/vnd.openxmlformats-officedocument.themeOverride+xml"/>
  <Override PartName="/ppt/charts/chart21.xml" ContentType="application/vnd.openxmlformats-officedocument.drawingml.chart+xml"/>
  <Override PartName="/ppt/theme/themeOverride12.xml" ContentType="application/vnd.openxmlformats-officedocument.themeOverride+xml"/>
  <Override PartName="/ppt/charts/chart22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3.xml" ContentType="application/vnd.openxmlformats-officedocument.themeOverride+xml"/>
  <Override PartName="/ppt/drawings/drawing8.xml" ContentType="application/vnd.openxmlformats-officedocument.drawingml.chartshapes+xml"/>
  <Override PartName="/ppt/charts/chart23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4.xml" ContentType="application/vnd.openxmlformats-officedocument.themeOverride+xml"/>
  <Override PartName="/ppt/drawings/drawing9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4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5.xml" ContentType="application/vnd.openxmlformats-officedocument.themeOverride+xml"/>
  <Override PartName="/ppt/notesSlides/notesSlide4.xml" ContentType="application/vnd.openxmlformats-officedocument.presentationml.notesSlide+xml"/>
  <Override PartName="/ppt/comments/modernComment_DC07930_6286DCEB.xml" ContentType="application/vnd.ms-powerpoint.comments+xml"/>
  <Override PartName="/ppt/charts/chart25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16.xml" ContentType="application/vnd.openxmlformats-officedocument.themeOverride+xml"/>
  <Override PartName="/ppt/comments/modernComment_138_BDFD282E.xml" ContentType="application/vnd.ms-powerpoint.comments+xml"/>
  <Override PartName="/ppt/charts/chart26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7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8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9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heme/themeOverride17.xml" ContentType="application/vnd.openxmlformats-officedocument.themeOverride+xml"/>
  <Override PartName="/ppt/drawings/drawing10.xml" ContentType="application/vnd.openxmlformats-officedocument.drawingml.chartshapes+xml"/>
  <Override PartName="/ppt/charts/chart30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heme/themeOverride18.xml" ContentType="application/vnd.openxmlformats-officedocument.themeOverride+xml"/>
  <Override PartName="/ppt/drawings/drawing11.xml" ContentType="application/vnd.openxmlformats-officedocument.drawingml.chartshapes+xml"/>
  <Override PartName="/ppt/charts/chart31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heme/themeOverride19.xml" ContentType="application/vnd.openxmlformats-officedocument.themeOverride+xml"/>
  <Override PartName="/ppt/drawings/drawing12.xml" ContentType="application/vnd.openxmlformats-officedocument.drawingml.chartshapes+xml"/>
  <Override PartName="/ppt/charts/chart32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drawings/drawing13.xml" ContentType="application/vnd.openxmlformats-officedocument.drawingml.chartshape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46"/>
  </p:notesMasterIdLst>
  <p:sldIdLst>
    <p:sldId id="256" r:id="rId5"/>
    <p:sldId id="230717734" r:id="rId6"/>
    <p:sldId id="230717738" r:id="rId7"/>
    <p:sldId id="230717735" r:id="rId8"/>
    <p:sldId id="230717733" r:id="rId9"/>
    <p:sldId id="261" r:id="rId10"/>
    <p:sldId id="306" r:id="rId11"/>
    <p:sldId id="269" r:id="rId12"/>
    <p:sldId id="272" r:id="rId13"/>
    <p:sldId id="273" r:id="rId14"/>
    <p:sldId id="275" r:id="rId15"/>
    <p:sldId id="266" r:id="rId16"/>
    <p:sldId id="309" r:id="rId17"/>
    <p:sldId id="230717755" r:id="rId18"/>
    <p:sldId id="230717757" r:id="rId19"/>
    <p:sldId id="230717751" r:id="rId20"/>
    <p:sldId id="230717752" r:id="rId21"/>
    <p:sldId id="304" r:id="rId22"/>
    <p:sldId id="280" r:id="rId23"/>
    <p:sldId id="293" r:id="rId24"/>
    <p:sldId id="303" r:id="rId25"/>
    <p:sldId id="305" r:id="rId26"/>
    <p:sldId id="302" r:id="rId27"/>
    <p:sldId id="284" r:id="rId28"/>
    <p:sldId id="285" r:id="rId29"/>
    <p:sldId id="287" r:id="rId30"/>
    <p:sldId id="307" r:id="rId31"/>
    <p:sldId id="308" r:id="rId32"/>
    <p:sldId id="288" r:id="rId33"/>
    <p:sldId id="286" r:id="rId34"/>
    <p:sldId id="290" r:id="rId35"/>
    <p:sldId id="230717736" r:id="rId36"/>
    <p:sldId id="310" r:id="rId37"/>
    <p:sldId id="230717744" r:id="rId38"/>
    <p:sldId id="312" r:id="rId39"/>
    <p:sldId id="230717754" r:id="rId40"/>
    <p:sldId id="230717737" r:id="rId41"/>
    <p:sldId id="230717756" r:id="rId42"/>
    <p:sldId id="230717745" r:id="rId43"/>
    <p:sldId id="230717746" r:id="rId44"/>
    <p:sldId id="230717753" r:id="rId4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6FFE83-CEA1-AD2D-DA04-2327BE67894E}" name="Vuorenmaa Mikko" initials="VM" userId="S::mikko.vuorenmaa@energia.fi::6a1bce60-70f0-4286-abb4-71a3853c60fc" providerId="AD"/>
  <p188:author id="{F96AA194-01CD-64FF-3F0D-453A202DABEB}" name="Muukkonen Karoliina" initials="MK" userId="S::karoliina.muukkonen@energia.fi::c847a142-2f26-409f-867e-20f5e1def4b5" providerId="AD"/>
  <p188:author id="{C092A9C8-9208-10F7-0C59-98BC27B89846}" name="Kostama Jari" initials="KJ" userId="S::jari.kostama@energia.fi::bc6a17e7-00bb-4971-9824-063f1aeeb971" providerId="AD"/>
  <p188:author id="{B747C4EA-1D5F-C4CE-90AF-9E6E8684EFE4}" name="Huttunen Neea" initials="HN" userId="S::neea.huttunen@energia.fi::2244a6da-0b88-4971-ba1f-380dc9513901" providerId="AD"/>
  <p188:author id="{8333BEFC-3F32-0712-7288-B11514B6BA3A}" name="Pasi Jonna" initials="PJ" userId="S::jonna.pasi@energia.fi::9e260d7c-6b8e-453a-afe2-c682be6a1a5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49" autoAdjust="0"/>
    <p:restoredTop sz="94660"/>
  </p:normalViewPr>
  <p:slideViewPr>
    <p:cSldViewPr snapToGrid="0">
      <p:cViewPr varScale="1">
        <p:scale>
          <a:sx n="138" d="100"/>
          <a:sy n="138" d="100"/>
        </p:scale>
        <p:origin x="1086" y="3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4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5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NULL" TargetMode="Externa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7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1.xml"/><Relationship Id="rId1" Type="http://schemas.microsoft.com/office/2011/relationships/chartStyle" Target="style11.xml"/><Relationship Id="rId5" Type="http://schemas.openxmlformats.org/officeDocument/2006/relationships/chartUserShapes" Target="../drawings/drawing6.xml"/><Relationship Id="rId4" Type="http://schemas.openxmlformats.org/officeDocument/2006/relationships/oleObject" Target="NULL" TargetMode="Externa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7.xml"/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9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NULL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NULL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NULL" TargetMode="Externa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2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4.xml"/><Relationship Id="rId1" Type="http://schemas.microsoft.com/office/2011/relationships/chartStyle" Target="style14.xml"/><Relationship Id="rId5" Type="http://schemas.openxmlformats.org/officeDocument/2006/relationships/chartUserShapes" Target="../drawings/drawing8.xml"/><Relationship Id="rId4" Type="http://schemas.openxmlformats.org/officeDocument/2006/relationships/oleObject" Target="NULL" TargetMode="Externa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5.xml"/><Relationship Id="rId1" Type="http://schemas.microsoft.com/office/2011/relationships/chartStyle" Target="style15.xml"/><Relationship Id="rId5" Type="http://schemas.openxmlformats.org/officeDocument/2006/relationships/chartUserShapes" Target="../drawings/drawing9.xml"/><Relationship Id="rId4" Type="http://schemas.openxmlformats.org/officeDocument/2006/relationships/oleObject" Target="NULL" TargetMode="Externa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oleObject" Target="NULL" TargetMode="Externa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oleObject" Target="NULL" TargetMode="Externa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21.xml"/><Relationship Id="rId1" Type="http://schemas.microsoft.com/office/2011/relationships/chartStyle" Target="style21.xml"/><Relationship Id="rId5" Type="http://schemas.openxmlformats.org/officeDocument/2006/relationships/chartUserShapes" Target="../drawings/drawing10.xml"/><Relationship Id="rId4" Type="http://schemas.openxmlformats.org/officeDocument/2006/relationships/oleObject" Target="NULL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22.xml"/><Relationship Id="rId1" Type="http://schemas.microsoft.com/office/2011/relationships/chartStyle" Target="style22.xml"/><Relationship Id="rId5" Type="http://schemas.openxmlformats.org/officeDocument/2006/relationships/chartUserShapes" Target="../drawings/drawing11.xml"/><Relationship Id="rId4" Type="http://schemas.openxmlformats.org/officeDocument/2006/relationships/oleObject" Target="NULL" TargetMode="Externa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23.xml"/><Relationship Id="rId1" Type="http://schemas.microsoft.com/office/2011/relationships/chartStyle" Target="style23.xml"/><Relationship Id="rId5" Type="http://schemas.openxmlformats.org/officeDocument/2006/relationships/chartUserShapes" Target="../drawings/drawing12.xml"/><Relationship Id="rId4" Type="http://schemas.openxmlformats.org/officeDocument/2006/relationships/oleObject" Target="NULL" TargetMode="Externa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chartUserShapes" Target="../drawings/drawing1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5" Type="http://schemas.openxmlformats.org/officeDocument/2006/relationships/chartUserShapes" Target="../drawings/drawing2.xml"/><Relationship Id="rId4" Type="http://schemas.openxmlformats.org/officeDocument/2006/relationships/oleObject" Target="NULL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5" Type="http://schemas.openxmlformats.org/officeDocument/2006/relationships/chartUserShapes" Target="../drawings/drawing3.xml"/><Relationship Id="rId4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4264494048163904"/>
          <c:y val="8.7773900754425122E-2"/>
          <c:w val="0.51471011903672204"/>
          <c:h val="0.83528391974120997"/>
        </c:manualLayout>
      </c:layout>
      <c:doughnutChart>
        <c:varyColors val="1"/>
        <c:ser>
          <c:idx val="0"/>
          <c:order val="0"/>
          <c:spPr>
            <a:ln w="12700"/>
          </c:spPr>
          <c:dPt>
            <c:idx val="0"/>
            <c:bubble3D val="0"/>
            <c:spPr>
              <a:solidFill>
                <a:srgbClr val="14B063">
                  <a:lumMod val="75000"/>
                </a:srgbClr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792-47A4-A2F0-55FA6751F70B}"/>
              </c:ext>
            </c:extLst>
          </c:dPt>
          <c:dPt>
            <c:idx val="1"/>
            <c:bubble3D val="0"/>
            <c:spPr>
              <a:solidFill>
                <a:srgbClr val="4EADBB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792-47A4-A2F0-55FA6751F70B}"/>
              </c:ext>
            </c:extLst>
          </c:dPt>
          <c:dPt>
            <c:idx val="2"/>
            <c:bubble3D val="0"/>
            <c:spPr>
              <a:solidFill>
                <a:srgbClr val="A2D2C3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792-47A4-A2F0-55FA6751F70B}"/>
              </c:ext>
            </c:extLst>
          </c:dPt>
          <c:dPt>
            <c:idx val="3"/>
            <c:bubble3D val="0"/>
            <c:spPr>
              <a:solidFill>
                <a:srgbClr val="14B063">
                  <a:lumMod val="40000"/>
                  <a:lumOff val="60000"/>
                </a:srgb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792-47A4-A2F0-55FA6751F70B}"/>
              </c:ext>
            </c:extLst>
          </c:dPt>
          <c:dPt>
            <c:idx val="4"/>
            <c:bubble3D val="0"/>
            <c:spPr>
              <a:solidFill>
                <a:srgbClr val="14B063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792-47A4-A2F0-55FA6751F70B}"/>
              </c:ext>
            </c:extLst>
          </c:dPt>
          <c:dPt>
            <c:idx val="5"/>
            <c:bubble3D val="0"/>
            <c:spPr>
              <a:solidFill>
                <a:srgbClr val="FFFFFF">
                  <a:lumMod val="65000"/>
                </a:srgb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792-47A4-A2F0-55FA6751F70B}"/>
              </c:ext>
            </c:extLst>
          </c:dPt>
          <c:dPt>
            <c:idx val="6"/>
            <c:bubble3D val="0"/>
            <c:spPr>
              <a:solidFill>
                <a:srgbClr val="000000">
                  <a:lumMod val="85000"/>
                  <a:lumOff val="15000"/>
                </a:srgb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8792-47A4-A2F0-55FA6751F70B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8792-47A4-A2F0-55FA6751F70B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8792-47A4-A2F0-55FA6751F70B}"/>
              </c:ext>
            </c:extLst>
          </c:dPt>
          <c:dLbls>
            <c:dLbl>
              <c:idx val="0"/>
              <c:layout>
                <c:manualLayout>
                  <c:x val="0.11958433771689773"/>
                  <c:y val="4.062660927181402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792-47A4-A2F0-55FA6751F70B}"/>
                </c:ext>
              </c:extLst>
            </c:dLbl>
            <c:dLbl>
              <c:idx val="1"/>
              <c:layout>
                <c:manualLayout>
                  <c:x val="-7.6828322170601412E-2"/>
                  <c:y val="0.1162259372264015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792-47A4-A2F0-55FA6751F70B}"/>
                </c:ext>
              </c:extLst>
            </c:dLbl>
            <c:dLbl>
              <c:idx val="2"/>
              <c:layout>
                <c:manualLayout>
                  <c:x val="-0.13260208228551287"/>
                  <c:y val="0.1017928999481136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186187664041995"/>
                      <c:h val="0.1980775303495989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8792-47A4-A2F0-55FA6751F70B}"/>
                </c:ext>
              </c:extLst>
            </c:dLbl>
            <c:dLbl>
              <c:idx val="3"/>
              <c:layout>
                <c:manualLayout>
                  <c:x val="-0.1243501355179988"/>
                  <c:y val="-9.6015541889626632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071880157992545"/>
                      <c:h val="0.1382218015571141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8792-47A4-A2F0-55FA6751F70B}"/>
                </c:ext>
              </c:extLst>
            </c:dLbl>
            <c:dLbl>
              <c:idx val="4"/>
              <c:layout>
                <c:manualLayout>
                  <c:x val="-7.7859355402358735E-2"/>
                  <c:y val="-0.103261414210564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792-47A4-A2F0-55FA6751F70B}"/>
                </c:ext>
              </c:extLst>
            </c:dLbl>
            <c:dLbl>
              <c:idx val="5"/>
              <c:layout>
                <c:manualLayout>
                  <c:x val="-4.2734746309254119E-2"/>
                  <c:y val="-0.1223247103518236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792-47A4-A2F0-55FA6751F70B}"/>
                </c:ext>
              </c:extLst>
            </c:dLbl>
            <c:dLbl>
              <c:idx val="6"/>
              <c:layout>
                <c:manualLayout>
                  <c:x val="1.6128608923884413E-2"/>
                  <c:y val="-0.127210759694651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792-47A4-A2F0-55FA6751F70B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Markkina!$A$23:$A$29</c:f>
              <c:strCache>
                <c:ptCount val="7"/>
                <c:pt idx="0">
                  <c:v>Kaukolämpö</c:v>
                </c:pt>
                <c:pt idx="1">
                  <c:v>Sähkölämpö</c:v>
                </c:pt>
                <c:pt idx="2">
                  <c:v>Lämpöpumppujen sähkönkulutus (arvio)</c:v>
                </c:pt>
                <c:pt idx="3">
                  <c:v>Lämpöpumppulämpö</c:v>
                </c:pt>
                <c:pt idx="4">
                  <c:v>Puun pienkäyttö</c:v>
                </c:pt>
                <c:pt idx="5">
                  <c:v>Öljy</c:v>
                </c:pt>
                <c:pt idx="6">
                  <c:v>Muu</c:v>
                </c:pt>
              </c:strCache>
            </c:strRef>
          </c:cat>
          <c:val>
            <c:numRef>
              <c:f>Markkina!$E$23:$E$29</c:f>
              <c:numCache>
                <c:formatCode>0%</c:formatCode>
                <c:ptCount val="7"/>
                <c:pt idx="0">
                  <c:v>0.45</c:v>
                </c:pt>
                <c:pt idx="1">
                  <c:v>0.17</c:v>
                </c:pt>
                <c:pt idx="2">
                  <c:v>7.0000000000000007E-2</c:v>
                </c:pt>
                <c:pt idx="3">
                  <c:v>0.13</c:v>
                </c:pt>
                <c:pt idx="4">
                  <c:v>0.12</c:v>
                </c:pt>
                <c:pt idx="5">
                  <c:v>0.05</c:v>
                </c:pt>
                <c:pt idx="6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792-47A4-A2F0-55FA6751F70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67187251067967E-2"/>
          <c:y val="2.8275673889781069E-2"/>
          <c:w val="0.92101492135548457"/>
          <c:h val="0.741971791683072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KL_energialähteet_2023!$AB$66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0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6E8-45E3-8E15-1B1BDDD32DB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KL_energialähteet_2023!$AA$67:$AA$77</c:f>
              <c:strCache>
                <c:ptCount val="11"/>
                <c:pt idx="0">
                  <c:v>Energiapuu</c:v>
                </c:pt>
                <c:pt idx="1">
                  <c:v>Teollisuuden puutähde</c:v>
                </c:pt>
                <c:pt idx="2">
                  <c:v>Muu biomassa</c:v>
                </c:pt>
                <c:pt idx="3">
                  <c:v>Jäte</c:v>
                </c:pt>
                <c:pt idx="4">
                  <c:v>Lämmön talteenotto</c:v>
                </c:pt>
                <c:pt idx="5">
                  <c:v>Sähkökattila</c:v>
                </c:pt>
                <c:pt idx="6">
                  <c:v>Turve</c:v>
                </c:pt>
                <c:pt idx="7">
                  <c:v>Maakaasu</c:v>
                </c:pt>
                <c:pt idx="8">
                  <c:v>Kivihiili</c:v>
                </c:pt>
                <c:pt idx="9">
                  <c:v>Öljy</c:v>
                </c:pt>
                <c:pt idx="10">
                  <c:v>Muut</c:v>
                </c:pt>
              </c:strCache>
            </c:strRef>
          </c:cat>
          <c:val>
            <c:numRef>
              <c:f>KL_energialähteet_2023!$AB$67:$AB$77</c:f>
              <c:numCache>
                <c:formatCode>0%</c:formatCode>
                <c:ptCount val="11"/>
                <c:pt idx="0">
                  <c:v>0.29599999999999999</c:v>
                </c:pt>
                <c:pt idx="1">
                  <c:v>0.111</c:v>
                </c:pt>
                <c:pt idx="2">
                  <c:v>5.3999999999999999E-2</c:v>
                </c:pt>
                <c:pt idx="3">
                  <c:v>9.0999999999999998E-2</c:v>
                </c:pt>
                <c:pt idx="4">
                  <c:v>0.17100000000000001</c:v>
                </c:pt>
                <c:pt idx="5">
                  <c:v>0.02</c:v>
                </c:pt>
                <c:pt idx="6">
                  <c:v>8.4000000000000005E-2</c:v>
                </c:pt>
                <c:pt idx="7">
                  <c:v>6.3E-2</c:v>
                </c:pt>
                <c:pt idx="8">
                  <c:v>0.08</c:v>
                </c:pt>
                <c:pt idx="9">
                  <c:v>2.7E-2</c:v>
                </c:pt>
                <c:pt idx="10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E8-45E3-8E15-1B1BDDD32DB5}"/>
            </c:ext>
          </c:extLst>
        </c:ser>
        <c:ser>
          <c:idx val="1"/>
          <c:order val="1"/>
          <c:tx>
            <c:strRef>
              <c:f>KL_energialähteet_2023!$AC$66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6E8-45E3-8E15-1B1BDDD32DB5}"/>
                </c:ext>
              </c:extLst>
            </c:dLbl>
            <c:dLbl>
              <c:idx val="10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E6E8-45E3-8E15-1B1BDDD32DB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KL_energialähteet_2023!$AA$67:$AA$77</c:f>
              <c:strCache>
                <c:ptCount val="11"/>
                <c:pt idx="0">
                  <c:v>Energiapuu</c:v>
                </c:pt>
                <c:pt idx="1">
                  <c:v>Teollisuuden puutähde</c:v>
                </c:pt>
                <c:pt idx="2">
                  <c:v>Muu biomassa</c:v>
                </c:pt>
                <c:pt idx="3">
                  <c:v>Jäte</c:v>
                </c:pt>
                <c:pt idx="4">
                  <c:v>Lämmön talteenotto</c:v>
                </c:pt>
                <c:pt idx="5">
                  <c:v>Sähkökattila</c:v>
                </c:pt>
                <c:pt idx="6">
                  <c:v>Turve</c:v>
                </c:pt>
                <c:pt idx="7">
                  <c:v>Maakaasu</c:v>
                </c:pt>
                <c:pt idx="8">
                  <c:v>Kivihiili</c:v>
                </c:pt>
                <c:pt idx="9">
                  <c:v>Öljy</c:v>
                </c:pt>
                <c:pt idx="10">
                  <c:v>Muut</c:v>
                </c:pt>
              </c:strCache>
            </c:strRef>
          </c:cat>
          <c:val>
            <c:numRef>
              <c:f>KL_energialähteet_2023!$AC$67:$AC$77</c:f>
              <c:numCache>
                <c:formatCode>0%</c:formatCode>
                <c:ptCount val="11"/>
                <c:pt idx="0">
                  <c:v>0.254</c:v>
                </c:pt>
                <c:pt idx="1">
                  <c:v>0.11799999999999999</c:v>
                </c:pt>
                <c:pt idx="2">
                  <c:v>6.4000000000000001E-2</c:v>
                </c:pt>
                <c:pt idx="3">
                  <c:v>8.5000000000000006E-2</c:v>
                </c:pt>
                <c:pt idx="4">
                  <c:v>0.13400000000000001</c:v>
                </c:pt>
                <c:pt idx="5">
                  <c:v>1E-3</c:v>
                </c:pt>
                <c:pt idx="6">
                  <c:v>0.10100000000000001</c:v>
                </c:pt>
                <c:pt idx="7">
                  <c:v>3.1E-2</c:v>
                </c:pt>
                <c:pt idx="8">
                  <c:v>0.152</c:v>
                </c:pt>
                <c:pt idx="9">
                  <c:v>5.7000000000000002E-2</c:v>
                </c:pt>
                <c:pt idx="10" formatCode="General">
                  <c:v>3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E8-45E3-8E15-1B1BDDD32DB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0"/>
        <c:overlap val="-20"/>
        <c:axId val="567687976"/>
        <c:axId val="567685816"/>
      </c:barChart>
      <c:catAx>
        <c:axId val="567687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1680000" spcFirstLastPara="1" vertOverflow="ellipsis" wrap="square" anchor="t" anchorCtr="0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67685816"/>
        <c:crosses val="autoZero"/>
        <c:auto val="1"/>
        <c:lblAlgn val="ctr"/>
        <c:lblOffset val="100"/>
        <c:noMultiLvlLbl val="0"/>
      </c:catAx>
      <c:valAx>
        <c:axId val="567685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67687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8566102197131904"/>
          <c:y val="8.3738212373699591E-2"/>
          <c:w val="0.19697754296111852"/>
          <c:h val="4.78443252554773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240054959645746E-2"/>
          <c:y val="8.4698824808555409E-2"/>
          <c:w val="0.91674065218349554"/>
          <c:h val="0.819303256447453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Hiilineutraalien osuus'!$C$121</c:f>
              <c:strCache>
                <c:ptCount val="1"/>
                <c:pt idx="0">
                  <c:v>Sähkökattiloiden tuottama lämpö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Hiilineutraalien osuus'!$A$123:$A$125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'Hiilineutraalien osuus'!$C$123:$C$125</c:f>
              <c:numCache>
                <c:formatCode>0.0</c:formatCode>
                <c:ptCount val="3"/>
                <c:pt idx="0">
                  <c:v>16.000150000000001</c:v>
                </c:pt>
                <c:pt idx="1">
                  <c:v>57.879899999999999</c:v>
                </c:pt>
                <c:pt idx="2">
                  <c:v>745.639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15-45CC-9BF3-A813E77E88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9"/>
        <c:overlap val="-27"/>
        <c:axId val="1402016440"/>
        <c:axId val="1402017520"/>
      </c:barChart>
      <c:catAx>
        <c:axId val="1402016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402017520"/>
        <c:crosses val="autoZero"/>
        <c:auto val="1"/>
        <c:lblAlgn val="ctr"/>
        <c:lblOffset val="100"/>
        <c:noMultiLvlLbl val="0"/>
      </c:catAx>
      <c:valAx>
        <c:axId val="14020175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sz="1400" b="1" baseline="0"/>
                  <a:t>GWh</a:t>
                </a:r>
              </a:p>
            </c:rich>
          </c:tx>
          <c:layout>
            <c:manualLayout>
              <c:xMode val="edge"/>
              <c:yMode val="edge"/>
              <c:x val="1.0923122077715433E-2"/>
              <c:y val="9.7180083346560982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40201644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percentStacked"/>
        <c:varyColors val="0"/>
        <c:ser>
          <c:idx val="2"/>
          <c:order val="0"/>
          <c:tx>
            <c:strRef>
              <c:f>'Energialähteet%_jäte'!$C$5</c:f>
              <c:strCache>
                <c:ptCount val="1"/>
                <c:pt idx="0">
                  <c:v>hiili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22:$A$55</c:f>
              <c:numCache>
                <c:formatCode>General</c:formatCode>
                <c:ptCount val="34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</c:numCache>
              <c:extLst/>
            </c:numRef>
          </c:cat>
          <c:val>
            <c:numRef>
              <c:f>'Energialähteet%_jäte'!$C$22:$C$55</c:f>
              <c:numCache>
                <c:formatCode>0.0\ %</c:formatCode>
                <c:ptCount val="34"/>
                <c:pt idx="0">
                  <c:v>0.43600000000000005</c:v>
                </c:pt>
                <c:pt idx="1">
                  <c:v>0.45100000000000007</c:v>
                </c:pt>
                <c:pt idx="2">
                  <c:v>0.41</c:v>
                </c:pt>
                <c:pt idx="3">
                  <c:v>0.41200000000000003</c:v>
                </c:pt>
                <c:pt idx="4">
                  <c:v>0.40200000000000002</c:v>
                </c:pt>
                <c:pt idx="5">
                  <c:v>0.375</c:v>
                </c:pt>
                <c:pt idx="6">
                  <c:v>0.37630000000000002</c:v>
                </c:pt>
                <c:pt idx="7">
                  <c:v>0.36109999999999998</c:v>
                </c:pt>
                <c:pt idx="8">
                  <c:v>0.29459999999999997</c:v>
                </c:pt>
                <c:pt idx="9">
                  <c:v>0.2782</c:v>
                </c:pt>
                <c:pt idx="10">
                  <c:v>0.26440080437734348</c:v>
                </c:pt>
                <c:pt idx="11">
                  <c:v>0.27427085442116583</c:v>
                </c:pt>
                <c:pt idx="12">
                  <c:v>0.26223367953172005</c:v>
                </c:pt>
                <c:pt idx="13">
                  <c:v>0.26059183104079109</c:v>
                </c:pt>
                <c:pt idx="14">
                  <c:v>0.25055368896783659</c:v>
                </c:pt>
                <c:pt idx="15">
                  <c:v>0.23599723836692238</c:v>
                </c:pt>
                <c:pt idx="16">
                  <c:v>0.25409263899218237</c:v>
                </c:pt>
                <c:pt idx="17">
                  <c:v>0.23994714821714053</c:v>
                </c:pt>
                <c:pt idx="18">
                  <c:v>0.21753633230878905</c:v>
                </c:pt>
                <c:pt idx="19">
                  <c:v>0.22212720101344915</c:v>
                </c:pt>
                <c:pt idx="20">
                  <c:v>0.20476906418638249</c:v>
                </c:pt>
                <c:pt idx="21">
                  <c:v>0.22702136640176715</c:v>
                </c:pt>
                <c:pt idx="22">
                  <c:v>0.2233224709386008</c:v>
                </c:pt>
                <c:pt idx="23">
                  <c:v>0.24115404805963284</c:v>
                </c:pt>
                <c:pt idx="24">
                  <c:v>0.22423575500001328</c:v>
                </c:pt>
                <c:pt idx="25">
                  <c:v>0.19569022689278859</c:v>
                </c:pt>
                <c:pt idx="26">
                  <c:v>0.22913798977304509</c:v>
                </c:pt>
                <c:pt idx="27">
                  <c:v>0.22891851972397068</c:v>
                </c:pt>
                <c:pt idx="28">
                  <c:v>0.19440222439228816</c:v>
                </c:pt>
                <c:pt idx="29">
                  <c:v>0.17641324334937211</c:v>
                </c:pt>
                <c:pt idx="30">
                  <c:v>0.11486118239672327</c:v>
                </c:pt>
                <c:pt idx="31">
                  <c:v>0.11481447544482958</c:v>
                </c:pt>
                <c:pt idx="32">
                  <c:v>0.15235359883741345</c:v>
                </c:pt>
                <c:pt idx="33">
                  <c:v>8.0048935371167987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887C-4BB0-A06A-90A03669EEE2}"/>
            </c:ext>
          </c:extLst>
        </c:ser>
        <c:ser>
          <c:idx val="1"/>
          <c:order val="1"/>
          <c:tx>
            <c:strRef>
              <c:f>'Energialähteet%_jäte'!$B$5</c:f>
              <c:strCache>
                <c:ptCount val="1"/>
                <c:pt idx="0">
                  <c:v>öljy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22:$A$55</c:f>
              <c:numCache>
                <c:formatCode>General</c:formatCode>
                <c:ptCount val="34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</c:numCache>
              <c:extLst/>
            </c:numRef>
          </c:cat>
          <c:val>
            <c:numRef>
              <c:f>'Energialähteet%_jäte'!$B$22:$B$55</c:f>
              <c:numCache>
                <c:formatCode>0.0\ %</c:formatCode>
                <c:ptCount val="34"/>
                <c:pt idx="0">
                  <c:v>0.11</c:v>
                </c:pt>
                <c:pt idx="1">
                  <c:v>0.10400000000000001</c:v>
                </c:pt>
                <c:pt idx="2">
                  <c:v>0.10199999999999999</c:v>
                </c:pt>
                <c:pt idx="3">
                  <c:v>9.4E-2</c:v>
                </c:pt>
                <c:pt idx="4">
                  <c:v>0.1</c:v>
                </c:pt>
                <c:pt idx="5">
                  <c:v>8.6999999999999994E-2</c:v>
                </c:pt>
                <c:pt idx="6">
                  <c:v>8.2400000000000001E-2</c:v>
                </c:pt>
                <c:pt idx="7">
                  <c:v>6.0199999999999997E-2</c:v>
                </c:pt>
                <c:pt idx="8">
                  <c:v>7.0900000000000005E-2</c:v>
                </c:pt>
                <c:pt idx="9">
                  <c:v>7.85E-2</c:v>
                </c:pt>
                <c:pt idx="10">
                  <c:v>8.4100444381102299E-2</c:v>
                </c:pt>
                <c:pt idx="11">
                  <c:v>9.141291655628643E-2</c:v>
                </c:pt>
                <c:pt idx="12">
                  <c:v>8.3644023605498524E-2</c:v>
                </c:pt>
                <c:pt idx="13">
                  <c:v>8.0872220066667749E-2</c:v>
                </c:pt>
                <c:pt idx="14">
                  <c:v>6.4109623871972082E-2</c:v>
                </c:pt>
                <c:pt idx="15">
                  <c:v>5.7347610346760218E-2</c:v>
                </c:pt>
                <c:pt idx="16">
                  <c:v>6.3640519823831274E-2</c:v>
                </c:pt>
                <c:pt idx="17">
                  <c:v>6.5904158205790264E-2</c:v>
                </c:pt>
                <c:pt idx="18">
                  <c:v>4.874517866634949E-2</c:v>
                </c:pt>
                <c:pt idx="19">
                  <c:v>7.2848323865800146E-2</c:v>
                </c:pt>
                <c:pt idx="20">
                  <c:v>7.1663113564089984E-2</c:v>
                </c:pt>
                <c:pt idx="21">
                  <c:v>4.6647173839300032E-2</c:v>
                </c:pt>
                <c:pt idx="22">
                  <c:v>5.0258783246717405E-2</c:v>
                </c:pt>
                <c:pt idx="23">
                  <c:v>2.9499950112475162E-2</c:v>
                </c:pt>
                <c:pt idx="24">
                  <c:v>2.813987186714435E-2</c:v>
                </c:pt>
                <c:pt idx="25">
                  <c:v>2.9404192621838063E-2</c:v>
                </c:pt>
                <c:pt idx="26">
                  <c:v>3.064191277253879E-2</c:v>
                </c:pt>
                <c:pt idx="27">
                  <c:v>2.1658228956033945E-2</c:v>
                </c:pt>
                <c:pt idx="28">
                  <c:v>2.2121827625443617E-2</c:v>
                </c:pt>
                <c:pt idx="29">
                  <c:v>1.9300571504350474E-2</c:v>
                </c:pt>
                <c:pt idx="30">
                  <c:v>1.2497829605267106E-2</c:v>
                </c:pt>
                <c:pt idx="31">
                  <c:v>2.9795587399925466E-2</c:v>
                </c:pt>
                <c:pt idx="32">
                  <c:v>5.6687956030201186E-2</c:v>
                </c:pt>
                <c:pt idx="33">
                  <c:v>2.7202394526551363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887C-4BB0-A06A-90A03669EEE2}"/>
            </c:ext>
          </c:extLst>
        </c:ser>
        <c:ser>
          <c:idx val="3"/>
          <c:order val="2"/>
          <c:tx>
            <c:strRef>
              <c:f>'Energialähteet%_jäte'!$D$5</c:f>
              <c:strCache>
                <c:ptCount val="1"/>
                <c:pt idx="0">
                  <c:v>maakaasu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22:$A$55</c:f>
              <c:numCache>
                <c:formatCode>General</c:formatCode>
                <c:ptCount val="34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</c:numCache>
              <c:extLst/>
            </c:numRef>
          </c:cat>
          <c:val>
            <c:numRef>
              <c:f>'Energialähteet%_jäte'!$D$22:$D$55</c:f>
              <c:numCache>
                <c:formatCode>0.0\ %</c:formatCode>
                <c:ptCount val="34"/>
                <c:pt idx="0">
                  <c:v>0.21099999999999997</c:v>
                </c:pt>
                <c:pt idx="1">
                  <c:v>0.20299999999999996</c:v>
                </c:pt>
                <c:pt idx="2">
                  <c:v>0.24</c:v>
                </c:pt>
                <c:pt idx="3">
                  <c:v>0.252</c:v>
                </c:pt>
                <c:pt idx="4">
                  <c:v>0.248</c:v>
                </c:pt>
                <c:pt idx="5">
                  <c:v>0.26299999999999996</c:v>
                </c:pt>
                <c:pt idx="6">
                  <c:v>0.25940000000000002</c:v>
                </c:pt>
                <c:pt idx="7">
                  <c:v>0.2898</c:v>
                </c:pt>
                <c:pt idx="8">
                  <c:v>0.34239999999999998</c:v>
                </c:pt>
                <c:pt idx="9">
                  <c:v>0.35649999999999998</c:v>
                </c:pt>
                <c:pt idx="10">
                  <c:v>0.34488584219441615</c:v>
                </c:pt>
                <c:pt idx="11">
                  <c:v>0.31005370092612039</c:v>
                </c:pt>
                <c:pt idx="12">
                  <c:v>0.31766941781824992</c:v>
                </c:pt>
                <c:pt idx="13">
                  <c:v>0.30737565307073739</c:v>
                </c:pt>
                <c:pt idx="14">
                  <c:v>0.32993216466691783</c:v>
                </c:pt>
                <c:pt idx="15">
                  <c:v>0.33756330185212702</c:v>
                </c:pt>
                <c:pt idx="16">
                  <c:v>0.29743459342582679</c:v>
                </c:pt>
                <c:pt idx="17">
                  <c:v>0.29432140220582664</c:v>
                </c:pt>
                <c:pt idx="18">
                  <c:v>0.31545070670249054</c:v>
                </c:pt>
                <c:pt idx="19">
                  <c:v>0.28982256315894406</c:v>
                </c:pt>
                <c:pt idx="20">
                  <c:v>0.30220783707209753</c:v>
                </c:pt>
                <c:pt idx="21">
                  <c:v>0.24182417345861767</c:v>
                </c:pt>
                <c:pt idx="22">
                  <c:v>0.24771891917703087</c:v>
                </c:pt>
                <c:pt idx="23">
                  <c:v>0.22522069025419447</c:v>
                </c:pt>
                <c:pt idx="24">
                  <c:v>0.19554329630883938</c:v>
                </c:pt>
                <c:pt idx="25">
                  <c:v>0.16806597864511913</c:v>
                </c:pt>
                <c:pt idx="26">
                  <c:v>0.12540554714662752</c:v>
                </c:pt>
                <c:pt idx="27">
                  <c:v>9.9782070214724738E-2</c:v>
                </c:pt>
                <c:pt idx="28">
                  <c:v>0.12643355843502393</c:v>
                </c:pt>
                <c:pt idx="29">
                  <c:v>0.10732255242389084</c:v>
                </c:pt>
                <c:pt idx="30">
                  <c:v>0.11397261235453215</c:v>
                </c:pt>
                <c:pt idx="31">
                  <c:v>0.10004224260773817</c:v>
                </c:pt>
                <c:pt idx="32">
                  <c:v>3.1217499322922129E-2</c:v>
                </c:pt>
                <c:pt idx="33">
                  <c:v>6.2805474164469396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887C-4BB0-A06A-90A03669EEE2}"/>
            </c:ext>
          </c:extLst>
        </c:ser>
        <c:ser>
          <c:idx val="4"/>
          <c:order val="3"/>
          <c:tx>
            <c:strRef>
              <c:f>'Energialähteet%_jäte'!$E$5</c:f>
              <c:strCache>
                <c:ptCount val="1"/>
                <c:pt idx="0">
                  <c:v>turve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22:$A$55</c:f>
              <c:numCache>
                <c:formatCode>General</c:formatCode>
                <c:ptCount val="34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</c:numCache>
              <c:extLst/>
            </c:numRef>
          </c:cat>
          <c:val>
            <c:numRef>
              <c:f>'Energialähteet%_jäte'!$E$22:$E$55</c:f>
              <c:numCache>
                <c:formatCode>0.0\ %</c:formatCode>
                <c:ptCount val="34"/>
                <c:pt idx="0">
                  <c:v>0.19899999999999995</c:v>
                </c:pt>
                <c:pt idx="1">
                  <c:v>0.19900000000000007</c:v>
                </c:pt>
                <c:pt idx="2">
                  <c:v>0.20499999999999999</c:v>
                </c:pt>
                <c:pt idx="3">
                  <c:v>0.19500000000000001</c:v>
                </c:pt>
                <c:pt idx="4">
                  <c:v>0.19500000000000001</c:v>
                </c:pt>
                <c:pt idx="5">
                  <c:v>0.217</c:v>
                </c:pt>
                <c:pt idx="6">
                  <c:v>0.214</c:v>
                </c:pt>
                <c:pt idx="7">
                  <c:v>0.2117</c:v>
                </c:pt>
                <c:pt idx="8">
                  <c:v>0.20050000000000001</c:v>
                </c:pt>
                <c:pt idx="9">
                  <c:v>0.1875</c:v>
                </c:pt>
                <c:pt idx="10">
                  <c:v>0.18992087068012578</c:v>
                </c:pt>
                <c:pt idx="11">
                  <c:v>0.20717384236362293</c:v>
                </c:pt>
                <c:pt idx="12">
                  <c:v>0.20479586603561234</c:v>
                </c:pt>
                <c:pt idx="13">
                  <c:v>0.21523045881292754</c:v>
                </c:pt>
                <c:pt idx="14">
                  <c:v>0.20150853379007114</c:v>
                </c:pt>
                <c:pt idx="15">
                  <c:v>0.17684324896447948</c:v>
                </c:pt>
                <c:pt idx="16">
                  <c:v>0.20067130734592598</c:v>
                </c:pt>
                <c:pt idx="17">
                  <c:v>0.21882026316015857</c:v>
                </c:pt>
                <c:pt idx="18">
                  <c:v>0.19640577932404144</c:v>
                </c:pt>
                <c:pt idx="19">
                  <c:v>0.17208377522391255</c:v>
                </c:pt>
                <c:pt idx="20">
                  <c:v>0.19223668225483354</c:v>
                </c:pt>
                <c:pt idx="21">
                  <c:v>0.19408249843238751</c:v>
                </c:pt>
                <c:pt idx="22">
                  <c:v>0.16162902322592157</c:v>
                </c:pt>
                <c:pt idx="23">
                  <c:v>0.13868927320769997</c:v>
                </c:pt>
                <c:pt idx="24">
                  <c:v>0.14576112461172713</c:v>
                </c:pt>
                <c:pt idx="25">
                  <c:v>0.16219172168746174</c:v>
                </c:pt>
                <c:pt idx="26">
                  <c:v>0.14744430814360446</c:v>
                </c:pt>
                <c:pt idx="27">
                  <c:v>0.14537529235898702</c:v>
                </c:pt>
                <c:pt idx="28">
                  <c:v>0.15534052664231135</c:v>
                </c:pt>
                <c:pt idx="29">
                  <c:v>0.15334277722379427</c:v>
                </c:pt>
                <c:pt idx="30">
                  <c:v>0.14104054095232152</c:v>
                </c:pt>
                <c:pt idx="31">
                  <c:v>0.10581351810186097</c:v>
                </c:pt>
                <c:pt idx="32">
                  <c:v>0.10134949421379638</c:v>
                </c:pt>
                <c:pt idx="33">
                  <c:v>8.3527405127061791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887C-4BB0-A06A-90A03669EEE2}"/>
            </c:ext>
          </c:extLst>
        </c:ser>
        <c:ser>
          <c:idx val="6"/>
          <c:order val="4"/>
          <c:tx>
            <c:strRef>
              <c:f>'Energialähteet%_jäte'!$G$5</c:f>
              <c:strCache>
                <c:ptCount val="1"/>
                <c:pt idx="0">
                  <c:v>hukkalämmö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22:$A$55</c:f>
              <c:numCache>
                <c:formatCode>General</c:formatCode>
                <c:ptCount val="34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</c:numCache>
              <c:extLst/>
            </c:numRef>
          </c:cat>
          <c:val>
            <c:numRef>
              <c:f>'Energialähteet%_jäte'!$G$22:$G$55</c:f>
              <c:numCache>
                <c:formatCode>General</c:formatCode>
                <c:ptCount val="34"/>
                <c:pt idx="10" formatCode="0.0\ %">
                  <c:v>3.717107832177477E-3</c:v>
                </c:pt>
                <c:pt idx="11" formatCode="0.0\ %">
                  <c:v>9.1127751831781567E-3</c:v>
                </c:pt>
                <c:pt idx="12" formatCode="0.0\ %">
                  <c:v>1.0219795297384787E-2</c:v>
                </c:pt>
                <c:pt idx="13" formatCode="0.0\ %">
                  <c:v>1.6319448705684178E-2</c:v>
                </c:pt>
                <c:pt idx="14" formatCode="0.0\ %">
                  <c:v>1.5942104691630904E-2</c:v>
                </c:pt>
                <c:pt idx="15" formatCode="0.0\ %">
                  <c:v>2.0249989913693131E-2</c:v>
                </c:pt>
                <c:pt idx="16" formatCode="0.0\ %">
                  <c:v>2.2541895873457771E-2</c:v>
                </c:pt>
                <c:pt idx="17" formatCode="0.0\ %">
                  <c:v>2.3852221667891145E-2</c:v>
                </c:pt>
                <c:pt idx="18" formatCode="0.0\ %">
                  <c:v>3.1236029049507015E-2</c:v>
                </c:pt>
                <c:pt idx="19" formatCode="0.0\ %">
                  <c:v>3.3994943527232271E-2</c:v>
                </c:pt>
                <c:pt idx="20" formatCode="0.0\ %">
                  <c:v>2.2029886861377218E-2</c:v>
                </c:pt>
                <c:pt idx="21" formatCode="0.0\ %">
                  <c:v>3.4479842597775229E-2</c:v>
                </c:pt>
                <c:pt idx="22" formatCode="0.0\ %">
                  <c:v>3.586126815220049E-2</c:v>
                </c:pt>
                <c:pt idx="23" formatCode="0.0\ %">
                  <c:v>3.7930676317364402E-2</c:v>
                </c:pt>
                <c:pt idx="24" formatCode="0.0\ %">
                  <c:v>4.3305833697679347E-2</c:v>
                </c:pt>
                <c:pt idx="25" formatCode="0.0\ %">
                  <c:v>5.4942325350677099E-2</c:v>
                </c:pt>
                <c:pt idx="26" formatCode="0.0\ %">
                  <c:v>8.3123880815029499E-2</c:v>
                </c:pt>
                <c:pt idx="27" formatCode="0.0\ %">
                  <c:v>9.4680703228907065E-2</c:v>
                </c:pt>
                <c:pt idx="28" formatCode="0.0\ %">
                  <c:v>9.4360796697229299E-2</c:v>
                </c:pt>
                <c:pt idx="29" formatCode="0.0\ %">
                  <c:v>0.10799788484948825</c:v>
                </c:pt>
                <c:pt idx="30" formatCode="0.0\ %">
                  <c:v>0.13680507286193733</c:v>
                </c:pt>
                <c:pt idx="31" formatCode="0%">
                  <c:v>0.14100370798697504</c:v>
                </c:pt>
                <c:pt idx="32" formatCode="0.0\ %">
                  <c:v>0.13510442328340819</c:v>
                </c:pt>
                <c:pt idx="33" formatCode="0.0\ %">
                  <c:v>0.191573417048855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887C-4BB0-A06A-90A03669EEE2}"/>
            </c:ext>
          </c:extLst>
        </c:ser>
        <c:ser>
          <c:idx val="7"/>
          <c:order val="5"/>
          <c:tx>
            <c:strRef>
              <c:f>'Energialähteet%_jäte'!$H$5</c:f>
              <c:strCache>
                <c:ptCount val="1"/>
                <c:pt idx="0">
                  <c:v>Jäte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22:$A$55</c:f>
              <c:numCache>
                <c:formatCode>General</c:formatCode>
                <c:ptCount val="34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</c:numCache>
              <c:extLst/>
            </c:numRef>
          </c:cat>
          <c:val>
            <c:numRef>
              <c:f>'Energialähteet%_jäte'!$H$22:$H$55</c:f>
              <c:numCache>
                <c:formatCode>General</c:formatCode>
                <c:ptCount val="34"/>
                <c:pt idx="20" formatCode="0.0\ %">
                  <c:v>1.636686055272751E-2</c:v>
                </c:pt>
                <c:pt idx="21" formatCode="0.0\ %">
                  <c:v>1.8048675737519497E-2</c:v>
                </c:pt>
                <c:pt idx="22" formatCode="0.0\ %">
                  <c:v>1.9488598174789755E-2</c:v>
                </c:pt>
                <c:pt idx="23" formatCode="0.0\ %">
                  <c:v>3.5124616990584778E-2</c:v>
                </c:pt>
                <c:pt idx="24" formatCode="0.0\ %">
                  <c:v>5.181902936272037E-2</c:v>
                </c:pt>
                <c:pt idx="25" formatCode="0.0\ %">
                  <c:v>5.7848740881987444E-2</c:v>
                </c:pt>
                <c:pt idx="26" formatCode="0.0\ %">
                  <c:v>6.5875026955688587E-2</c:v>
                </c:pt>
                <c:pt idx="27" formatCode="0.0\ %">
                  <c:v>7.5626396803478185E-2</c:v>
                </c:pt>
                <c:pt idx="28" formatCode="0.0\ %">
                  <c:v>7.2863252989872951E-2</c:v>
                </c:pt>
                <c:pt idx="29" formatCode="0.0\ %">
                  <c:v>8.0137619987319039E-2</c:v>
                </c:pt>
                <c:pt idx="30" formatCode="0.0\ %">
                  <c:v>9.1704234838003787E-2</c:v>
                </c:pt>
                <c:pt idx="31" formatCode="0%">
                  <c:v>7.8058726132822623E-2</c:v>
                </c:pt>
                <c:pt idx="32" formatCode="0.0\ %">
                  <c:v>8.4734534737586922E-2</c:v>
                </c:pt>
                <c:pt idx="33" formatCode="0.0\ %">
                  <c:v>9.1183055299277407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5-887C-4BB0-A06A-90A03669EEE2}"/>
            </c:ext>
          </c:extLst>
        </c:ser>
        <c:ser>
          <c:idx val="5"/>
          <c:order val="6"/>
          <c:tx>
            <c:strRef>
              <c:f>'Energialähteet%_jäte'!$F$5</c:f>
              <c:strCache>
                <c:ptCount val="1"/>
                <c:pt idx="0">
                  <c:v>puu, muu bio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22:$A$55</c:f>
              <c:numCache>
                <c:formatCode>General</c:formatCode>
                <c:ptCount val="34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</c:numCache>
              <c:extLst/>
            </c:numRef>
          </c:cat>
          <c:val>
            <c:numRef>
              <c:f>'Energialähteet%_jäte'!$F$22:$F$55</c:f>
              <c:numCache>
                <c:formatCode>0.0\ %</c:formatCode>
                <c:ptCount val="34"/>
                <c:pt idx="0">
                  <c:v>2.2144935180530262E-2</c:v>
                </c:pt>
                <c:pt idx="1">
                  <c:v>2.1559803562190141E-2</c:v>
                </c:pt>
                <c:pt idx="2">
                  <c:v>2.3415897222866435E-2</c:v>
                </c:pt>
                <c:pt idx="3">
                  <c:v>3.1934055943545973E-2</c:v>
                </c:pt>
                <c:pt idx="4">
                  <c:v>4.2985531987336054E-2</c:v>
                </c:pt>
                <c:pt idx="5">
                  <c:v>4.6541036044338575E-2</c:v>
                </c:pt>
                <c:pt idx="6">
                  <c:v>5.5146809520580459E-2</c:v>
                </c:pt>
                <c:pt idx="7">
                  <c:v>6.28941318503487E-2</c:v>
                </c:pt>
                <c:pt idx="8">
                  <c:v>6.6388221654142057E-2</c:v>
                </c:pt>
                <c:pt idx="9">
                  <c:v>7.4999999999999997E-2</c:v>
                </c:pt>
                <c:pt idx="10">
                  <c:v>9.801975471144557E-2</c:v>
                </c:pt>
                <c:pt idx="11">
                  <c:v>9.2722454254792488E-2</c:v>
                </c:pt>
                <c:pt idx="12">
                  <c:v>0.10453342880904605</c:v>
                </c:pt>
                <c:pt idx="13">
                  <c:v>0.10546037598090521</c:v>
                </c:pt>
                <c:pt idx="14">
                  <c:v>0.12634936130149788</c:v>
                </c:pt>
                <c:pt idx="15">
                  <c:v>0.15642099389220193</c:v>
                </c:pt>
                <c:pt idx="16">
                  <c:v>0.14392262898218616</c:v>
                </c:pt>
                <c:pt idx="17">
                  <c:v>0.13974960490939323</c:v>
                </c:pt>
                <c:pt idx="18">
                  <c:v>0.16322034846159073</c:v>
                </c:pt>
                <c:pt idx="19">
                  <c:v>0.18020072617139818</c:v>
                </c:pt>
                <c:pt idx="20">
                  <c:v>0.18143255750873979</c:v>
                </c:pt>
                <c:pt idx="21">
                  <c:v>0.22822995485279707</c:v>
                </c:pt>
                <c:pt idx="22">
                  <c:v>0.24683691409891062</c:v>
                </c:pt>
                <c:pt idx="23">
                  <c:v>0.28141269378463873</c:v>
                </c:pt>
                <c:pt idx="24">
                  <c:v>0.30561739767602214</c:v>
                </c:pt>
                <c:pt idx="25">
                  <c:v>0.32066941798207071</c:v>
                </c:pt>
                <c:pt idx="26">
                  <c:v>0.31155060618597941</c:v>
                </c:pt>
                <c:pt idx="27">
                  <c:v>0.32858379751300837</c:v>
                </c:pt>
                <c:pt idx="28">
                  <c:v>0.3284378399085891</c:v>
                </c:pt>
                <c:pt idx="29">
                  <c:v>0.34927445219943243</c:v>
                </c:pt>
                <c:pt idx="30">
                  <c:v>0.38550996940559717</c:v>
                </c:pt>
                <c:pt idx="31" formatCode="0%">
                  <c:v>0.42787077382529648</c:v>
                </c:pt>
                <c:pt idx="32">
                  <c:v>0.43595702003180775</c:v>
                </c:pt>
                <c:pt idx="33">
                  <c:v>0.4613883151775853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6-887C-4BB0-A06A-90A03669EEE2}"/>
            </c:ext>
          </c:extLst>
        </c:ser>
        <c:ser>
          <c:idx val="8"/>
          <c:order val="7"/>
          <c:tx>
            <c:strRef>
              <c:f>'Energialähteet%_jäte'!$I$5</c:f>
              <c:strCache>
                <c:ptCount val="1"/>
                <c:pt idx="0">
                  <c:v>muu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22:$A$55</c:f>
              <c:numCache>
                <c:formatCode>General</c:formatCode>
                <c:ptCount val="34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</c:numCache>
              <c:extLst/>
            </c:numRef>
          </c:cat>
          <c:val>
            <c:numRef>
              <c:f>'Energialähteet%_jäte'!$I$22:$I$55</c:f>
              <c:numCache>
                <c:formatCode>0.0\ %</c:formatCode>
                <c:ptCount val="34"/>
                <c:pt idx="0">
                  <c:v>2.1855064819469749E-2</c:v>
                </c:pt>
                <c:pt idx="1">
                  <c:v>2.1440196437809811E-2</c:v>
                </c:pt>
                <c:pt idx="2">
                  <c:v>1.9584102777133627E-2</c:v>
                </c:pt>
                <c:pt idx="3">
                  <c:v>1.5065944056454006E-2</c:v>
                </c:pt>
                <c:pt idx="4">
                  <c:v>1.2014468012663926E-2</c:v>
                </c:pt>
                <c:pt idx="5">
                  <c:v>1.1458963955661594E-2</c:v>
                </c:pt>
                <c:pt idx="6">
                  <c:v>1.2753190479419585E-2</c:v>
                </c:pt>
                <c:pt idx="7">
                  <c:v>1.4305868149651291E-2</c:v>
                </c:pt>
                <c:pt idx="8">
                  <c:v>2.5211778345857971E-2</c:v>
                </c:pt>
                <c:pt idx="9">
                  <c:v>2.4299999999999988E-2</c:v>
                </c:pt>
                <c:pt idx="10">
                  <c:v>1.4955175823389226E-2</c:v>
                </c:pt>
                <c:pt idx="11">
                  <c:v>1.5253456294833772E-2</c:v>
                </c:pt>
                <c:pt idx="12">
                  <c:v>1.6903788902488288E-2</c:v>
                </c:pt>
                <c:pt idx="13">
                  <c:v>1.4150012322286642E-2</c:v>
                </c:pt>
                <c:pt idx="14">
                  <c:v>1.1604522710073596E-2</c:v>
                </c:pt>
                <c:pt idx="15">
                  <c:v>1.5577616663815677E-2</c:v>
                </c:pt>
                <c:pt idx="16">
                  <c:v>1.7696415556589608E-2</c:v>
                </c:pt>
                <c:pt idx="17">
                  <c:v>1.7405201633799511E-2</c:v>
                </c:pt>
                <c:pt idx="18">
                  <c:v>2.7405625487231702E-2</c:v>
                </c:pt>
                <c:pt idx="19">
                  <c:v>2.8922467039263777E-2</c:v>
                </c:pt>
                <c:pt idx="20">
                  <c:v>9.293997999752078E-3</c:v>
                </c:pt>
                <c:pt idx="21">
                  <c:v>9.6663146798358617E-3</c:v>
                </c:pt>
                <c:pt idx="22">
                  <c:v>1.4884022985828671E-2</c:v>
                </c:pt>
                <c:pt idx="23">
                  <c:v>1.0968051273409439E-2</c:v>
                </c:pt>
                <c:pt idx="24">
                  <c:v>5.5776914758540116E-3</c:v>
                </c:pt>
                <c:pt idx="25">
                  <c:v>1.1187395938057348E-2</c:v>
                </c:pt>
                <c:pt idx="26">
                  <c:v>6.8207282074868114E-3</c:v>
                </c:pt>
                <c:pt idx="27">
                  <c:v>5.3749912008900008E-3</c:v>
                </c:pt>
                <c:pt idx="28">
                  <c:v>6.039973309242011E-3</c:v>
                </c:pt>
                <c:pt idx="29">
                  <c:v>6.2108984623525628E-3</c:v>
                </c:pt>
                <c:pt idx="30">
                  <c:v>3.6085575856175606E-3</c:v>
                </c:pt>
                <c:pt idx="31">
                  <c:v>2.6009685005510758E-3</c:v>
                </c:pt>
                <c:pt idx="32">
                  <c:v>2.5954735428640216E-3</c:v>
                </c:pt>
                <c:pt idx="33">
                  <c:v>2.2710032850310536E-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7-887C-4BB0-A06A-90A03669EE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27611336"/>
        <c:axId val="527611696"/>
      </c:areaChart>
      <c:areaChart>
        <c:grouping val="percent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axId val="518598648"/>
        <c:axId val="518599728"/>
        <c:extLst>
          <c:ext xmlns:c15="http://schemas.microsoft.com/office/drawing/2012/chart" uri="{02D57815-91ED-43cb-92C2-25804820EDAC}">
            <c15:filteredAreaSeries>
              <c15:ser>
                <c:idx val="0"/>
                <c:order val="8"/>
                <c:tx>
                  <c:v>dummy</c:v>
                </c:tx>
                <c:spPr>
                  <a:solidFill>
                    <a:schemeClr val="accent1"/>
                  </a:solidFill>
                  <a:ln w="25400">
                    <a:noFill/>
                  </a:ln>
                  <a:effectLst/>
                </c:spPr>
                <c:val>
                  <c:numLit>
                    <c:ptCount val="0"/>
                  </c:numLit>
                </c:val>
                <c:extLst>
                  <c:ext xmlns:c16="http://schemas.microsoft.com/office/drawing/2014/chart" uri="{C3380CC4-5D6E-409C-BE32-E72D297353CC}">
                    <c16:uniqueId val="{00000008-887C-4BB0-A06A-90A03669EEE2}"/>
                  </c:ext>
                </c:extLst>
              </c15:ser>
            </c15:filteredAreaSeries>
          </c:ext>
        </c:extLst>
      </c:areaChart>
      <c:catAx>
        <c:axId val="527611336"/>
        <c:scaling>
          <c:orientation val="minMax"/>
        </c:scaling>
        <c:delete val="0"/>
        <c:axPos val="b"/>
        <c:numFmt formatCode="General" sourceLinked="1"/>
        <c:majorTickMark val="cross"/>
        <c:minorTickMark val="out"/>
        <c:tickLblPos val="nextTo"/>
        <c:spPr>
          <a:noFill/>
          <a:ln w="9525" cap="flat" cmpd="sng" algn="ctr">
            <a:solidFill>
              <a:schemeClr val="bg2">
                <a:lumMod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27611696"/>
        <c:crosses val="autoZero"/>
        <c:auto val="1"/>
        <c:lblAlgn val="ctr"/>
        <c:lblOffset val="100"/>
        <c:tickLblSkip val="4"/>
        <c:tickMarkSkip val="2"/>
        <c:noMultiLvlLbl val="0"/>
      </c:catAx>
      <c:valAx>
        <c:axId val="527611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27611336"/>
        <c:crosses val="autoZero"/>
        <c:crossBetween val="midCat"/>
        <c:majorUnit val="0.2"/>
      </c:valAx>
      <c:valAx>
        <c:axId val="51859972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18598648"/>
        <c:crosses val="max"/>
        <c:crossBetween val="midCat"/>
        <c:majorUnit val="0.2"/>
      </c:valAx>
      <c:catAx>
        <c:axId val="518598648"/>
        <c:scaling>
          <c:orientation val="minMax"/>
        </c:scaling>
        <c:delete val="1"/>
        <c:axPos val="b"/>
        <c:majorTickMark val="out"/>
        <c:minorTickMark val="none"/>
        <c:tickLblPos val="nextTo"/>
        <c:crossAx val="5185997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percentStacked"/>
        <c:varyColors val="0"/>
        <c:ser>
          <c:idx val="2"/>
          <c:order val="0"/>
          <c:tx>
            <c:strRef>
              <c:f>'Energialähteet%_jäte'!$C$5</c:f>
              <c:strCache>
                <c:ptCount val="1"/>
                <c:pt idx="0">
                  <c:v>hiili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8:$A$55</c:f>
              <c:numCache>
                <c:formatCode>General</c:formatCode>
                <c:ptCount val="48"/>
                <c:pt idx="0">
                  <c:v>1976</c:v>
                </c:pt>
                <c:pt idx="1">
                  <c:v>1977</c:v>
                </c:pt>
                <c:pt idx="2">
                  <c:v>1978</c:v>
                </c:pt>
                <c:pt idx="3">
                  <c:v>1979</c:v>
                </c:pt>
                <c:pt idx="4">
                  <c:v>1980</c:v>
                </c:pt>
                <c:pt idx="5">
                  <c:v>1981</c:v>
                </c:pt>
                <c:pt idx="6">
                  <c:v>1982</c:v>
                </c:pt>
                <c:pt idx="7">
                  <c:v>1983</c:v>
                </c:pt>
                <c:pt idx="8">
                  <c:v>1984</c:v>
                </c:pt>
                <c:pt idx="9">
                  <c:v>1985</c:v>
                </c:pt>
                <c:pt idx="10">
                  <c:v>1986</c:v>
                </c:pt>
                <c:pt idx="11">
                  <c:v>1987</c:v>
                </c:pt>
                <c:pt idx="12">
                  <c:v>1988</c:v>
                </c:pt>
                <c:pt idx="13">
                  <c:v>1989</c:v>
                </c:pt>
                <c:pt idx="14">
                  <c:v>1990</c:v>
                </c:pt>
                <c:pt idx="15">
                  <c:v>1991</c:v>
                </c:pt>
                <c:pt idx="16">
                  <c:v>1992</c:v>
                </c:pt>
                <c:pt idx="17">
                  <c:v>1993</c:v>
                </c:pt>
                <c:pt idx="18">
                  <c:v>1994</c:v>
                </c:pt>
                <c:pt idx="19">
                  <c:v>1995</c:v>
                </c:pt>
                <c:pt idx="20">
                  <c:v>1996</c:v>
                </c:pt>
                <c:pt idx="21">
                  <c:v>1997</c:v>
                </c:pt>
                <c:pt idx="22">
                  <c:v>1998</c:v>
                </c:pt>
                <c:pt idx="23">
                  <c:v>1999</c:v>
                </c:pt>
                <c:pt idx="24">
                  <c:v>2000</c:v>
                </c:pt>
                <c:pt idx="25">
                  <c:v>2001</c:v>
                </c:pt>
                <c:pt idx="26">
                  <c:v>2002</c:v>
                </c:pt>
                <c:pt idx="27">
                  <c:v>2003</c:v>
                </c:pt>
                <c:pt idx="28">
                  <c:v>2004</c:v>
                </c:pt>
                <c:pt idx="29">
                  <c:v>2005</c:v>
                </c:pt>
                <c:pt idx="30">
                  <c:v>2006</c:v>
                </c:pt>
                <c:pt idx="31">
                  <c:v>2007</c:v>
                </c:pt>
                <c:pt idx="32">
                  <c:v>2008</c:v>
                </c:pt>
                <c:pt idx="33">
                  <c:v>2009</c:v>
                </c:pt>
                <c:pt idx="34">
                  <c:v>2010</c:v>
                </c:pt>
                <c:pt idx="35">
                  <c:v>2011</c:v>
                </c:pt>
                <c:pt idx="36">
                  <c:v>2012</c:v>
                </c:pt>
                <c:pt idx="37">
                  <c:v>2013</c:v>
                </c:pt>
                <c:pt idx="38">
                  <c:v>2014</c:v>
                </c:pt>
                <c:pt idx="39">
                  <c:v>2015</c:v>
                </c:pt>
                <c:pt idx="40">
                  <c:v>2016</c:v>
                </c:pt>
                <c:pt idx="41">
                  <c:v>2017</c:v>
                </c:pt>
                <c:pt idx="42">
                  <c:v>2018</c:v>
                </c:pt>
                <c:pt idx="43">
                  <c:v>2019</c:v>
                </c:pt>
                <c:pt idx="44">
                  <c:v>2020</c:v>
                </c:pt>
                <c:pt idx="45">
                  <c:v>2021</c:v>
                </c:pt>
                <c:pt idx="46">
                  <c:v>2022</c:v>
                </c:pt>
                <c:pt idx="47">
                  <c:v>2023</c:v>
                </c:pt>
              </c:numCache>
            </c:numRef>
          </c:cat>
          <c:val>
            <c:numRef>
              <c:f>'Energialähteet%_jäte'!$C$8:$C$55</c:f>
              <c:numCache>
                <c:formatCode>0.0\ %</c:formatCode>
                <c:ptCount val="48"/>
                <c:pt idx="0">
                  <c:v>0.28999999999999998</c:v>
                </c:pt>
                <c:pt idx="1">
                  <c:v>0.32099999999999995</c:v>
                </c:pt>
                <c:pt idx="2">
                  <c:v>0.37</c:v>
                </c:pt>
                <c:pt idx="3">
                  <c:v>0.37899999999999995</c:v>
                </c:pt>
                <c:pt idx="4">
                  <c:v>0.37699999999999995</c:v>
                </c:pt>
                <c:pt idx="5">
                  <c:v>0.35699999999999993</c:v>
                </c:pt>
                <c:pt idx="6">
                  <c:v>0.40799999999999992</c:v>
                </c:pt>
                <c:pt idx="7">
                  <c:v>0.46700000000000008</c:v>
                </c:pt>
                <c:pt idx="8">
                  <c:v>0.498</c:v>
                </c:pt>
                <c:pt idx="9">
                  <c:v>0.4930000000000001</c:v>
                </c:pt>
                <c:pt idx="10">
                  <c:v>0.46800000000000008</c:v>
                </c:pt>
                <c:pt idx="11">
                  <c:v>0.46599999999999991</c:v>
                </c:pt>
                <c:pt idx="12">
                  <c:v>0.48699999999999999</c:v>
                </c:pt>
                <c:pt idx="13">
                  <c:v>0.46799999999999997</c:v>
                </c:pt>
                <c:pt idx="14">
                  <c:v>0.43600000000000005</c:v>
                </c:pt>
                <c:pt idx="15">
                  <c:v>0.45100000000000007</c:v>
                </c:pt>
                <c:pt idx="16">
                  <c:v>0.41</c:v>
                </c:pt>
                <c:pt idx="17">
                  <c:v>0.41200000000000003</c:v>
                </c:pt>
                <c:pt idx="18">
                  <c:v>0.40200000000000002</c:v>
                </c:pt>
                <c:pt idx="19">
                  <c:v>0.375</c:v>
                </c:pt>
                <c:pt idx="20">
                  <c:v>0.37630000000000002</c:v>
                </c:pt>
                <c:pt idx="21">
                  <c:v>0.36109999999999998</c:v>
                </c:pt>
                <c:pt idx="22">
                  <c:v>0.29459999999999997</c:v>
                </c:pt>
                <c:pt idx="23">
                  <c:v>0.2782</c:v>
                </c:pt>
                <c:pt idx="24">
                  <c:v>0.26440080437734348</c:v>
                </c:pt>
                <c:pt idx="25">
                  <c:v>0.27427085442116583</c:v>
                </c:pt>
                <c:pt idx="26">
                  <c:v>0.26223367953172005</c:v>
                </c:pt>
                <c:pt idx="27">
                  <c:v>0.26059183104079109</c:v>
                </c:pt>
                <c:pt idx="28">
                  <c:v>0.25055368896783659</c:v>
                </c:pt>
                <c:pt idx="29">
                  <c:v>0.23599723836692238</c:v>
                </c:pt>
                <c:pt idx="30">
                  <c:v>0.25409263899218237</c:v>
                </c:pt>
                <c:pt idx="31">
                  <c:v>0.23994714821714053</c:v>
                </c:pt>
                <c:pt idx="32">
                  <c:v>0.21753633230878905</c:v>
                </c:pt>
                <c:pt idx="33">
                  <c:v>0.22212720101344915</c:v>
                </c:pt>
                <c:pt idx="34">
                  <c:v>0.20476906418638249</c:v>
                </c:pt>
                <c:pt idx="35">
                  <c:v>0.22702136640176715</c:v>
                </c:pt>
                <c:pt idx="36">
                  <c:v>0.2233224709386008</c:v>
                </c:pt>
                <c:pt idx="37">
                  <c:v>0.24115404805963284</c:v>
                </c:pt>
                <c:pt idx="38">
                  <c:v>0.22423575500001328</c:v>
                </c:pt>
                <c:pt idx="39">
                  <c:v>0.19569022689278859</c:v>
                </c:pt>
                <c:pt idx="40">
                  <c:v>0.22913798977304509</c:v>
                </c:pt>
                <c:pt idx="41">
                  <c:v>0.22891851972397068</c:v>
                </c:pt>
                <c:pt idx="42">
                  <c:v>0.19440222439228816</c:v>
                </c:pt>
                <c:pt idx="43">
                  <c:v>0.17641324334937211</c:v>
                </c:pt>
                <c:pt idx="44">
                  <c:v>0.11486118239672327</c:v>
                </c:pt>
                <c:pt idx="45">
                  <c:v>0.11481447544482958</c:v>
                </c:pt>
                <c:pt idx="46">
                  <c:v>0.15235359883741345</c:v>
                </c:pt>
                <c:pt idx="47">
                  <c:v>8.004893537116798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E0-4BF5-B2D7-CD3C16BDE6EE}"/>
            </c:ext>
          </c:extLst>
        </c:ser>
        <c:ser>
          <c:idx val="1"/>
          <c:order val="1"/>
          <c:tx>
            <c:strRef>
              <c:f>'Energialähteet%_jäte'!$B$5</c:f>
              <c:strCache>
                <c:ptCount val="1"/>
                <c:pt idx="0">
                  <c:v>öljy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8:$A$55</c:f>
              <c:numCache>
                <c:formatCode>General</c:formatCode>
                <c:ptCount val="48"/>
                <c:pt idx="0">
                  <c:v>1976</c:v>
                </c:pt>
                <c:pt idx="1">
                  <c:v>1977</c:v>
                </c:pt>
                <c:pt idx="2">
                  <c:v>1978</c:v>
                </c:pt>
                <c:pt idx="3">
                  <c:v>1979</c:v>
                </c:pt>
                <c:pt idx="4">
                  <c:v>1980</c:v>
                </c:pt>
                <c:pt idx="5">
                  <c:v>1981</c:v>
                </c:pt>
                <c:pt idx="6">
                  <c:v>1982</c:v>
                </c:pt>
                <c:pt idx="7">
                  <c:v>1983</c:v>
                </c:pt>
                <c:pt idx="8">
                  <c:v>1984</c:v>
                </c:pt>
                <c:pt idx="9">
                  <c:v>1985</c:v>
                </c:pt>
                <c:pt idx="10">
                  <c:v>1986</c:v>
                </c:pt>
                <c:pt idx="11">
                  <c:v>1987</c:v>
                </c:pt>
                <c:pt idx="12">
                  <c:v>1988</c:v>
                </c:pt>
                <c:pt idx="13">
                  <c:v>1989</c:v>
                </c:pt>
                <c:pt idx="14">
                  <c:v>1990</c:v>
                </c:pt>
                <c:pt idx="15">
                  <c:v>1991</c:v>
                </c:pt>
                <c:pt idx="16">
                  <c:v>1992</c:v>
                </c:pt>
                <c:pt idx="17">
                  <c:v>1993</c:v>
                </c:pt>
                <c:pt idx="18">
                  <c:v>1994</c:v>
                </c:pt>
                <c:pt idx="19">
                  <c:v>1995</c:v>
                </c:pt>
                <c:pt idx="20">
                  <c:v>1996</c:v>
                </c:pt>
                <c:pt idx="21">
                  <c:v>1997</c:v>
                </c:pt>
                <c:pt idx="22">
                  <c:v>1998</c:v>
                </c:pt>
                <c:pt idx="23">
                  <c:v>1999</c:v>
                </c:pt>
                <c:pt idx="24">
                  <c:v>2000</c:v>
                </c:pt>
                <c:pt idx="25">
                  <c:v>2001</c:v>
                </c:pt>
                <c:pt idx="26">
                  <c:v>2002</c:v>
                </c:pt>
                <c:pt idx="27">
                  <c:v>2003</c:v>
                </c:pt>
                <c:pt idx="28">
                  <c:v>2004</c:v>
                </c:pt>
                <c:pt idx="29">
                  <c:v>2005</c:v>
                </c:pt>
                <c:pt idx="30">
                  <c:v>2006</c:v>
                </c:pt>
                <c:pt idx="31">
                  <c:v>2007</c:v>
                </c:pt>
                <c:pt idx="32">
                  <c:v>2008</c:v>
                </c:pt>
                <c:pt idx="33">
                  <c:v>2009</c:v>
                </c:pt>
                <c:pt idx="34">
                  <c:v>2010</c:v>
                </c:pt>
                <c:pt idx="35">
                  <c:v>2011</c:v>
                </c:pt>
                <c:pt idx="36">
                  <c:v>2012</c:v>
                </c:pt>
                <c:pt idx="37">
                  <c:v>2013</c:v>
                </c:pt>
                <c:pt idx="38">
                  <c:v>2014</c:v>
                </c:pt>
                <c:pt idx="39">
                  <c:v>2015</c:v>
                </c:pt>
                <c:pt idx="40">
                  <c:v>2016</c:v>
                </c:pt>
                <c:pt idx="41">
                  <c:v>2017</c:v>
                </c:pt>
                <c:pt idx="42">
                  <c:v>2018</c:v>
                </c:pt>
                <c:pt idx="43">
                  <c:v>2019</c:v>
                </c:pt>
                <c:pt idx="44">
                  <c:v>2020</c:v>
                </c:pt>
                <c:pt idx="45">
                  <c:v>2021</c:v>
                </c:pt>
                <c:pt idx="46">
                  <c:v>2022</c:v>
                </c:pt>
                <c:pt idx="47">
                  <c:v>2023</c:v>
                </c:pt>
              </c:numCache>
            </c:numRef>
          </c:cat>
          <c:val>
            <c:numRef>
              <c:f>'Energialähteet%_jäte'!$B$8:$B$55</c:f>
              <c:numCache>
                <c:formatCode>0.0\ %</c:formatCode>
                <c:ptCount val="48"/>
                <c:pt idx="0">
                  <c:v>0.60099999999999998</c:v>
                </c:pt>
                <c:pt idx="1">
                  <c:v>0.55600000000000005</c:v>
                </c:pt>
                <c:pt idx="2">
                  <c:v>0.46899999999999997</c:v>
                </c:pt>
                <c:pt idx="3">
                  <c:v>0.439</c:v>
                </c:pt>
                <c:pt idx="4">
                  <c:v>0.43099999999999999</c:v>
                </c:pt>
                <c:pt idx="5">
                  <c:v>0.44400000000000001</c:v>
                </c:pt>
                <c:pt idx="6">
                  <c:v>0.34799999999999998</c:v>
                </c:pt>
                <c:pt idx="7">
                  <c:v>0.24</c:v>
                </c:pt>
                <c:pt idx="8">
                  <c:v>0.19699999999999998</c:v>
                </c:pt>
                <c:pt idx="9">
                  <c:v>0.22399999999999998</c:v>
                </c:pt>
                <c:pt idx="10">
                  <c:v>0.214</c:v>
                </c:pt>
                <c:pt idx="11">
                  <c:v>0.185</c:v>
                </c:pt>
                <c:pt idx="12">
                  <c:v>0.14800000000000002</c:v>
                </c:pt>
                <c:pt idx="13">
                  <c:v>0.128</c:v>
                </c:pt>
                <c:pt idx="14">
                  <c:v>0.11</c:v>
                </c:pt>
                <c:pt idx="15">
                  <c:v>0.10400000000000001</c:v>
                </c:pt>
                <c:pt idx="16">
                  <c:v>0.10199999999999999</c:v>
                </c:pt>
                <c:pt idx="17">
                  <c:v>9.4E-2</c:v>
                </c:pt>
                <c:pt idx="18">
                  <c:v>0.1</c:v>
                </c:pt>
                <c:pt idx="19">
                  <c:v>8.6999999999999994E-2</c:v>
                </c:pt>
                <c:pt idx="20">
                  <c:v>8.2400000000000001E-2</c:v>
                </c:pt>
                <c:pt idx="21">
                  <c:v>6.0199999999999997E-2</c:v>
                </c:pt>
                <c:pt idx="22">
                  <c:v>7.0900000000000005E-2</c:v>
                </c:pt>
                <c:pt idx="23">
                  <c:v>7.85E-2</c:v>
                </c:pt>
                <c:pt idx="24">
                  <c:v>8.4100444381102299E-2</c:v>
                </c:pt>
                <c:pt idx="25">
                  <c:v>9.141291655628643E-2</c:v>
                </c:pt>
                <c:pt idx="26">
                  <c:v>8.3644023605498524E-2</c:v>
                </c:pt>
                <c:pt idx="27">
                  <c:v>8.0872220066667749E-2</c:v>
                </c:pt>
                <c:pt idx="28">
                  <c:v>6.4109623871972082E-2</c:v>
                </c:pt>
                <c:pt idx="29">
                  <c:v>5.7347610346760218E-2</c:v>
                </c:pt>
                <c:pt idx="30">
                  <c:v>6.3640519823831274E-2</c:v>
                </c:pt>
                <c:pt idx="31">
                  <c:v>6.5904158205790264E-2</c:v>
                </c:pt>
                <c:pt idx="32">
                  <c:v>4.874517866634949E-2</c:v>
                </c:pt>
                <c:pt idx="33">
                  <c:v>7.2848323865800146E-2</c:v>
                </c:pt>
                <c:pt idx="34">
                  <c:v>7.1663113564089984E-2</c:v>
                </c:pt>
                <c:pt idx="35">
                  <c:v>4.6647173839300032E-2</c:v>
                </c:pt>
                <c:pt idx="36">
                  <c:v>5.0258783246717405E-2</c:v>
                </c:pt>
                <c:pt idx="37">
                  <c:v>2.9499950112475162E-2</c:v>
                </c:pt>
                <c:pt idx="38">
                  <c:v>2.813987186714435E-2</c:v>
                </c:pt>
                <c:pt idx="39">
                  <c:v>2.9404192621838063E-2</c:v>
                </c:pt>
                <c:pt idx="40">
                  <c:v>3.064191277253879E-2</c:v>
                </c:pt>
                <c:pt idx="41">
                  <c:v>2.1658228956033945E-2</c:v>
                </c:pt>
                <c:pt idx="42">
                  <c:v>2.2121827625443617E-2</c:v>
                </c:pt>
                <c:pt idx="43">
                  <c:v>1.9300571504350474E-2</c:v>
                </c:pt>
                <c:pt idx="44">
                  <c:v>1.2497829605267106E-2</c:v>
                </c:pt>
                <c:pt idx="45">
                  <c:v>2.9795587399925466E-2</c:v>
                </c:pt>
                <c:pt idx="46">
                  <c:v>5.6687956030201186E-2</c:v>
                </c:pt>
                <c:pt idx="47">
                  <c:v>2.720239452655136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E0-4BF5-B2D7-CD3C16BDE6EE}"/>
            </c:ext>
          </c:extLst>
        </c:ser>
        <c:ser>
          <c:idx val="3"/>
          <c:order val="2"/>
          <c:tx>
            <c:strRef>
              <c:f>'Energialähteet%_jäte'!$D$5</c:f>
              <c:strCache>
                <c:ptCount val="1"/>
                <c:pt idx="0">
                  <c:v>maakaasu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8:$A$55</c:f>
              <c:numCache>
                <c:formatCode>General</c:formatCode>
                <c:ptCount val="48"/>
                <c:pt idx="0">
                  <c:v>1976</c:v>
                </c:pt>
                <c:pt idx="1">
                  <c:v>1977</c:v>
                </c:pt>
                <c:pt idx="2">
                  <c:v>1978</c:v>
                </c:pt>
                <c:pt idx="3">
                  <c:v>1979</c:v>
                </c:pt>
                <c:pt idx="4">
                  <c:v>1980</c:v>
                </c:pt>
                <c:pt idx="5">
                  <c:v>1981</c:v>
                </c:pt>
                <c:pt idx="6">
                  <c:v>1982</c:v>
                </c:pt>
                <c:pt idx="7">
                  <c:v>1983</c:v>
                </c:pt>
                <c:pt idx="8">
                  <c:v>1984</c:v>
                </c:pt>
                <c:pt idx="9">
                  <c:v>1985</c:v>
                </c:pt>
                <c:pt idx="10">
                  <c:v>1986</c:v>
                </c:pt>
                <c:pt idx="11">
                  <c:v>1987</c:v>
                </c:pt>
                <c:pt idx="12">
                  <c:v>1988</c:v>
                </c:pt>
                <c:pt idx="13">
                  <c:v>1989</c:v>
                </c:pt>
                <c:pt idx="14">
                  <c:v>1990</c:v>
                </c:pt>
                <c:pt idx="15">
                  <c:v>1991</c:v>
                </c:pt>
                <c:pt idx="16">
                  <c:v>1992</c:v>
                </c:pt>
                <c:pt idx="17">
                  <c:v>1993</c:v>
                </c:pt>
                <c:pt idx="18">
                  <c:v>1994</c:v>
                </c:pt>
                <c:pt idx="19">
                  <c:v>1995</c:v>
                </c:pt>
                <c:pt idx="20">
                  <c:v>1996</c:v>
                </c:pt>
                <c:pt idx="21">
                  <c:v>1997</c:v>
                </c:pt>
                <c:pt idx="22">
                  <c:v>1998</c:v>
                </c:pt>
                <c:pt idx="23">
                  <c:v>1999</c:v>
                </c:pt>
                <c:pt idx="24">
                  <c:v>2000</c:v>
                </c:pt>
                <c:pt idx="25">
                  <c:v>2001</c:v>
                </c:pt>
                <c:pt idx="26">
                  <c:v>2002</c:v>
                </c:pt>
                <c:pt idx="27">
                  <c:v>2003</c:v>
                </c:pt>
                <c:pt idx="28">
                  <c:v>2004</c:v>
                </c:pt>
                <c:pt idx="29">
                  <c:v>2005</c:v>
                </c:pt>
                <c:pt idx="30">
                  <c:v>2006</c:v>
                </c:pt>
                <c:pt idx="31">
                  <c:v>2007</c:v>
                </c:pt>
                <c:pt idx="32">
                  <c:v>2008</c:v>
                </c:pt>
                <c:pt idx="33">
                  <c:v>2009</c:v>
                </c:pt>
                <c:pt idx="34">
                  <c:v>2010</c:v>
                </c:pt>
                <c:pt idx="35">
                  <c:v>2011</c:v>
                </c:pt>
                <c:pt idx="36">
                  <c:v>2012</c:v>
                </c:pt>
                <c:pt idx="37">
                  <c:v>2013</c:v>
                </c:pt>
                <c:pt idx="38">
                  <c:v>2014</c:v>
                </c:pt>
                <c:pt idx="39">
                  <c:v>2015</c:v>
                </c:pt>
                <c:pt idx="40">
                  <c:v>2016</c:v>
                </c:pt>
                <c:pt idx="41">
                  <c:v>2017</c:v>
                </c:pt>
                <c:pt idx="42">
                  <c:v>2018</c:v>
                </c:pt>
                <c:pt idx="43">
                  <c:v>2019</c:v>
                </c:pt>
                <c:pt idx="44">
                  <c:v>2020</c:v>
                </c:pt>
                <c:pt idx="45">
                  <c:v>2021</c:v>
                </c:pt>
                <c:pt idx="46">
                  <c:v>2022</c:v>
                </c:pt>
                <c:pt idx="47">
                  <c:v>2023</c:v>
                </c:pt>
              </c:numCache>
            </c:numRef>
          </c:cat>
          <c:val>
            <c:numRef>
              <c:f>'Energialähteet%_jäte'!$D$8:$D$55</c:f>
              <c:numCache>
                <c:formatCode>0.0\ %</c:formatCode>
                <c:ptCount val="48"/>
                <c:pt idx="0">
                  <c:v>4.1000000000000147E-2</c:v>
                </c:pt>
                <c:pt idx="1">
                  <c:v>4.0999999999999925E-2</c:v>
                </c:pt>
                <c:pt idx="2">
                  <c:v>3.5999999999999921E-2</c:v>
                </c:pt>
                <c:pt idx="3">
                  <c:v>3.9000000000000035E-2</c:v>
                </c:pt>
                <c:pt idx="4">
                  <c:v>4.2000000000000037E-2</c:v>
                </c:pt>
                <c:pt idx="5">
                  <c:v>4.1000000000000147E-2</c:v>
                </c:pt>
                <c:pt idx="6">
                  <c:v>3.9000000000000146E-2</c:v>
                </c:pt>
                <c:pt idx="7">
                  <c:v>2.8999999999999915E-2</c:v>
                </c:pt>
                <c:pt idx="8">
                  <c:v>3.1000000000000028E-2</c:v>
                </c:pt>
                <c:pt idx="9">
                  <c:v>3.7999999999999923E-2</c:v>
                </c:pt>
                <c:pt idx="10">
                  <c:v>6.700000000000006E-2</c:v>
                </c:pt>
                <c:pt idx="11">
                  <c:v>0.10600000000000009</c:v>
                </c:pt>
                <c:pt idx="12">
                  <c:v>0.11799999999999999</c:v>
                </c:pt>
                <c:pt idx="13">
                  <c:v>0.17700000000000005</c:v>
                </c:pt>
                <c:pt idx="14">
                  <c:v>0.21099999999999997</c:v>
                </c:pt>
                <c:pt idx="15">
                  <c:v>0.20299999999999996</c:v>
                </c:pt>
                <c:pt idx="16">
                  <c:v>0.24</c:v>
                </c:pt>
                <c:pt idx="17">
                  <c:v>0.252</c:v>
                </c:pt>
                <c:pt idx="18">
                  <c:v>0.248</c:v>
                </c:pt>
                <c:pt idx="19">
                  <c:v>0.26299999999999996</c:v>
                </c:pt>
                <c:pt idx="20">
                  <c:v>0.25940000000000002</c:v>
                </c:pt>
                <c:pt idx="21">
                  <c:v>0.2898</c:v>
                </c:pt>
                <c:pt idx="22">
                  <c:v>0.34239999999999998</c:v>
                </c:pt>
                <c:pt idx="23">
                  <c:v>0.35649999999999998</c:v>
                </c:pt>
                <c:pt idx="24">
                  <c:v>0.34488584219441615</c:v>
                </c:pt>
                <c:pt idx="25">
                  <c:v>0.31005370092612039</c:v>
                </c:pt>
                <c:pt idx="26">
                  <c:v>0.31766941781824992</c:v>
                </c:pt>
                <c:pt idx="27">
                  <c:v>0.30737565307073739</c:v>
                </c:pt>
                <c:pt idx="28">
                  <c:v>0.32993216466691783</c:v>
                </c:pt>
                <c:pt idx="29">
                  <c:v>0.33756330185212702</c:v>
                </c:pt>
                <c:pt idx="30">
                  <c:v>0.29743459342582679</c:v>
                </c:pt>
                <c:pt idx="31">
                  <c:v>0.29432140220582664</c:v>
                </c:pt>
                <c:pt idx="32">
                  <c:v>0.31545070670249054</c:v>
                </c:pt>
                <c:pt idx="33">
                  <c:v>0.28982256315894406</c:v>
                </c:pt>
                <c:pt idx="34">
                  <c:v>0.30220783707209753</c:v>
                </c:pt>
                <c:pt idx="35">
                  <c:v>0.24182417345861767</c:v>
                </c:pt>
                <c:pt idx="36">
                  <c:v>0.24771891917703087</c:v>
                </c:pt>
                <c:pt idx="37">
                  <c:v>0.22522069025419447</c:v>
                </c:pt>
                <c:pt idx="38">
                  <c:v>0.19554329630883938</c:v>
                </c:pt>
                <c:pt idx="39">
                  <c:v>0.16806597864511913</c:v>
                </c:pt>
                <c:pt idx="40">
                  <c:v>0.12540554714662752</c:v>
                </c:pt>
                <c:pt idx="41">
                  <c:v>9.9782070214724738E-2</c:v>
                </c:pt>
                <c:pt idx="42">
                  <c:v>0.12643355843502393</c:v>
                </c:pt>
                <c:pt idx="43">
                  <c:v>0.10732255242389084</c:v>
                </c:pt>
                <c:pt idx="44">
                  <c:v>0.11397261235453215</c:v>
                </c:pt>
                <c:pt idx="45">
                  <c:v>0.10004224260773817</c:v>
                </c:pt>
                <c:pt idx="46">
                  <c:v>3.1217499322922129E-2</c:v>
                </c:pt>
                <c:pt idx="47">
                  <c:v>6.28054741644693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EE0-4BF5-B2D7-CD3C16BDE6EE}"/>
            </c:ext>
          </c:extLst>
        </c:ser>
        <c:ser>
          <c:idx val="4"/>
          <c:order val="3"/>
          <c:tx>
            <c:strRef>
              <c:f>'Energialähteet%_jäte'!$E$5</c:f>
              <c:strCache>
                <c:ptCount val="1"/>
                <c:pt idx="0">
                  <c:v>turve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8:$A$55</c:f>
              <c:numCache>
                <c:formatCode>General</c:formatCode>
                <c:ptCount val="48"/>
                <c:pt idx="0">
                  <c:v>1976</c:v>
                </c:pt>
                <c:pt idx="1">
                  <c:v>1977</c:v>
                </c:pt>
                <c:pt idx="2">
                  <c:v>1978</c:v>
                </c:pt>
                <c:pt idx="3">
                  <c:v>1979</c:v>
                </c:pt>
                <c:pt idx="4">
                  <c:v>1980</c:v>
                </c:pt>
                <c:pt idx="5">
                  <c:v>1981</c:v>
                </c:pt>
                <c:pt idx="6">
                  <c:v>1982</c:v>
                </c:pt>
                <c:pt idx="7">
                  <c:v>1983</c:v>
                </c:pt>
                <c:pt idx="8">
                  <c:v>1984</c:v>
                </c:pt>
                <c:pt idx="9">
                  <c:v>1985</c:v>
                </c:pt>
                <c:pt idx="10">
                  <c:v>1986</c:v>
                </c:pt>
                <c:pt idx="11">
                  <c:v>1987</c:v>
                </c:pt>
                <c:pt idx="12">
                  <c:v>1988</c:v>
                </c:pt>
                <c:pt idx="13">
                  <c:v>1989</c:v>
                </c:pt>
                <c:pt idx="14">
                  <c:v>1990</c:v>
                </c:pt>
                <c:pt idx="15">
                  <c:v>1991</c:v>
                </c:pt>
                <c:pt idx="16">
                  <c:v>1992</c:v>
                </c:pt>
                <c:pt idx="17">
                  <c:v>1993</c:v>
                </c:pt>
                <c:pt idx="18">
                  <c:v>1994</c:v>
                </c:pt>
                <c:pt idx="19">
                  <c:v>1995</c:v>
                </c:pt>
                <c:pt idx="20">
                  <c:v>1996</c:v>
                </c:pt>
                <c:pt idx="21">
                  <c:v>1997</c:v>
                </c:pt>
                <c:pt idx="22">
                  <c:v>1998</c:v>
                </c:pt>
                <c:pt idx="23">
                  <c:v>1999</c:v>
                </c:pt>
                <c:pt idx="24">
                  <c:v>2000</c:v>
                </c:pt>
                <c:pt idx="25">
                  <c:v>2001</c:v>
                </c:pt>
                <c:pt idx="26">
                  <c:v>2002</c:v>
                </c:pt>
                <c:pt idx="27">
                  <c:v>2003</c:v>
                </c:pt>
                <c:pt idx="28">
                  <c:v>2004</c:v>
                </c:pt>
                <c:pt idx="29">
                  <c:v>2005</c:v>
                </c:pt>
                <c:pt idx="30">
                  <c:v>2006</c:v>
                </c:pt>
                <c:pt idx="31">
                  <c:v>2007</c:v>
                </c:pt>
                <c:pt idx="32">
                  <c:v>2008</c:v>
                </c:pt>
                <c:pt idx="33">
                  <c:v>2009</c:v>
                </c:pt>
                <c:pt idx="34">
                  <c:v>2010</c:v>
                </c:pt>
                <c:pt idx="35">
                  <c:v>2011</c:v>
                </c:pt>
                <c:pt idx="36">
                  <c:v>2012</c:v>
                </c:pt>
                <c:pt idx="37">
                  <c:v>2013</c:v>
                </c:pt>
                <c:pt idx="38">
                  <c:v>2014</c:v>
                </c:pt>
                <c:pt idx="39">
                  <c:v>2015</c:v>
                </c:pt>
                <c:pt idx="40">
                  <c:v>2016</c:v>
                </c:pt>
                <c:pt idx="41">
                  <c:v>2017</c:v>
                </c:pt>
                <c:pt idx="42">
                  <c:v>2018</c:v>
                </c:pt>
                <c:pt idx="43">
                  <c:v>2019</c:v>
                </c:pt>
                <c:pt idx="44">
                  <c:v>2020</c:v>
                </c:pt>
                <c:pt idx="45">
                  <c:v>2021</c:v>
                </c:pt>
                <c:pt idx="46">
                  <c:v>2022</c:v>
                </c:pt>
                <c:pt idx="47">
                  <c:v>2023</c:v>
                </c:pt>
              </c:numCache>
            </c:numRef>
          </c:cat>
          <c:val>
            <c:numRef>
              <c:f>'Energialähteet%_jäte'!$E$8:$E$55</c:f>
              <c:numCache>
                <c:formatCode>0.0\ %</c:formatCode>
                <c:ptCount val="48"/>
                <c:pt idx="0">
                  <c:v>2.7999999999999914E-2</c:v>
                </c:pt>
                <c:pt idx="1">
                  <c:v>4.7000000000000042E-2</c:v>
                </c:pt>
                <c:pt idx="2">
                  <c:v>9.9000000000000088E-2</c:v>
                </c:pt>
                <c:pt idx="3">
                  <c:v>0.115</c:v>
                </c:pt>
                <c:pt idx="4">
                  <c:v>0.121</c:v>
                </c:pt>
                <c:pt idx="5">
                  <c:v>0.11899999999999988</c:v>
                </c:pt>
                <c:pt idx="6">
                  <c:v>0.14499999999999999</c:v>
                </c:pt>
                <c:pt idx="7">
                  <c:v>0.18600000000000005</c:v>
                </c:pt>
                <c:pt idx="8">
                  <c:v>0.20100000000000007</c:v>
                </c:pt>
                <c:pt idx="9">
                  <c:v>0.19799999999999995</c:v>
                </c:pt>
                <c:pt idx="10">
                  <c:v>0.20499999999999999</c:v>
                </c:pt>
                <c:pt idx="11">
                  <c:v>0.19700000000000006</c:v>
                </c:pt>
                <c:pt idx="12">
                  <c:v>0.20299999999999996</c:v>
                </c:pt>
                <c:pt idx="13">
                  <c:v>0.18299999999999994</c:v>
                </c:pt>
                <c:pt idx="14">
                  <c:v>0.19899999999999995</c:v>
                </c:pt>
                <c:pt idx="15">
                  <c:v>0.19900000000000007</c:v>
                </c:pt>
                <c:pt idx="16">
                  <c:v>0.20499999999999999</c:v>
                </c:pt>
                <c:pt idx="17">
                  <c:v>0.19500000000000001</c:v>
                </c:pt>
                <c:pt idx="18">
                  <c:v>0.19500000000000001</c:v>
                </c:pt>
                <c:pt idx="19">
                  <c:v>0.217</c:v>
                </c:pt>
                <c:pt idx="20">
                  <c:v>0.214</c:v>
                </c:pt>
                <c:pt idx="21">
                  <c:v>0.2117</c:v>
                </c:pt>
                <c:pt idx="22">
                  <c:v>0.20050000000000001</c:v>
                </c:pt>
                <c:pt idx="23">
                  <c:v>0.1875</c:v>
                </c:pt>
                <c:pt idx="24">
                  <c:v>0.18992087068012578</c:v>
                </c:pt>
                <c:pt idx="25">
                  <c:v>0.20717384236362293</c:v>
                </c:pt>
                <c:pt idx="26">
                  <c:v>0.20479586603561234</c:v>
                </c:pt>
                <c:pt idx="27">
                  <c:v>0.21523045881292754</c:v>
                </c:pt>
                <c:pt idx="28">
                  <c:v>0.20150853379007114</c:v>
                </c:pt>
                <c:pt idx="29">
                  <c:v>0.17684324896447948</c:v>
                </c:pt>
                <c:pt idx="30">
                  <c:v>0.20067130734592598</c:v>
                </c:pt>
                <c:pt idx="31">
                  <c:v>0.21882026316015857</c:v>
                </c:pt>
                <c:pt idx="32">
                  <c:v>0.19640577932404144</c:v>
                </c:pt>
                <c:pt idx="33">
                  <c:v>0.17208377522391255</c:v>
                </c:pt>
                <c:pt idx="34">
                  <c:v>0.19223668225483354</c:v>
                </c:pt>
                <c:pt idx="35">
                  <c:v>0.19408249843238751</c:v>
                </c:pt>
                <c:pt idx="36">
                  <c:v>0.16162902322592157</c:v>
                </c:pt>
                <c:pt idx="37">
                  <c:v>0.13868927320769997</c:v>
                </c:pt>
                <c:pt idx="38">
                  <c:v>0.14576112461172713</c:v>
                </c:pt>
                <c:pt idx="39">
                  <c:v>0.16219172168746174</c:v>
                </c:pt>
                <c:pt idx="40">
                  <c:v>0.14744430814360446</c:v>
                </c:pt>
                <c:pt idx="41">
                  <c:v>0.14537529235898702</c:v>
                </c:pt>
                <c:pt idx="42">
                  <c:v>0.15534052664231135</c:v>
                </c:pt>
                <c:pt idx="43">
                  <c:v>0.15334277722379427</c:v>
                </c:pt>
                <c:pt idx="44">
                  <c:v>0.14104054095232152</c:v>
                </c:pt>
                <c:pt idx="45">
                  <c:v>0.10581351810186097</c:v>
                </c:pt>
                <c:pt idx="46">
                  <c:v>0.10134949421379638</c:v>
                </c:pt>
                <c:pt idx="47">
                  <c:v>8.352740512706179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EE0-4BF5-B2D7-CD3C16BDE6EE}"/>
            </c:ext>
          </c:extLst>
        </c:ser>
        <c:ser>
          <c:idx val="6"/>
          <c:order val="4"/>
          <c:tx>
            <c:strRef>
              <c:f>'Energialähteet%_jäte'!$G$5</c:f>
              <c:strCache>
                <c:ptCount val="1"/>
                <c:pt idx="0">
                  <c:v>hukkalämmö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8:$A$55</c:f>
              <c:numCache>
                <c:formatCode>General</c:formatCode>
                <c:ptCount val="48"/>
                <c:pt idx="0">
                  <c:v>1976</c:v>
                </c:pt>
                <c:pt idx="1">
                  <c:v>1977</c:v>
                </c:pt>
                <c:pt idx="2">
                  <c:v>1978</c:v>
                </c:pt>
                <c:pt idx="3">
                  <c:v>1979</c:v>
                </c:pt>
                <c:pt idx="4">
                  <c:v>1980</c:v>
                </c:pt>
                <c:pt idx="5">
                  <c:v>1981</c:v>
                </c:pt>
                <c:pt idx="6">
                  <c:v>1982</c:v>
                </c:pt>
                <c:pt idx="7">
                  <c:v>1983</c:v>
                </c:pt>
                <c:pt idx="8">
                  <c:v>1984</c:v>
                </c:pt>
                <c:pt idx="9">
                  <c:v>1985</c:v>
                </c:pt>
                <c:pt idx="10">
                  <c:v>1986</c:v>
                </c:pt>
                <c:pt idx="11">
                  <c:v>1987</c:v>
                </c:pt>
                <c:pt idx="12">
                  <c:v>1988</c:v>
                </c:pt>
                <c:pt idx="13">
                  <c:v>1989</c:v>
                </c:pt>
                <c:pt idx="14">
                  <c:v>1990</c:v>
                </c:pt>
                <c:pt idx="15">
                  <c:v>1991</c:v>
                </c:pt>
                <c:pt idx="16">
                  <c:v>1992</c:v>
                </c:pt>
                <c:pt idx="17">
                  <c:v>1993</c:v>
                </c:pt>
                <c:pt idx="18">
                  <c:v>1994</c:v>
                </c:pt>
                <c:pt idx="19">
                  <c:v>1995</c:v>
                </c:pt>
                <c:pt idx="20">
                  <c:v>1996</c:v>
                </c:pt>
                <c:pt idx="21">
                  <c:v>1997</c:v>
                </c:pt>
                <c:pt idx="22">
                  <c:v>1998</c:v>
                </c:pt>
                <c:pt idx="23">
                  <c:v>1999</c:v>
                </c:pt>
                <c:pt idx="24">
                  <c:v>2000</c:v>
                </c:pt>
                <c:pt idx="25">
                  <c:v>2001</c:v>
                </c:pt>
                <c:pt idx="26">
                  <c:v>2002</c:v>
                </c:pt>
                <c:pt idx="27">
                  <c:v>2003</c:v>
                </c:pt>
                <c:pt idx="28">
                  <c:v>2004</c:v>
                </c:pt>
                <c:pt idx="29">
                  <c:v>2005</c:v>
                </c:pt>
                <c:pt idx="30">
                  <c:v>2006</c:v>
                </c:pt>
                <c:pt idx="31">
                  <c:v>2007</c:v>
                </c:pt>
                <c:pt idx="32">
                  <c:v>2008</c:v>
                </c:pt>
                <c:pt idx="33">
                  <c:v>2009</c:v>
                </c:pt>
                <c:pt idx="34">
                  <c:v>2010</c:v>
                </c:pt>
                <c:pt idx="35">
                  <c:v>2011</c:v>
                </c:pt>
                <c:pt idx="36">
                  <c:v>2012</c:v>
                </c:pt>
                <c:pt idx="37">
                  <c:v>2013</c:v>
                </c:pt>
                <c:pt idx="38">
                  <c:v>2014</c:v>
                </c:pt>
                <c:pt idx="39">
                  <c:v>2015</c:v>
                </c:pt>
                <c:pt idx="40">
                  <c:v>2016</c:v>
                </c:pt>
                <c:pt idx="41">
                  <c:v>2017</c:v>
                </c:pt>
                <c:pt idx="42">
                  <c:v>2018</c:v>
                </c:pt>
                <c:pt idx="43">
                  <c:v>2019</c:v>
                </c:pt>
                <c:pt idx="44">
                  <c:v>2020</c:v>
                </c:pt>
                <c:pt idx="45">
                  <c:v>2021</c:v>
                </c:pt>
                <c:pt idx="46">
                  <c:v>2022</c:v>
                </c:pt>
                <c:pt idx="47">
                  <c:v>2023</c:v>
                </c:pt>
              </c:numCache>
            </c:numRef>
          </c:cat>
          <c:val>
            <c:numRef>
              <c:f>'Energialähteet%_jäte'!$G$8:$G$55</c:f>
              <c:numCache>
                <c:formatCode>General</c:formatCode>
                <c:ptCount val="48"/>
                <c:pt idx="24" formatCode="0.0\ %">
                  <c:v>3.717107832177477E-3</c:v>
                </c:pt>
                <c:pt idx="25" formatCode="0.0\ %">
                  <c:v>9.1127751831781567E-3</c:v>
                </c:pt>
                <c:pt idx="26" formatCode="0.0\ %">
                  <c:v>1.0219795297384787E-2</c:v>
                </c:pt>
                <c:pt idx="27" formatCode="0.0\ %">
                  <c:v>1.6319448705684178E-2</c:v>
                </c:pt>
                <c:pt idx="28" formatCode="0.0\ %">
                  <c:v>1.5942104691630904E-2</c:v>
                </c:pt>
                <c:pt idx="29" formatCode="0.0\ %">
                  <c:v>2.0249989913693131E-2</c:v>
                </c:pt>
                <c:pt idx="30" formatCode="0.0\ %">
                  <c:v>2.2541895873457771E-2</c:v>
                </c:pt>
                <c:pt idx="31" formatCode="0.0\ %">
                  <c:v>2.3852221667891145E-2</c:v>
                </c:pt>
                <c:pt idx="32" formatCode="0.0\ %">
                  <c:v>3.1236029049507015E-2</c:v>
                </c:pt>
                <c:pt idx="33" formatCode="0.0\ %">
                  <c:v>3.3994943527232271E-2</c:v>
                </c:pt>
                <c:pt idx="34" formatCode="0.0\ %">
                  <c:v>2.2029886861377218E-2</c:v>
                </c:pt>
                <c:pt idx="35" formatCode="0.0\ %">
                  <c:v>3.4479842597775229E-2</c:v>
                </c:pt>
                <c:pt idx="36" formatCode="0.0\ %">
                  <c:v>3.586126815220049E-2</c:v>
                </c:pt>
                <c:pt idx="37" formatCode="0.0\ %">
                  <c:v>3.7930676317364402E-2</c:v>
                </c:pt>
                <c:pt idx="38" formatCode="0.0\ %">
                  <c:v>4.3305833697679347E-2</c:v>
                </c:pt>
                <c:pt idx="39" formatCode="0.0\ %">
                  <c:v>5.4942325350677099E-2</c:v>
                </c:pt>
                <c:pt idx="40" formatCode="0.0\ %">
                  <c:v>8.3123880815029499E-2</c:v>
                </c:pt>
                <c:pt idx="41" formatCode="0.0\ %">
                  <c:v>9.4680703228907065E-2</c:v>
                </c:pt>
                <c:pt idx="42" formatCode="0.0\ %">
                  <c:v>9.4360796697229299E-2</c:v>
                </c:pt>
                <c:pt idx="43" formatCode="0.0\ %">
                  <c:v>0.10799788484948825</c:v>
                </c:pt>
                <c:pt idx="44" formatCode="0.0\ %">
                  <c:v>0.13680507286193733</c:v>
                </c:pt>
                <c:pt idx="45" formatCode="0%">
                  <c:v>0.14100370798697504</c:v>
                </c:pt>
                <c:pt idx="46" formatCode="0.0\ %">
                  <c:v>0.13510442328340819</c:v>
                </c:pt>
                <c:pt idx="47" formatCode="0.0\ %">
                  <c:v>0.1915734170488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EE0-4BF5-B2D7-CD3C16BDE6EE}"/>
            </c:ext>
          </c:extLst>
        </c:ser>
        <c:ser>
          <c:idx val="7"/>
          <c:order val="5"/>
          <c:tx>
            <c:strRef>
              <c:f>'Energialähteet%_jäte'!$H$5</c:f>
              <c:strCache>
                <c:ptCount val="1"/>
                <c:pt idx="0">
                  <c:v>Jäte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8:$A$55</c:f>
              <c:numCache>
                <c:formatCode>General</c:formatCode>
                <c:ptCount val="48"/>
                <c:pt idx="0">
                  <c:v>1976</c:v>
                </c:pt>
                <c:pt idx="1">
                  <c:v>1977</c:v>
                </c:pt>
                <c:pt idx="2">
                  <c:v>1978</c:v>
                </c:pt>
                <c:pt idx="3">
                  <c:v>1979</c:v>
                </c:pt>
                <c:pt idx="4">
                  <c:v>1980</c:v>
                </c:pt>
                <c:pt idx="5">
                  <c:v>1981</c:v>
                </c:pt>
                <c:pt idx="6">
                  <c:v>1982</c:v>
                </c:pt>
                <c:pt idx="7">
                  <c:v>1983</c:v>
                </c:pt>
                <c:pt idx="8">
                  <c:v>1984</c:v>
                </c:pt>
                <c:pt idx="9">
                  <c:v>1985</c:v>
                </c:pt>
                <c:pt idx="10">
                  <c:v>1986</c:v>
                </c:pt>
                <c:pt idx="11">
                  <c:v>1987</c:v>
                </c:pt>
                <c:pt idx="12">
                  <c:v>1988</c:v>
                </c:pt>
                <c:pt idx="13">
                  <c:v>1989</c:v>
                </c:pt>
                <c:pt idx="14">
                  <c:v>1990</c:v>
                </c:pt>
                <c:pt idx="15">
                  <c:v>1991</c:v>
                </c:pt>
                <c:pt idx="16">
                  <c:v>1992</c:v>
                </c:pt>
                <c:pt idx="17">
                  <c:v>1993</c:v>
                </c:pt>
                <c:pt idx="18">
                  <c:v>1994</c:v>
                </c:pt>
                <c:pt idx="19">
                  <c:v>1995</c:v>
                </c:pt>
                <c:pt idx="20">
                  <c:v>1996</c:v>
                </c:pt>
                <c:pt idx="21">
                  <c:v>1997</c:v>
                </c:pt>
                <c:pt idx="22">
                  <c:v>1998</c:v>
                </c:pt>
                <c:pt idx="23">
                  <c:v>1999</c:v>
                </c:pt>
                <c:pt idx="24">
                  <c:v>2000</c:v>
                </c:pt>
                <c:pt idx="25">
                  <c:v>2001</c:v>
                </c:pt>
                <c:pt idx="26">
                  <c:v>2002</c:v>
                </c:pt>
                <c:pt idx="27">
                  <c:v>2003</c:v>
                </c:pt>
                <c:pt idx="28">
                  <c:v>2004</c:v>
                </c:pt>
                <c:pt idx="29">
                  <c:v>2005</c:v>
                </c:pt>
                <c:pt idx="30">
                  <c:v>2006</c:v>
                </c:pt>
                <c:pt idx="31">
                  <c:v>2007</c:v>
                </c:pt>
                <c:pt idx="32">
                  <c:v>2008</c:v>
                </c:pt>
                <c:pt idx="33">
                  <c:v>2009</c:v>
                </c:pt>
                <c:pt idx="34">
                  <c:v>2010</c:v>
                </c:pt>
                <c:pt idx="35">
                  <c:v>2011</c:v>
                </c:pt>
                <c:pt idx="36">
                  <c:v>2012</c:v>
                </c:pt>
                <c:pt idx="37">
                  <c:v>2013</c:v>
                </c:pt>
                <c:pt idx="38">
                  <c:v>2014</c:v>
                </c:pt>
                <c:pt idx="39">
                  <c:v>2015</c:v>
                </c:pt>
                <c:pt idx="40">
                  <c:v>2016</c:v>
                </c:pt>
                <c:pt idx="41">
                  <c:v>2017</c:v>
                </c:pt>
                <c:pt idx="42">
                  <c:v>2018</c:v>
                </c:pt>
                <c:pt idx="43">
                  <c:v>2019</c:v>
                </c:pt>
                <c:pt idx="44">
                  <c:v>2020</c:v>
                </c:pt>
                <c:pt idx="45">
                  <c:v>2021</c:v>
                </c:pt>
                <c:pt idx="46">
                  <c:v>2022</c:v>
                </c:pt>
                <c:pt idx="47">
                  <c:v>2023</c:v>
                </c:pt>
              </c:numCache>
            </c:numRef>
          </c:cat>
          <c:val>
            <c:numRef>
              <c:f>'Energialähteet%_jäte'!$H$8:$H$55</c:f>
              <c:numCache>
                <c:formatCode>General</c:formatCode>
                <c:ptCount val="48"/>
                <c:pt idx="34" formatCode="0.0\ %">
                  <c:v>1.636686055272751E-2</c:v>
                </c:pt>
                <c:pt idx="35" formatCode="0.0\ %">
                  <c:v>1.8048675737519497E-2</c:v>
                </c:pt>
                <c:pt idx="36" formatCode="0.0\ %">
                  <c:v>1.9488598174789755E-2</c:v>
                </c:pt>
                <c:pt idx="37" formatCode="0.0\ %">
                  <c:v>3.5124616990584778E-2</c:v>
                </c:pt>
                <c:pt idx="38" formatCode="0.0\ %">
                  <c:v>5.181902936272037E-2</c:v>
                </c:pt>
                <c:pt idx="39" formatCode="0.0\ %">
                  <c:v>5.7848740881987444E-2</c:v>
                </c:pt>
                <c:pt idx="40" formatCode="0.0\ %">
                  <c:v>6.5875026955688587E-2</c:v>
                </c:pt>
                <c:pt idx="41" formatCode="0.0\ %">
                  <c:v>7.5626396803478185E-2</c:v>
                </c:pt>
                <c:pt idx="42" formatCode="0.0\ %">
                  <c:v>7.2863252989872951E-2</c:v>
                </c:pt>
                <c:pt idx="43" formatCode="0.0\ %">
                  <c:v>8.0137619987319039E-2</c:v>
                </c:pt>
                <c:pt idx="44" formatCode="0.0\ %">
                  <c:v>9.1704234838003787E-2</c:v>
                </c:pt>
                <c:pt idx="45" formatCode="0%">
                  <c:v>7.8058726132822623E-2</c:v>
                </c:pt>
                <c:pt idx="46" formatCode="0.0\ %">
                  <c:v>8.4734534737586922E-2</c:v>
                </c:pt>
                <c:pt idx="47" formatCode="0.0\ %">
                  <c:v>9.11830552992774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EE0-4BF5-B2D7-CD3C16BDE6EE}"/>
            </c:ext>
          </c:extLst>
        </c:ser>
        <c:ser>
          <c:idx val="5"/>
          <c:order val="6"/>
          <c:tx>
            <c:strRef>
              <c:f>'Energialähteet%_jäte'!$F$5</c:f>
              <c:strCache>
                <c:ptCount val="1"/>
                <c:pt idx="0">
                  <c:v>puu, muu bio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8:$A$55</c:f>
              <c:numCache>
                <c:formatCode>General</c:formatCode>
                <c:ptCount val="48"/>
                <c:pt idx="0">
                  <c:v>1976</c:v>
                </c:pt>
                <c:pt idx="1">
                  <c:v>1977</c:v>
                </c:pt>
                <c:pt idx="2">
                  <c:v>1978</c:v>
                </c:pt>
                <c:pt idx="3">
                  <c:v>1979</c:v>
                </c:pt>
                <c:pt idx="4">
                  <c:v>1980</c:v>
                </c:pt>
                <c:pt idx="5">
                  <c:v>1981</c:v>
                </c:pt>
                <c:pt idx="6">
                  <c:v>1982</c:v>
                </c:pt>
                <c:pt idx="7">
                  <c:v>1983</c:v>
                </c:pt>
                <c:pt idx="8">
                  <c:v>1984</c:v>
                </c:pt>
                <c:pt idx="9">
                  <c:v>1985</c:v>
                </c:pt>
                <c:pt idx="10">
                  <c:v>1986</c:v>
                </c:pt>
                <c:pt idx="11">
                  <c:v>1987</c:v>
                </c:pt>
                <c:pt idx="12">
                  <c:v>1988</c:v>
                </c:pt>
                <c:pt idx="13">
                  <c:v>1989</c:v>
                </c:pt>
                <c:pt idx="14">
                  <c:v>1990</c:v>
                </c:pt>
                <c:pt idx="15">
                  <c:v>1991</c:v>
                </c:pt>
                <c:pt idx="16">
                  <c:v>1992</c:v>
                </c:pt>
                <c:pt idx="17">
                  <c:v>1993</c:v>
                </c:pt>
                <c:pt idx="18">
                  <c:v>1994</c:v>
                </c:pt>
                <c:pt idx="19">
                  <c:v>1995</c:v>
                </c:pt>
                <c:pt idx="20">
                  <c:v>1996</c:v>
                </c:pt>
                <c:pt idx="21">
                  <c:v>1997</c:v>
                </c:pt>
                <c:pt idx="22">
                  <c:v>1998</c:v>
                </c:pt>
                <c:pt idx="23">
                  <c:v>1999</c:v>
                </c:pt>
                <c:pt idx="24">
                  <c:v>2000</c:v>
                </c:pt>
                <c:pt idx="25">
                  <c:v>2001</c:v>
                </c:pt>
                <c:pt idx="26">
                  <c:v>2002</c:v>
                </c:pt>
                <c:pt idx="27">
                  <c:v>2003</c:v>
                </c:pt>
                <c:pt idx="28">
                  <c:v>2004</c:v>
                </c:pt>
                <c:pt idx="29">
                  <c:v>2005</c:v>
                </c:pt>
                <c:pt idx="30">
                  <c:v>2006</c:v>
                </c:pt>
                <c:pt idx="31">
                  <c:v>2007</c:v>
                </c:pt>
                <c:pt idx="32">
                  <c:v>2008</c:v>
                </c:pt>
                <c:pt idx="33">
                  <c:v>2009</c:v>
                </c:pt>
                <c:pt idx="34">
                  <c:v>2010</c:v>
                </c:pt>
                <c:pt idx="35">
                  <c:v>2011</c:v>
                </c:pt>
                <c:pt idx="36">
                  <c:v>2012</c:v>
                </c:pt>
                <c:pt idx="37">
                  <c:v>2013</c:v>
                </c:pt>
                <c:pt idx="38">
                  <c:v>2014</c:v>
                </c:pt>
                <c:pt idx="39">
                  <c:v>2015</c:v>
                </c:pt>
                <c:pt idx="40">
                  <c:v>2016</c:v>
                </c:pt>
                <c:pt idx="41">
                  <c:v>2017</c:v>
                </c:pt>
                <c:pt idx="42">
                  <c:v>2018</c:v>
                </c:pt>
                <c:pt idx="43">
                  <c:v>2019</c:v>
                </c:pt>
                <c:pt idx="44">
                  <c:v>2020</c:v>
                </c:pt>
                <c:pt idx="45">
                  <c:v>2021</c:v>
                </c:pt>
                <c:pt idx="46">
                  <c:v>2022</c:v>
                </c:pt>
                <c:pt idx="47">
                  <c:v>2023</c:v>
                </c:pt>
              </c:numCache>
            </c:numRef>
          </c:cat>
          <c:val>
            <c:numRef>
              <c:f>'Energialähteet%_jäte'!$F$8:$F$55</c:f>
              <c:numCache>
                <c:formatCode>0.0\ %</c:formatCode>
                <c:ptCount val="48"/>
                <c:pt idx="0">
                  <c:v>1E-3</c:v>
                </c:pt>
                <c:pt idx="1">
                  <c:v>2E-3</c:v>
                </c:pt>
                <c:pt idx="2">
                  <c:v>4.0000000000000001E-3</c:v>
                </c:pt>
                <c:pt idx="3">
                  <c:v>8.9999999999999993E-3</c:v>
                </c:pt>
                <c:pt idx="4">
                  <c:v>1.2500792622720644E-2</c:v>
                </c:pt>
                <c:pt idx="5">
                  <c:v>1.5583195826098944E-2</c:v>
                </c:pt>
                <c:pt idx="6">
                  <c:v>2.9863394323103188E-2</c:v>
                </c:pt>
                <c:pt idx="7">
                  <c:v>2.4380786613186045E-2</c:v>
                </c:pt>
                <c:pt idx="8">
                  <c:v>3.1816815489346652E-2</c:v>
                </c:pt>
                <c:pt idx="9">
                  <c:v>2.5371093523679302E-2</c:v>
                </c:pt>
                <c:pt idx="10">
                  <c:v>2.4126906997484498E-2</c:v>
                </c:pt>
                <c:pt idx="11">
                  <c:v>2.4782888388549373E-2</c:v>
                </c:pt>
                <c:pt idx="12">
                  <c:v>2.5402521235372257E-2</c:v>
                </c:pt>
                <c:pt idx="13">
                  <c:v>2.3014590491969689E-2</c:v>
                </c:pt>
                <c:pt idx="14">
                  <c:v>2.2144935180530262E-2</c:v>
                </c:pt>
                <c:pt idx="15">
                  <c:v>2.1559803562190141E-2</c:v>
                </c:pt>
                <c:pt idx="16">
                  <c:v>2.3415897222866435E-2</c:v>
                </c:pt>
                <c:pt idx="17">
                  <c:v>3.1934055943545973E-2</c:v>
                </c:pt>
                <c:pt idx="18">
                  <c:v>4.2985531987336054E-2</c:v>
                </c:pt>
                <c:pt idx="19">
                  <c:v>4.6541036044338575E-2</c:v>
                </c:pt>
                <c:pt idx="20">
                  <c:v>5.5146809520580459E-2</c:v>
                </c:pt>
                <c:pt idx="21">
                  <c:v>6.28941318503487E-2</c:v>
                </c:pt>
                <c:pt idx="22">
                  <c:v>6.6388221654142057E-2</c:v>
                </c:pt>
                <c:pt idx="23">
                  <c:v>7.4999999999999997E-2</c:v>
                </c:pt>
                <c:pt idx="24">
                  <c:v>9.801975471144557E-2</c:v>
                </c:pt>
                <c:pt idx="25">
                  <c:v>9.2722454254792488E-2</c:v>
                </c:pt>
                <c:pt idx="26">
                  <c:v>0.10453342880904605</c:v>
                </c:pt>
                <c:pt idx="27">
                  <c:v>0.10546037598090521</c:v>
                </c:pt>
                <c:pt idx="28">
                  <c:v>0.12634936130149788</c:v>
                </c:pt>
                <c:pt idx="29">
                  <c:v>0.15642099389220193</c:v>
                </c:pt>
                <c:pt idx="30">
                  <c:v>0.14392262898218616</c:v>
                </c:pt>
                <c:pt idx="31">
                  <c:v>0.13974960490939323</c:v>
                </c:pt>
                <c:pt idx="32">
                  <c:v>0.16322034846159073</c:v>
                </c:pt>
                <c:pt idx="33">
                  <c:v>0.18020072617139818</c:v>
                </c:pt>
                <c:pt idx="34">
                  <c:v>0.18143255750873979</c:v>
                </c:pt>
                <c:pt idx="35">
                  <c:v>0.22822995485279707</c:v>
                </c:pt>
                <c:pt idx="36">
                  <c:v>0.24683691409891062</c:v>
                </c:pt>
                <c:pt idx="37">
                  <c:v>0.28141269378463873</c:v>
                </c:pt>
                <c:pt idx="38">
                  <c:v>0.30561739767602214</c:v>
                </c:pt>
                <c:pt idx="39">
                  <c:v>0.32066941798207071</c:v>
                </c:pt>
                <c:pt idx="40">
                  <c:v>0.31155060618597941</c:v>
                </c:pt>
                <c:pt idx="41">
                  <c:v>0.32858379751300837</c:v>
                </c:pt>
                <c:pt idx="42">
                  <c:v>0.3284378399085891</c:v>
                </c:pt>
                <c:pt idx="43">
                  <c:v>0.34927445219943243</c:v>
                </c:pt>
                <c:pt idx="44">
                  <c:v>0.38550996940559717</c:v>
                </c:pt>
                <c:pt idx="45" formatCode="0%">
                  <c:v>0.42787077382529648</c:v>
                </c:pt>
                <c:pt idx="46">
                  <c:v>0.43595702003180775</c:v>
                </c:pt>
                <c:pt idx="47">
                  <c:v>0.461388315177585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EE0-4BF5-B2D7-CD3C16BDE6EE}"/>
            </c:ext>
          </c:extLst>
        </c:ser>
        <c:ser>
          <c:idx val="8"/>
          <c:order val="7"/>
          <c:tx>
            <c:strRef>
              <c:f>'Energialähteet%_jäte'!$I$5</c:f>
              <c:strCache>
                <c:ptCount val="1"/>
                <c:pt idx="0">
                  <c:v>muu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cat>
            <c:numRef>
              <c:f>'Energialähteet%_jäte'!$A$8:$A$55</c:f>
              <c:numCache>
                <c:formatCode>General</c:formatCode>
                <c:ptCount val="48"/>
                <c:pt idx="0">
                  <c:v>1976</c:v>
                </c:pt>
                <c:pt idx="1">
                  <c:v>1977</c:v>
                </c:pt>
                <c:pt idx="2">
                  <c:v>1978</c:v>
                </c:pt>
                <c:pt idx="3">
                  <c:v>1979</c:v>
                </c:pt>
                <c:pt idx="4">
                  <c:v>1980</c:v>
                </c:pt>
                <c:pt idx="5">
                  <c:v>1981</c:v>
                </c:pt>
                <c:pt idx="6">
                  <c:v>1982</c:v>
                </c:pt>
                <c:pt idx="7">
                  <c:v>1983</c:v>
                </c:pt>
                <c:pt idx="8">
                  <c:v>1984</c:v>
                </c:pt>
                <c:pt idx="9">
                  <c:v>1985</c:v>
                </c:pt>
                <c:pt idx="10">
                  <c:v>1986</c:v>
                </c:pt>
                <c:pt idx="11">
                  <c:v>1987</c:v>
                </c:pt>
                <c:pt idx="12">
                  <c:v>1988</c:v>
                </c:pt>
                <c:pt idx="13">
                  <c:v>1989</c:v>
                </c:pt>
                <c:pt idx="14">
                  <c:v>1990</c:v>
                </c:pt>
                <c:pt idx="15">
                  <c:v>1991</c:v>
                </c:pt>
                <c:pt idx="16">
                  <c:v>1992</c:v>
                </c:pt>
                <c:pt idx="17">
                  <c:v>1993</c:v>
                </c:pt>
                <c:pt idx="18">
                  <c:v>1994</c:v>
                </c:pt>
                <c:pt idx="19">
                  <c:v>1995</c:v>
                </c:pt>
                <c:pt idx="20">
                  <c:v>1996</c:v>
                </c:pt>
                <c:pt idx="21">
                  <c:v>1997</c:v>
                </c:pt>
                <c:pt idx="22">
                  <c:v>1998</c:v>
                </c:pt>
                <c:pt idx="23">
                  <c:v>1999</c:v>
                </c:pt>
                <c:pt idx="24">
                  <c:v>2000</c:v>
                </c:pt>
                <c:pt idx="25">
                  <c:v>2001</c:v>
                </c:pt>
                <c:pt idx="26">
                  <c:v>2002</c:v>
                </c:pt>
                <c:pt idx="27">
                  <c:v>2003</c:v>
                </c:pt>
                <c:pt idx="28">
                  <c:v>2004</c:v>
                </c:pt>
                <c:pt idx="29">
                  <c:v>2005</c:v>
                </c:pt>
                <c:pt idx="30">
                  <c:v>2006</c:v>
                </c:pt>
                <c:pt idx="31">
                  <c:v>2007</c:v>
                </c:pt>
                <c:pt idx="32">
                  <c:v>2008</c:v>
                </c:pt>
                <c:pt idx="33">
                  <c:v>2009</c:v>
                </c:pt>
                <c:pt idx="34">
                  <c:v>2010</c:v>
                </c:pt>
                <c:pt idx="35">
                  <c:v>2011</c:v>
                </c:pt>
                <c:pt idx="36">
                  <c:v>2012</c:v>
                </c:pt>
                <c:pt idx="37">
                  <c:v>2013</c:v>
                </c:pt>
                <c:pt idx="38">
                  <c:v>2014</c:v>
                </c:pt>
                <c:pt idx="39">
                  <c:v>2015</c:v>
                </c:pt>
                <c:pt idx="40">
                  <c:v>2016</c:v>
                </c:pt>
                <c:pt idx="41">
                  <c:v>2017</c:v>
                </c:pt>
                <c:pt idx="42">
                  <c:v>2018</c:v>
                </c:pt>
                <c:pt idx="43">
                  <c:v>2019</c:v>
                </c:pt>
                <c:pt idx="44">
                  <c:v>2020</c:v>
                </c:pt>
                <c:pt idx="45">
                  <c:v>2021</c:v>
                </c:pt>
                <c:pt idx="46">
                  <c:v>2022</c:v>
                </c:pt>
                <c:pt idx="47">
                  <c:v>2023</c:v>
                </c:pt>
              </c:numCache>
            </c:numRef>
          </c:cat>
          <c:val>
            <c:numRef>
              <c:f>'Energialähteet%_jäte'!$I$8:$I$55</c:f>
              <c:numCache>
                <c:formatCode>0.0\ %</c:formatCode>
                <c:ptCount val="48"/>
                <c:pt idx="0">
                  <c:v>3.8999999999999924E-2</c:v>
                </c:pt>
                <c:pt idx="1">
                  <c:v>3.3000000000000029E-2</c:v>
                </c:pt>
                <c:pt idx="2">
                  <c:v>2.200000000000002E-2</c:v>
                </c:pt>
                <c:pt idx="3">
                  <c:v>1.9000000000000017E-2</c:v>
                </c:pt>
                <c:pt idx="4">
                  <c:v>1.649920737727939E-2</c:v>
                </c:pt>
                <c:pt idx="5">
                  <c:v>2.3416804173901129E-2</c:v>
                </c:pt>
                <c:pt idx="6">
                  <c:v>3.0136605676896799E-2</c:v>
                </c:pt>
                <c:pt idx="7">
                  <c:v>5.3619213386813858E-2</c:v>
                </c:pt>
                <c:pt idx="8">
                  <c:v>4.1183184510653281E-2</c:v>
                </c:pt>
                <c:pt idx="9">
                  <c:v>2.1628906476320764E-2</c:v>
                </c:pt>
                <c:pt idx="10">
                  <c:v>2.1873093002515387E-2</c:v>
                </c:pt>
                <c:pt idx="11">
                  <c:v>2.1217111611450568E-2</c:v>
                </c:pt>
                <c:pt idx="12">
                  <c:v>1.8597478764627806E-2</c:v>
                </c:pt>
                <c:pt idx="13">
                  <c:v>2.0985409508030406E-2</c:v>
                </c:pt>
                <c:pt idx="14">
                  <c:v>2.1855064819469749E-2</c:v>
                </c:pt>
                <c:pt idx="15">
                  <c:v>2.1440196437809811E-2</c:v>
                </c:pt>
                <c:pt idx="16">
                  <c:v>1.9584102777133627E-2</c:v>
                </c:pt>
                <c:pt idx="17">
                  <c:v>1.5065944056454006E-2</c:v>
                </c:pt>
                <c:pt idx="18">
                  <c:v>1.2014468012663926E-2</c:v>
                </c:pt>
                <c:pt idx="19">
                  <c:v>1.1458963955661594E-2</c:v>
                </c:pt>
                <c:pt idx="20">
                  <c:v>1.2753190479419585E-2</c:v>
                </c:pt>
                <c:pt idx="21">
                  <c:v>1.4305868149651291E-2</c:v>
                </c:pt>
                <c:pt idx="22">
                  <c:v>2.5211778345857971E-2</c:v>
                </c:pt>
                <c:pt idx="23">
                  <c:v>2.4299999999999988E-2</c:v>
                </c:pt>
                <c:pt idx="24">
                  <c:v>1.4955175823389226E-2</c:v>
                </c:pt>
                <c:pt idx="25">
                  <c:v>1.5253456294833772E-2</c:v>
                </c:pt>
                <c:pt idx="26">
                  <c:v>1.6903788902488288E-2</c:v>
                </c:pt>
                <c:pt idx="27">
                  <c:v>1.4150012322286642E-2</c:v>
                </c:pt>
                <c:pt idx="28">
                  <c:v>1.1604522710073596E-2</c:v>
                </c:pt>
                <c:pt idx="29">
                  <c:v>1.5577616663815677E-2</c:v>
                </c:pt>
                <c:pt idx="30">
                  <c:v>1.7696415556589608E-2</c:v>
                </c:pt>
                <c:pt idx="31">
                  <c:v>1.7405201633799511E-2</c:v>
                </c:pt>
                <c:pt idx="32">
                  <c:v>2.7405625487231702E-2</c:v>
                </c:pt>
                <c:pt idx="33">
                  <c:v>2.8922467039263777E-2</c:v>
                </c:pt>
                <c:pt idx="34">
                  <c:v>9.293997999752078E-3</c:v>
                </c:pt>
                <c:pt idx="35">
                  <c:v>9.6663146798358617E-3</c:v>
                </c:pt>
                <c:pt idx="36">
                  <c:v>1.4884022985828671E-2</c:v>
                </c:pt>
                <c:pt idx="37">
                  <c:v>1.0968051273409439E-2</c:v>
                </c:pt>
                <c:pt idx="38">
                  <c:v>5.5776914758540116E-3</c:v>
                </c:pt>
                <c:pt idx="39">
                  <c:v>1.1187395938057348E-2</c:v>
                </c:pt>
                <c:pt idx="40">
                  <c:v>6.8207282074868114E-3</c:v>
                </c:pt>
                <c:pt idx="41">
                  <c:v>5.3749912008900008E-3</c:v>
                </c:pt>
                <c:pt idx="42">
                  <c:v>6.039973309242011E-3</c:v>
                </c:pt>
                <c:pt idx="43">
                  <c:v>6.2108984623525628E-3</c:v>
                </c:pt>
                <c:pt idx="44">
                  <c:v>3.6085575856175606E-3</c:v>
                </c:pt>
                <c:pt idx="45">
                  <c:v>2.6009685005510758E-3</c:v>
                </c:pt>
                <c:pt idx="46">
                  <c:v>2.5954735428640216E-3</c:v>
                </c:pt>
                <c:pt idx="47">
                  <c:v>2.271003285031053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EE0-4BF5-B2D7-CD3C16BDE6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27611336"/>
        <c:axId val="527611696"/>
      </c:areaChart>
      <c:areaChart>
        <c:grouping val="percentStacked"/>
        <c:varyColors val="0"/>
        <c:ser>
          <c:idx val="0"/>
          <c:order val="8"/>
          <c:tx>
            <c:v>dummy</c:v>
          </c:tx>
          <c:spPr>
            <a:solidFill>
              <a:schemeClr val="accent1"/>
            </a:solidFill>
            <a:ln w="25400">
              <a:noFill/>
            </a:ln>
            <a:effectLst/>
          </c:spPr>
          <c:val>
            <c:numLit>
              <c:formatCode>General</c:formatCode>
              <c:ptCount val="1"/>
              <c:pt idx="0">
                <c:v>1</c:v>
              </c:pt>
            </c:numLit>
          </c:val>
          <c:extLst>
            <c:ext xmlns:c16="http://schemas.microsoft.com/office/drawing/2014/chart" uri="{C3380CC4-5D6E-409C-BE32-E72D297353CC}">
              <c16:uniqueId val="{00000008-4EE0-4BF5-B2D7-CD3C16BDE6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8598648"/>
        <c:axId val="518599728"/>
      </c:areaChart>
      <c:catAx>
        <c:axId val="527611336"/>
        <c:scaling>
          <c:orientation val="minMax"/>
        </c:scaling>
        <c:delete val="0"/>
        <c:axPos val="b"/>
        <c:numFmt formatCode="General" sourceLinked="1"/>
        <c:majorTickMark val="cross"/>
        <c:minorTickMark val="out"/>
        <c:tickLblPos val="nextTo"/>
        <c:spPr>
          <a:noFill/>
          <a:ln w="9525" cap="flat" cmpd="sng" algn="ctr">
            <a:solidFill>
              <a:schemeClr val="bg2">
                <a:lumMod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27611696"/>
        <c:crosses val="autoZero"/>
        <c:auto val="1"/>
        <c:lblAlgn val="ctr"/>
        <c:lblOffset val="100"/>
        <c:tickLblSkip val="4"/>
        <c:tickMarkSkip val="2"/>
        <c:noMultiLvlLbl val="0"/>
      </c:catAx>
      <c:valAx>
        <c:axId val="5276116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27611336"/>
        <c:crosses val="autoZero"/>
        <c:crossBetween val="midCat"/>
        <c:majorUnit val="0.2"/>
      </c:valAx>
      <c:valAx>
        <c:axId val="51859972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18598648"/>
        <c:crosses val="max"/>
        <c:crossBetween val="midCat"/>
        <c:majorUnit val="0.2"/>
      </c:valAx>
      <c:catAx>
        <c:axId val="518598648"/>
        <c:scaling>
          <c:orientation val="minMax"/>
        </c:scaling>
        <c:delete val="1"/>
        <c:axPos val="b"/>
        <c:majorTickMark val="out"/>
        <c:minorTickMark val="none"/>
        <c:tickLblPos val="nextTo"/>
        <c:crossAx val="51859972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735228924906123"/>
          <c:y val="2.6411782566559773E-2"/>
          <c:w val="0.7595077690063029"/>
          <c:h val="0.8525848192560612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Yhteenveto!$P$3</c:f>
              <c:strCache>
                <c:ptCount val="1"/>
                <c:pt idx="0">
                  <c:v>Bio</c:v>
                </c:pt>
              </c:strCache>
            </c:strRef>
          </c:tx>
          <c:spPr>
            <a:solidFill>
              <a:srgbClr val="14B063">
                <a:lumMod val="75000"/>
              </a:srgbClr>
            </a:solidFill>
            <a:ln w="12700">
              <a:solidFill>
                <a:srgbClr val="FFFFFF"/>
              </a:solidFill>
            </a:ln>
            <a:effectLst>
              <a:softEdge rad="0"/>
            </a:effectLst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173-4CA7-A9C7-8683C5B2470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173-4CA7-A9C7-8683C5B2470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C173-4CA7-A9C7-8683C5B2470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173-4CA7-A9C7-8683C5B2470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C173-4CA7-A9C7-8683C5B2470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C173-4CA7-A9C7-8683C5B24706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C173-4CA7-A9C7-8683C5B2470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C173-4CA7-A9C7-8683C5B2470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C173-4CA7-A9C7-8683C5B24706}"/>
              </c:ext>
            </c:extLst>
          </c:dPt>
          <c:cat>
            <c:strRef>
              <c:f>Yhteenveto!$O$4:$O$22</c:f>
              <c:strCache>
                <c:ptCount val="19"/>
                <c:pt idx="0">
                  <c:v>Uusimaa</c:v>
                </c:pt>
                <c:pt idx="1">
                  <c:v>Varsinais-Suomi</c:v>
                </c:pt>
                <c:pt idx="2">
                  <c:v>Satakunta</c:v>
                </c:pt>
                <c:pt idx="3">
                  <c:v>Kanta-Häme</c:v>
                </c:pt>
                <c:pt idx="4">
                  <c:v>Pirkanmaa</c:v>
                </c:pt>
                <c:pt idx="5">
                  <c:v>Päijät-Häme</c:v>
                </c:pt>
                <c:pt idx="6">
                  <c:v>Kymenlaakso</c:v>
                </c:pt>
                <c:pt idx="7">
                  <c:v>Etelä-Karjala</c:v>
                </c:pt>
                <c:pt idx="8">
                  <c:v>Etelä-Savo</c:v>
                </c:pt>
                <c:pt idx="9">
                  <c:v>Pohjois-Savo</c:v>
                </c:pt>
                <c:pt idx="10">
                  <c:v>Pohjois-Karjala</c:v>
                </c:pt>
                <c:pt idx="11">
                  <c:v>Keski-Suomi</c:v>
                </c:pt>
                <c:pt idx="12">
                  <c:v>Etelä-Pohjanmaa</c:v>
                </c:pt>
                <c:pt idx="13">
                  <c:v>Pohjanmaa</c:v>
                </c:pt>
                <c:pt idx="14">
                  <c:v>Keski-Pohjanmaa</c:v>
                </c:pt>
                <c:pt idx="15">
                  <c:v>Pohjois-Pohjanmaa</c:v>
                </c:pt>
                <c:pt idx="16">
                  <c:v>Kainuu</c:v>
                </c:pt>
                <c:pt idx="17">
                  <c:v>Lappi</c:v>
                </c:pt>
                <c:pt idx="18">
                  <c:v>Ahvenanmaa</c:v>
                </c:pt>
              </c:strCache>
            </c:strRef>
          </c:cat>
          <c:val>
            <c:numRef>
              <c:f>Yhteenveto!$P$4:$P$22</c:f>
              <c:numCache>
                <c:formatCode>0.0\ %</c:formatCode>
                <c:ptCount val="19"/>
                <c:pt idx="0">
                  <c:v>0.28324614310563562</c:v>
                </c:pt>
                <c:pt idx="1">
                  <c:v>0.54003694044457129</c:v>
                </c:pt>
                <c:pt idx="2">
                  <c:v>0.7501523267548762</c:v>
                </c:pt>
                <c:pt idx="3">
                  <c:v>0.39212500004290674</c:v>
                </c:pt>
                <c:pt idx="4">
                  <c:v>0.45610330731840548</c:v>
                </c:pt>
                <c:pt idx="5">
                  <c:v>0.4728014607211431</c:v>
                </c:pt>
                <c:pt idx="6">
                  <c:v>0.59735187021463798</c:v>
                </c:pt>
                <c:pt idx="7">
                  <c:v>0.72774927207945261</c:v>
                </c:pt>
                <c:pt idx="8">
                  <c:v>0.77813969127011562</c:v>
                </c:pt>
                <c:pt idx="9">
                  <c:v>0.52825698273880428</c:v>
                </c:pt>
                <c:pt idx="10">
                  <c:v>0.6514804616238733</c:v>
                </c:pt>
                <c:pt idx="11">
                  <c:v>0.69473320891381307</c:v>
                </c:pt>
                <c:pt idx="12">
                  <c:v>0.51472064696819109</c:v>
                </c:pt>
                <c:pt idx="13">
                  <c:v>0.42719761688056995</c:v>
                </c:pt>
                <c:pt idx="14">
                  <c:v>0.47950062567954832</c:v>
                </c:pt>
                <c:pt idx="15">
                  <c:v>0.50208949097168687</c:v>
                </c:pt>
                <c:pt idx="16">
                  <c:v>0.5713381552541037</c:v>
                </c:pt>
                <c:pt idx="17">
                  <c:v>0.57778647095874414</c:v>
                </c:pt>
                <c:pt idx="18">
                  <c:v>0.76609062803999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173-4CA7-A9C7-8683C5B24706}"/>
            </c:ext>
          </c:extLst>
        </c:ser>
        <c:ser>
          <c:idx val="1"/>
          <c:order val="1"/>
          <c:tx>
            <c:strRef>
              <c:f>Yhteenveto!$Q$3</c:f>
              <c:strCache>
                <c:ptCount val="1"/>
                <c:pt idx="0">
                  <c:v>Jäte</c:v>
                </c:pt>
              </c:strCache>
            </c:strRef>
          </c:tx>
          <c:spPr>
            <a:solidFill>
              <a:srgbClr val="9E78B2">
                <a:lumMod val="50000"/>
              </a:srgbClr>
            </a:solidFill>
            <a:ln w="12700">
              <a:solidFill>
                <a:srgbClr val="FFFFFF"/>
              </a:solidFill>
            </a:ln>
            <a:effectLst/>
          </c:spPr>
          <c:invertIfNegative val="0"/>
          <c:cat>
            <c:strRef>
              <c:f>Yhteenveto!$O$4:$O$22</c:f>
              <c:strCache>
                <c:ptCount val="19"/>
                <c:pt idx="0">
                  <c:v>Uusimaa</c:v>
                </c:pt>
                <c:pt idx="1">
                  <c:v>Varsinais-Suomi</c:v>
                </c:pt>
                <c:pt idx="2">
                  <c:v>Satakunta</c:v>
                </c:pt>
                <c:pt idx="3">
                  <c:v>Kanta-Häme</c:v>
                </c:pt>
                <c:pt idx="4">
                  <c:v>Pirkanmaa</c:v>
                </c:pt>
                <c:pt idx="5">
                  <c:v>Päijät-Häme</c:v>
                </c:pt>
                <c:pt idx="6">
                  <c:v>Kymenlaakso</c:v>
                </c:pt>
                <c:pt idx="7">
                  <c:v>Etelä-Karjala</c:v>
                </c:pt>
                <c:pt idx="8">
                  <c:v>Etelä-Savo</c:v>
                </c:pt>
                <c:pt idx="9">
                  <c:v>Pohjois-Savo</c:v>
                </c:pt>
                <c:pt idx="10">
                  <c:v>Pohjois-Karjala</c:v>
                </c:pt>
                <c:pt idx="11">
                  <c:v>Keski-Suomi</c:v>
                </c:pt>
                <c:pt idx="12">
                  <c:v>Etelä-Pohjanmaa</c:v>
                </c:pt>
                <c:pt idx="13">
                  <c:v>Pohjanmaa</c:v>
                </c:pt>
                <c:pt idx="14">
                  <c:v>Keski-Pohjanmaa</c:v>
                </c:pt>
                <c:pt idx="15">
                  <c:v>Pohjois-Pohjanmaa</c:v>
                </c:pt>
                <c:pt idx="16">
                  <c:v>Kainuu</c:v>
                </c:pt>
                <c:pt idx="17">
                  <c:v>Lappi</c:v>
                </c:pt>
                <c:pt idx="18">
                  <c:v>Ahvenanmaa</c:v>
                </c:pt>
              </c:strCache>
            </c:strRef>
          </c:cat>
          <c:val>
            <c:numRef>
              <c:f>Yhteenveto!$Q$4:$Q$22</c:f>
              <c:numCache>
                <c:formatCode>0.0\ %</c:formatCode>
                <c:ptCount val="19"/>
                <c:pt idx="0">
                  <c:v>8.6829337543921567E-2</c:v>
                </c:pt>
                <c:pt idx="1">
                  <c:v>8.5052446697650691E-2</c:v>
                </c:pt>
                <c:pt idx="2">
                  <c:v>8.1485854460443638E-2</c:v>
                </c:pt>
                <c:pt idx="3">
                  <c:v>0.36002655790950794</c:v>
                </c:pt>
                <c:pt idx="4">
                  <c:v>0.12517957378742822</c:v>
                </c:pt>
                <c:pt idx="5">
                  <c:v>0.27500825045728705</c:v>
                </c:pt>
                <c:pt idx="6">
                  <c:v>0.10535903446582398</c:v>
                </c:pt>
                <c:pt idx="7">
                  <c:v>0</c:v>
                </c:pt>
                <c:pt idx="8">
                  <c:v>0</c:v>
                </c:pt>
                <c:pt idx="9">
                  <c:v>0.10013317737022175</c:v>
                </c:pt>
                <c:pt idx="10">
                  <c:v>0</c:v>
                </c:pt>
                <c:pt idx="11">
                  <c:v>6.4979006761914544E-3</c:v>
                </c:pt>
                <c:pt idx="12">
                  <c:v>0</c:v>
                </c:pt>
                <c:pt idx="13">
                  <c:v>0.28500538667297032</c:v>
                </c:pt>
                <c:pt idx="14">
                  <c:v>1.459761779702333E-3</c:v>
                </c:pt>
                <c:pt idx="15">
                  <c:v>5.3371954978277084E-2</c:v>
                </c:pt>
                <c:pt idx="16">
                  <c:v>6.3608741943118885E-2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173-4CA7-A9C7-8683C5B24706}"/>
            </c:ext>
          </c:extLst>
        </c:ser>
        <c:ser>
          <c:idx val="2"/>
          <c:order val="2"/>
          <c:tx>
            <c:strRef>
              <c:f>Yhteenveto!$R$3</c:f>
              <c:strCache>
                <c:ptCount val="1"/>
                <c:pt idx="0">
                  <c:v>Lämmön talteenotto</c:v>
                </c:pt>
              </c:strCache>
            </c:strRef>
          </c:tx>
          <c:spPr>
            <a:solidFill>
              <a:srgbClr val="9E78B2"/>
            </a:solidFill>
            <a:ln w="12700">
              <a:solidFill>
                <a:srgbClr val="FFFFFF"/>
              </a:solidFill>
            </a:ln>
            <a:effectLst/>
          </c:spPr>
          <c:invertIfNegative val="0"/>
          <c:cat>
            <c:strRef>
              <c:f>Yhteenveto!$O$4:$O$22</c:f>
              <c:strCache>
                <c:ptCount val="19"/>
                <c:pt idx="0">
                  <c:v>Uusimaa</c:v>
                </c:pt>
                <c:pt idx="1">
                  <c:v>Varsinais-Suomi</c:v>
                </c:pt>
                <c:pt idx="2">
                  <c:v>Satakunta</c:v>
                </c:pt>
                <c:pt idx="3">
                  <c:v>Kanta-Häme</c:v>
                </c:pt>
                <c:pt idx="4">
                  <c:v>Pirkanmaa</c:v>
                </c:pt>
                <c:pt idx="5">
                  <c:v>Päijät-Häme</c:v>
                </c:pt>
                <c:pt idx="6">
                  <c:v>Kymenlaakso</c:v>
                </c:pt>
                <c:pt idx="7">
                  <c:v>Etelä-Karjala</c:v>
                </c:pt>
                <c:pt idx="8">
                  <c:v>Etelä-Savo</c:v>
                </c:pt>
                <c:pt idx="9">
                  <c:v>Pohjois-Savo</c:v>
                </c:pt>
                <c:pt idx="10">
                  <c:v>Pohjois-Karjala</c:v>
                </c:pt>
                <c:pt idx="11">
                  <c:v>Keski-Suomi</c:v>
                </c:pt>
                <c:pt idx="12">
                  <c:v>Etelä-Pohjanmaa</c:v>
                </c:pt>
                <c:pt idx="13">
                  <c:v>Pohjanmaa</c:v>
                </c:pt>
                <c:pt idx="14">
                  <c:v>Keski-Pohjanmaa</c:v>
                </c:pt>
                <c:pt idx="15">
                  <c:v>Pohjois-Pohjanmaa</c:v>
                </c:pt>
                <c:pt idx="16">
                  <c:v>Kainuu</c:v>
                </c:pt>
                <c:pt idx="17">
                  <c:v>Lappi</c:v>
                </c:pt>
                <c:pt idx="18">
                  <c:v>Ahvenanmaa</c:v>
                </c:pt>
              </c:strCache>
            </c:strRef>
          </c:cat>
          <c:val>
            <c:numRef>
              <c:f>Yhteenveto!$R$4:$R$22</c:f>
              <c:numCache>
                <c:formatCode>0.0\ %</c:formatCode>
                <c:ptCount val="19"/>
                <c:pt idx="0">
                  <c:v>0.20096728974095512</c:v>
                </c:pt>
                <c:pt idx="1">
                  <c:v>0.25501180186402617</c:v>
                </c:pt>
                <c:pt idx="2">
                  <c:v>8.2035817143488385E-2</c:v>
                </c:pt>
                <c:pt idx="3">
                  <c:v>0.16718052379194945</c:v>
                </c:pt>
                <c:pt idx="4">
                  <c:v>0.15766534412803937</c:v>
                </c:pt>
                <c:pt idx="5">
                  <c:v>0.14428154967998966</c:v>
                </c:pt>
                <c:pt idx="6">
                  <c:v>0.11441428249192269</c:v>
                </c:pt>
                <c:pt idx="7">
                  <c:v>4.1974540270229191E-2</c:v>
                </c:pt>
                <c:pt idx="8">
                  <c:v>2.8893086877161543E-2</c:v>
                </c:pt>
                <c:pt idx="9">
                  <c:v>0.16946878941835999</c:v>
                </c:pt>
                <c:pt idx="10">
                  <c:v>0.17957310004641797</c:v>
                </c:pt>
                <c:pt idx="11">
                  <c:v>6.7033271291502064E-2</c:v>
                </c:pt>
                <c:pt idx="12">
                  <c:v>8.2824636649387121E-2</c:v>
                </c:pt>
                <c:pt idx="13">
                  <c:v>6.69867605257293E-2</c:v>
                </c:pt>
                <c:pt idx="14">
                  <c:v>0.26804734229999239</c:v>
                </c:pt>
                <c:pt idx="15">
                  <c:v>0.27894321395158894</c:v>
                </c:pt>
                <c:pt idx="16">
                  <c:v>0.12696792623811462</c:v>
                </c:pt>
                <c:pt idx="17">
                  <c:v>0.10707264017131624</c:v>
                </c:pt>
                <c:pt idx="18">
                  <c:v>0.117991996916928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173-4CA7-A9C7-8683C5B24706}"/>
            </c:ext>
          </c:extLst>
        </c:ser>
        <c:ser>
          <c:idx val="3"/>
          <c:order val="3"/>
          <c:tx>
            <c:strRef>
              <c:f>Yhteenveto!$S$3</c:f>
              <c:strCache>
                <c:ptCount val="1"/>
                <c:pt idx="0">
                  <c:v>Sähkökattila</c:v>
                </c:pt>
              </c:strCache>
            </c:strRef>
          </c:tx>
          <c:spPr>
            <a:solidFill>
              <a:srgbClr val="FFC000"/>
            </a:solidFill>
            <a:ln w="12700">
              <a:solidFill>
                <a:srgbClr val="FFFFFF"/>
              </a:solidFill>
            </a:ln>
            <a:effectLst/>
          </c:spPr>
          <c:invertIfNegative val="0"/>
          <c:cat>
            <c:strRef>
              <c:f>Yhteenveto!$O$4:$O$22</c:f>
              <c:strCache>
                <c:ptCount val="19"/>
                <c:pt idx="0">
                  <c:v>Uusimaa</c:v>
                </c:pt>
                <c:pt idx="1">
                  <c:v>Varsinais-Suomi</c:v>
                </c:pt>
                <c:pt idx="2">
                  <c:v>Satakunta</c:v>
                </c:pt>
                <c:pt idx="3">
                  <c:v>Kanta-Häme</c:v>
                </c:pt>
                <c:pt idx="4">
                  <c:v>Pirkanmaa</c:v>
                </c:pt>
                <c:pt idx="5">
                  <c:v>Päijät-Häme</c:v>
                </c:pt>
                <c:pt idx="6">
                  <c:v>Kymenlaakso</c:v>
                </c:pt>
                <c:pt idx="7">
                  <c:v>Etelä-Karjala</c:v>
                </c:pt>
                <c:pt idx="8">
                  <c:v>Etelä-Savo</c:v>
                </c:pt>
                <c:pt idx="9">
                  <c:v>Pohjois-Savo</c:v>
                </c:pt>
                <c:pt idx="10">
                  <c:v>Pohjois-Karjala</c:v>
                </c:pt>
                <c:pt idx="11">
                  <c:v>Keski-Suomi</c:v>
                </c:pt>
                <c:pt idx="12">
                  <c:v>Etelä-Pohjanmaa</c:v>
                </c:pt>
                <c:pt idx="13">
                  <c:v>Pohjanmaa</c:v>
                </c:pt>
                <c:pt idx="14">
                  <c:v>Keski-Pohjanmaa</c:v>
                </c:pt>
                <c:pt idx="15">
                  <c:v>Pohjois-Pohjanmaa</c:v>
                </c:pt>
                <c:pt idx="16">
                  <c:v>Kainuu</c:v>
                </c:pt>
                <c:pt idx="17">
                  <c:v>Lappi</c:v>
                </c:pt>
                <c:pt idx="18">
                  <c:v>Ahvenanmaa</c:v>
                </c:pt>
              </c:strCache>
            </c:strRef>
          </c:cat>
          <c:val>
            <c:numRef>
              <c:f>Yhteenveto!$S$4:$S$22</c:f>
              <c:numCache>
                <c:formatCode>0.0\ %</c:formatCode>
                <c:ptCount val="19"/>
                <c:pt idx="0">
                  <c:v>1.4463443078711648E-2</c:v>
                </c:pt>
                <c:pt idx="1">
                  <c:v>1.2395331343740662E-2</c:v>
                </c:pt>
                <c:pt idx="2">
                  <c:v>3.8215442768705775E-4</c:v>
                </c:pt>
                <c:pt idx="3">
                  <c:v>0</c:v>
                </c:pt>
                <c:pt idx="4">
                  <c:v>3.104131193086971E-2</c:v>
                </c:pt>
                <c:pt idx="5">
                  <c:v>3.1465989198924617E-3</c:v>
                </c:pt>
                <c:pt idx="6">
                  <c:v>0</c:v>
                </c:pt>
                <c:pt idx="7">
                  <c:v>8.7603760339849054E-2</c:v>
                </c:pt>
                <c:pt idx="8">
                  <c:v>0</c:v>
                </c:pt>
                <c:pt idx="9">
                  <c:v>0</c:v>
                </c:pt>
                <c:pt idx="10">
                  <c:v>5.2274649070116284E-3</c:v>
                </c:pt>
                <c:pt idx="11">
                  <c:v>0</c:v>
                </c:pt>
                <c:pt idx="12">
                  <c:v>0.10372984681423242</c:v>
                </c:pt>
                <c:pt idx="13">
                  <c:v>0.15080809468795381</c:v>
                </c:pt>
                <c:pt idx="14">
                  <c:v>0</c:v>
                </c:pt>
                <c:pt idx="15">
                  <c:v>1.8978119633848815E-3</c:v>
                </c:pt>
                <c:pt idx="16">
                  <c:v>0</c:v>
                </c:pt>
                <c:pt idx="17">
                  <c:v>3.1963556622570263E-2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173-4CA7-A9C7-8683C5B24706}"/>
            </c:ext>
          </c:extLst>
        </c:ser>
        <c:ser>
          <c:idx val="4"/>
          <c:order val="4"/>
          <c:tx>
            <c:strRef>
              <c:f>Yhteenveto!$T$3</c:f>
              <c:strCache>
                <c:ptCount val="1"/>
                <c:pt idx="0">
                  <c:v>Turve</c:v>
                </c:pt>
              </c:strCache>
            </c:strRef>
          </c:tx>
          <c:spPr>
            <a:solidFill>
              <a:srgbClr val="EA7911"/>
            </a:solidFill>
            <a:ln w="12700">
              <a:solidFill>
                <a:srgbClr val="FFFFFF"/>
              </a:solidFill>
            </a:ln>
            <a:effectLst/>
          </c:spPr>
          <c:invertIfNegative val="0"/>
          <c:cat>
            <c:strRef>
              <c:f>Yhteenveto!$O$4:$O$22</c:f>
              <c:strCache>
                <c:ptCount val="19"/>
                <c:pt idx="0">
                  <c:v>Uusimaa</c:v>
                </c:pt>
                <c:pt idx="1">
                  <c:v>Varsinais-Suomi</c:v>
                </c:pt>
                <c:pt idx="2">
                  <c:v>Satakunta</c:v>
                </c:pt>
                <c:pt idx="3">
                  <c:v>Kanta-Häme</c:v>
                </c:pt>
                <c:pt idx="4">
                  <c:v>Pirkanmaa</c:v>
                </c:pt>
                <c:pt idx="5">
                  <c:v>Päijät-Häme</c:v>
                </c:pt>
                <c:pt idx="6">
                  <c:v>Kymenlaakso</c:v>
                </c:pt>
                <c:pt idx="7">
                  <c:v>Etelä-Karjala</c:v>
                </c:pt>
                <c:pt idx="8">
                  <c:v>Etelä-Savo</c:v>
                </c:pt>
                <c:pt idx="9">
                  <c:v>Pohjois-Savo</c:v>
                </c:pt>
                <c:pt idx="10">
                  <c:v>Pohjois-Karjala</c:v>
                </c:pt>
                <c:pt idx="11">
                  <c:v>Keski-Suomi</c:v>
                </c:pt>
                <c:pt idx="12">
                  <c:v>Etelä-Pohjanmaa</c:v>
                </c:pt>
                <c:pt idx="13">
                  <c:v>Pohjanmaa</c:v>
                </c:pt>
                <c:pt idx="14">
                  <c:v>Keski-Pohjanmaa</c:v>
                </c:pt>
                <c:pt idx="15">
                  <c:v>Pohjois-Pohjanmaa</c:v>
                </c:pt>
                <c:pt idx="16">
                  <c:v>Kainuu</c:v>
                </c:pt>
                <c:pt idx="17">
                  <c:v>Lappi</c:v>
                </c:pt>
                <c:pt idx="18">
                  <c:v>Ahvenanmaa</c:v>
                </c:pt>
              </c:strCache>
            </c:strRef>
          </c:cat>
          <c:val>
            <c:numRef>
              <c:f>Yhteenveto!$T$4:$T$22</c:f>
              <c:numCache>
                <c:formatCode>0.0\ %</c:formatCode>
                <c:ptCount val="19"/>
                <c:pt idx="0">
                  <c:v>1.1449015766759187E-2</c:v>
                </c:pt>
                <c:pt idx="1">
                  <c:v>2.6093839332422267E-2</c:v>
                </c:pt>
                <c:pt idx="2">
                  <c:v>5.0319717188059492E-2</c:v>
                </c:pt>
                <c:pt idx="3">
                  <c:v>3.3136537230923219E-2</c:v>
                </c:pt>
                <c:pt idx="4">
                  <c:v>6.789909746711921E-2</c:v>
                </c:pt>
                <c:pt idx="5">
                  <c:v>4.6955746707277778E-2</c:v>
                </c:pt>
                <c:pt idx="6">
                  <c:v>8.953845563968596E-2</c:v>
                </c:pt>
                <c:pt idx="7">
                  <c:v>6.6642543367660775E-2</c:v>
                </c:pt>
                <c:pt idx="8">
                  <c:v>0.18187294582981284</c:v>
                </c:pt>
                <c:pt idx="9">
                  <c:v>0.18643632445117353</c:v>
                </c:pt>
                <c:pt idx="10">
                  <c:v>0.12699603245094049</c:v>
                </c:pt>
                <c:pt idx="11">
                  <c:v>0.20597409878256379</c:v>
                </c:pt>
                <c:pt idx="12">
                  <c:v>0.27949945566833179</c:v>
                </c:pt>
                <c:pt idx="13">
                  <c:v>4.6313435388086133E-2</c:v>
                </c:pt>
                <c:pt idx="14">
                  <c:v>0.20444963303210814</c:v>
                </c:pt>
                <c:pt idx="15">
                  <c:v>0.14804848698698456</c:v>
                </c:pt>
                <c:pt idx="16">
                  <c:v>0.20621692759159271</c:v>
                </c:pt>
                <c:pt idx="17">
                  <c:v>0.24781391161935939</c:v>
                </c:pt>
                <c:pt idx="18">
                  <c:v>5.5685431638492896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173-4CA7-A9C7-8683C5B24706}"/>
            </c:ext>
          </c:extLst>
        </c:ser>
        <c:ser>
          <c:idx val="5"/>
          <c:order val="5"/>
          <c:tx>
            <c:strRef>
              <c:f>Yhteenveto!$U$3</c:f>
              <c:strCache>
                <c:ptCount val="1"/>
                <c:pt idx="0">
                  <c:v>Maakaasu</c:v>
                </c:pt>
              </c:strCache>
            </c:strRef>
          </c:tx>
          <c:spPr>
            <a:solidFill>
              <a:srgbClr val="4EADBB"/>
            </a:solidFill>
            <a:ln w="12700">
              <a:solidFill>
                <a:srgbClr val="FFFFFF"/>
              </a:solidFill>
            </a:ln>
            <a:effectLst/>
          </c:spPr>
          <c:invertIfNegative val="0"/>
          <c:cat>
            <c:strRef>
              <c:f>Yhteenveto!$O$4:$O$22</c:f>
              <c:strCache>
                <c:ptCount val="19"/>
                <c:pt idx="0">
                  <c:v>Uusimaa</c:v>
                </c:pt>
                <c:pt idx="1">
                  <c:v>Varsinais-Suomi</c:v>
                </c:pt>
                <c:pt idx="2">
                  <c:v>Satakunta</c:v>
                </c:pt>
                <c:pt idx="3">
                  <c:v>Kanta-Häme</c:v>
                </c:pt>
                <c:pt idx="4">
                  <c:v>Pirkanmaa</c:v>
                </c:pt>
                <c:pt idx="5">
                  <c:v>Päijät-Häme</c:v>
                </c:pt>
                <c:pt idx="6">
                  <c:v>Kymenlaakso</c:v>
                </c:pt>
                <c:pt idx="7">
                  <c:v>Etelä-Karjala</c:v>
                </c:pt>
                <c:pt idx="8">
                  <c:v>Etelä-Savo</c:v>
                </c:pt>
                <c:pt idx="9">
                  <c:v>Pohjois-Savo</c:v>
                </c:pt>
                <c:pt idx="10">
                  <c:v>Pohjois-Karjala</c:v>
                </c:pt>
                <c:pt idx="11">
                  <c:v>Keski-Suomi</c:v>
                </c:pt>
                <c:pt idx="12">
                  <c:v>Etelä-Pohjanmaa</c:v>
                </c:pt>
                <c:pt idx="13">
                  <c:v>Pohjanmaa</c:v>
                </c:pt>
                <c:pt idx="14">
                  <c:v>Keski-Pohjanmaa</c:v>
                </c:pt>
                <c:pt idx="15">
                  <c:v>Pohjois-Pohjanmaa</c:v>
                </c:pt>
                <c:pt idx="16">
                  <c:v>Kainuu</c:v>
                </c:pt>
                <c:pt idx="17">
                  <c:v>Lappi</c:v>
                </c:pt>
                <c:pt idx="18">
                  <c:v>Ahvenanmaa</c:v>
                </c:pt>
              </c:strCache>
            </c:strRef>
          </c:cat>
          <c:val>
            <c:numRef>
              <c:f>Yhteenveto!$U$4:$U$22</c:f>
              <c:numCache>
                <c:formatCode>0.0\ %</c:formatCode>
                <c:ptCount val="19"/>
                <c:pt idx="0">
                  <c:v>0.13208763386625758</c:v>
                </c:pt>
                <c:pt idx="1">
                  <c:v>0</c:v>
                </c:pt>
                <c:pt idx="2">
                  <c:v>2.2164956805849349E-3</c:v>
                </c:pt>
                <c:pt idx="3">
                  <c:v>3.1454590384000947E-2</c:v>
                </c:pt>
                <c:pt idx="4">
                  <c:v>0.14182302526227922</c:v>
                </c:pt>
                <c:pt idx="5">
                  <c:v>4.0809140420348167E-2</c:v>
                </c:pt>
                <c:pt idx="6">
                  <c:v>8.6086040356222041E-2</c:v>
                </c:pt>
                <c:pt idx="7">
                  <c:v>4.452485544113071E-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.3335531424038872E-3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1.7712911658258894E-3</c:v>
                </c:pt>
                <c:pt idx="16">
                  <c:v>2.5021437877614655E-2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C173-4CA7-A9C7-8683C5B24706}"/>
            </c:ext>
          </c:extLst>
        </c:ser>
        <c:ser>
          <c:idx val="6"/>
          <c:order val="6"/>
          <c:tx>
            <c:strRef>
              <c:f>Yhteenveto!$V$3</c:f>
              <c:strCache>
                <c:ptCount val="1"/>
                <c:pt idx="0">
                  <c:v>Kivihiili</c:v>
                </c:pt>
              </c:strCache>
            </c:strRef>
          </c:tx>
          <c:spPr>
            <a:solidFill>
              <a:srgbClr val="FFFFFF">
                <a:lumMod val="50000"/>
              </a:srgbClr>
            </a:solidFill>
            <a:ln w="19050">
              <a:solidFill>
                <a:srgbClr val="FFFFFF"/>
              </a:solidFill>
            </a:ln>
            <a:effectLst/>
          </c:spPr>
          <c:invertIfNegative val="0"/>
          <c:cat>
            <c:strRef>
              <c:f>Yhteenveto!$O$4:$O$22</c:f>
              <c:strCache>
                <c:ptCount val="19"/>
                <c:pt idx="0">
                  <c:v>Uusimaa</c:v>
                </c:pt>
                <c:pt idx="1">
                  <c:v>Varsinais-Suomi</c:v>
                </c:pt>
                <c:pt idx="2">
                  <c:v>Satakunta</c:v>
                </c:pt>
                <c:pt idx="3">
                  <c:v>Kanta-Häme</c:v>
                </c:pt>
                <c:pt idx="4">
                  <c:v>Pirkanmaa</c:v>
                </c:pt>
                <c:pt idx="5">
                  <c:v>Päijät-Häme</c:v>
                </c:pt>
                <c:pt idx="6">
                  <c:v>Kymenlaakso</c:v>
                </c:pt>
                <c:pt idx="7">
                  <c:v>Etelä-Karjala</c:v>
                </c:pt>
                <c:pt idx="8">
                  <c:v>Etelä-Savo</c:v>
                </c:pt>
                <c:pt idx="9">
                  <c:v>Pohjois-Savo</c:v>
                </c:pt>
                <c:pt idx="10">
                  <c:v>Pohjois-Karjala</c:v>
                </c:pt>
                <c:pt idx="11">
                  <c:v>Keski-Suomi</c:v>
                </c:pt>
                <c:pt idx="12">
                  <c:v>Etelä-Pohjanmaa</c:v>
                </c:pt>
                <c:pt idx="13">
                  <c:v>Pohjanmaa</c:v>
                </c:pt>
                <c:pt idx="14">
                  <c:v>Keski-Pohjanmaa</c:v>
                </c:pt>
                <c:pt idx="15">
                  <c:v>Pohjois-Pohjanmaa</c:v>
                </c:pt>
                <c:pt idx="16">
                  <c:v>Kainuu</c:v>
                </c:pt>
                <c:pt idx="17">
                  <c:v>Lappi</c:v>
                </c:pt>
                <c:pt idx="18">
                  <c:v>Ahvenanmaa</c:v>
                </c:pt>
              </c:strCache>
            </c:strRef>
          </c:cat>
          <c:val>
            <c:numRef>
              <c:f>Yhteenveto!$V$4:$V$22</c:f>
              <c:numCache>
                <c:formatCode>0.0\ %</c:formatCode>
                <c:ptCount val="19"/>
                <c:pt idx="0">
                  <c:v>0.22894005953127256</c:v>
                </c:pt>
                <c:pt idx="1">
                  <c:v>3.9056399357007922E-2</c:v>
                </c:pt>
                <c:pt idx="2">
                  <c:v>4.2193245744897282E-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5.0001066676095922E-4</c:v>
                </c:pt>
                <c:pt idx="10">
                  <c:v>0</c:v>
                </c:pt>
                <c:pt idx="11">
                  <c:v>1.8346135097764412E-3</c:v>
                </c:pt>
                <c:pt idx="12">
                  <c:v>0</c:v>
                </c:pt>
                <c:pt idx="13">
                  <c:v>1.1311192991630286E-2</c:v>
                </c:pt>
                <c:pt idx="14">
                  <c:v>0</c:v>
                </c:pt>
                <c:pt idx="15">
                  <c:v>0</c:v>
                </c:pt>
                <c:pt idx="16">
                  <c:v>7.3921602296700938E-4</c:v>
                </c:pt>
                <c:pt idx="17">
                  <c:v>0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C173-4CA7-A9C7-8683C5B24706}"/>
            </c:ext>
          </c:extLst>
        </c:ser>
        <c:ser>
          <c:idx val="7"/>
          <c:order val="7"/>
          <c:tx>
            <c:strRef>
              <c:f>Yhteenveto!$W$3</c:f>
              <c:strCache>
                <c:ptCount val="1"/>
                <c:pt idx="0">
                  <c:v>Öljy</c:v>
                </c:pt>
              </c:strCache>
            </c:strRef>
          </c:tx>
          <c:spPr>
            <a:solidFill>
              <a:srgbClr val="000000"/>
            </a:solidFill>
            <a:ln w="19050">
              <a:solidFill>
                <a:srgbClr val="FFFFFF"/>
              </a:solidFill>
            </a:ln>
            <a:effectLst/>
          </c:spPr>
          <c:invertIfNegative val="0"/>
          <c:cat>
            <c:strRef>
              <c:f>Yhteenveto!$O$4:$O$22</c:f>
              <c:strCache>
                <c:ptCount val="19"/>
                <c:pt idx="0">
                  <c:v>Uusimaa</c:v>
                </c:pt>
                <c:pt idx="1">
                  <c:v>Varsinais-Suomi</c:v>
                </c:pt>
                <c:pt idx="2">
                  <c:v>Satakunta</c:v>
                </c:pt>
                <c:pt idx="3">
                  <c:v>Kanta-Häme</c:v>
                </c:pt>
                <c:pt idx="4">
                  <c:v>Pirkanmaa</c:v>
                </c:pt>
                <c:pt idx="5">
                  <c:v>Päijät-Häme</c:v>
                </c:pt>
                <c:pt idx="6">
                  <c:v>Kymenlaakso</c:v>
                </c:pt>
                <c:pt idx="7">
                  <c:v>Etelä-Karjala</c:v>
                </c:pt>
                <c:pt idx="8">
                  <c:v>Etelä-Savo</c:v>
                </c:pt>
                <c:pt idx="9">
                  <c:v>Pohjois-Savo</c:v>
                </c:pt>
                <c:pt idx="10">
                  <c:v>Pohjois-Karjala</c:v>
                </c:pt>
                <c:pt idx="11">
                  <c:v>Keski-Suomi</c:v>
                </c:pt>
                <c:pt idx="12">
                  <c:v>Etelä-Pohjanmaa</c:v>
                </c:pt>
                <c:pt idx="13">
                  <c:v>Pohjanmaa</c:v>
                </c:pt>
                <c:pt idx="14">
                  <c:v>Keski-Pohjanmaa</c:v>
                </c:pt>
                <c:pt idx="15">
                  <c:v>Pohjois-Pohjanmaa</c:v>
                </c:pt>
                <c:pt idx="16">
                  <c:v>Kainuu</c:v>
                </c:pt>
                <c:pt idx="17">
                  <c:v>Lappi</c:v>
                </c:pt>
                <c:pt idx="18">
                  <c:v>Ahvenanmaa</c:v>
                </c:pt>
              </c:strCache>
            </c:strRef>
          </c:cat>
          <c:val>
            <c:numRef>
              <c:f>Yhteenveto!$W$4:$W$22</c:f>
              <c:numCache>
                <c:formatCode>0.0\ %</c:formatCode>
                <c:ptCount val="19"/>
                <c:pt idx="0">
                  <c:v>4.2017077366486973E-2</c:v>
                </c:pt>
                <c:pt idx="1">
                  <c:v>4.2353240960580865E-2</c:v>
                </c:pt>
                <c:pt idx="2">
                  <c:v>3.1604171169719676E-2</c:v>
                </c:pt>
                <c:pt idx="3">
                  <c:v>1.6076790640711592E-2</c:v>
                </c:pt>
                <c:pt idx="4">
                  <c:v>1.9533863774205608E-2</c:v>
                </c:pt>
                <c:pt idx="5">
                  <c:v>1.699725309406196E-2</c:v>
                </c:pt>
                <c:pt idx="6">
                  <c:v>7.2503168317073988E-3</c:v>
                </c:pt>
                <c:pt idx="7">
                  <c:v>8.2501682600105656E-3</c:v>
                </c:pt>
                <c:pt idx="8">
                  <c:v>1.1094276022910099E-2</c:v>
                </c:pt>
                <c:pt idx="9">
                  <c:v>1.5204715354679691E-2</c:v>
                </c:pt>
                <c:pt idx="10">
                  <c:v>3.6722940971756685E-2</c:v>
                </c:pt>
                <c:pt idx="11">
                  <c:v>1.1628583401761898E-2</c:v>
                </c:pt>
                <c:pt idx="12">
                  <c:v>1.9225413899857737E-2</c:v>
                </c:pt>
                <c:pt idx="13">
                  <c:v>5.2290685512431535E-3</c:v>
                </c:pt>
                <c:pt idx="14">
                  <c:v>8.3278560833308975E-3</c:v>
                </c:pt>
                <c:pt idx="15">
                  <c:v>1.3877749982251945E-2</c:v>
                </c:pt>
                <c:pt idx="16">
                  <c:v>6.1075950724886179E-3</c:v>
                </c:pt>
                <c:pt idx="17">
                  <c:v>1.6515822883568176E-2</c:v>
                </c:pt>
                <c:pt idx="18">
                  <c:v>0.11536052072669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C173-4CA7-A9C7-8683C5B24706}"/>
            </c:ext>
          </c:extLst>
        </c:ser>
        <c:ser>
          <c:idx val="8"/>
          <c:order val="8"/>
          <c:tx>
            <c:strRef>
              <c:f>Yhteenveto!$X$3</c:f>
              <c:strCache>
                <c:ptCount val="1"/>
                <c:pt idx="0">
                  <c:v>Muut</c:v>
                </c:pt>
              </c:strCache>
            </c:strRef>
          </c:tx>
          <c:spPr>
            <a:solidFill>
              <a:srgbClr val="B21C58"/>
            </a:solidFill>
            <a:ln w="19050">
              <a:solidFill>
                <a:srgbClr val="FFFFFF"/>
              </a:solidFill>
            </a:ln>
            <a:effectLst/>
          </c:spPr>
          <c:invertIfNegative val="0"/>
          <c:cat>
            <c:strRef>
              <c:f>Yhteenveto!$O$4:$O$22</c:f>
              <c:strCache>
                <c:ptCount val="19"/>
                <c:pt idx="0">
                  <c:v>Uusimaa</c:v>
                </c:pt>
                <c:pt idx="1">
                  <c:v>Varsinais-Suomi</c:v>
                </c:pt>
                <c:pt idx="2">
                  <c:v>Satakunta</c:v>
                </c:pt>
                <c:pt idx="3">
                  <c:v>Kanta-Häme</c:v>
                </c:pt>
                <c:pt idx="4">
                  <c:v>Pirkanmaa</c:v>
                </c:pt>
                <c:pt idx="5">
                  <c:v>Päijät-Häme</c:v>
                </c:pt>
                <c:pt idx="6">
                  <c:v>Kymenlaakso</c:v>
                </c:pt>
                <c:pt idx="7">
                  <c:v>Etelä-Karjala</c:v>
                </c:pt>
                <c:pt idx="8">
                  <c:v>Etelä-Savo</c:v>
                </c:pt>
                <c:pt idx="9">
                  <c:v>Pohjois-Savo</c:v>
                </c:pt>
                <c:pt idx="10">
                  <c:v>Pohjois-Karjala</c:v>
                </c:pt>
                <c:pt idx="11">
                  <c:v>Keski-Suomi</c:v>
                </c:pt>
                <c:pt idx="12">
                  <c:v>Etelä-Pohjanmaa</c:v>
                </c:pt>
                <c:pt idx="13">
                  <c:v>Pohjanmaa</c:v>
                </c:pt>
                <c:pt idx="14">
                  <c:v>Keski-Pohjanmaa</c:v>
                </c:pt>
                <c:pt idx="15">
                  <c:v>Pohjois-Pohjanmaa</c:v>
                </c:pt>
                <c:pt idx="16">
                  <c:v>Kainuu</c:v>
                </c:pt>
                <c:pt idx="17">
                  <c:v>Lappi</c:v>
                </c:pt>
                <c:pt idx="18">
                  <c:v>Ahvenanmaa</c:v>
                </c:pt>
              </c:strCache>
            </c:strRef>
          </c:cat>
          <c:val>
            <c:numRef>
              <c:f>Yhteenveto!$X$4:$X$22</c:f>
              <c:numCache>
                <c:formatCode>0.0\ %</c:formatCode>
                <c:ptCount val="19"/>
                <c:pt idx="0">
                  <c:v>0</c:v>
                </c:pt>
                <c:pt idx="1">
                  <c:v>0</c:v>
                </c:pt>
                <c:pt idx="2">
                  <c:v>1.3815307176917901E-3</c:v>
                </c:pt>
                <c:pt idx="3">
                  <c:v>0</c:v>
                </c:pt>
                <c:pt idx="4">
                  <c:v>7.544763316530862E-4</c:v>
                </c:pt>
                <c:pt idx="5">
                  <c:v>0</c:v>
                </c:pt>
                <c:pt idx="6">
                  <c:v>0</c:v>
                </c:pt>
                <c:pt idx="7">
                  <c:v>2.3254860241667213E-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.0964770281987517E-2</c:v>
                </c:pt>
                <c:pt idx="12">
                  <c:v>0</c:v>
                </c:pt>
                <c:pt idx="13">
                  <c:v>7.1484443018170959E-3</c:v>
                </c:pt>
                <c:pt idx="14">
                  <c:v>3.8214781125317905E-2</c:v>
                </c:pt>
                <c:pt idx="15">
                  <c:v>0</c:v>
                </c:pt>
                <c:pt idx="16">
                  <c:v>0</c:v>
                </c:pt>
                <c:pt idx="17">
                  <c:v>1.884759774444187E-2</c:v>
                </c:pt>
                <c:pt idx="1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173-4CA7-A9C7-8683C5B247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070988992"/>
        <c:axId val="1070981776"/>
      </c:barChart>
      <c:valAx>
        <c:axId val="10709817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 w="9525" cmpd="sng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070988992"/>
        <c:crosses val="autoZero"/>
        <c:crossBetween val="between"/>
        <c:majorUnit val="0.2"/>
      </c:valAx>
      <c:catAx>
        <c:axId val="107098899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0709817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2656859636777321E-2"/>
          <c:y val="0.93342527661054409"/>
          <c:w val="0.89999991407893909"/>
          <c:h val="5.28829986459979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3789588801399825E-2"/>
          <c:y val="8.0106874281164295E-2"/>
          <c:w val="0.8769257436570429"/>
          <c:h val="0.84221815707379999"/>
        </c:manualLayout>
      </c:layout>
      <c:lineChart>
        <c:grouping val="standard"/>
        <c:varyColors val="0"/>
        <c:ser>
          <c:idx val="2"/>
          <c:order val="0"/>
          <c:tx>
            <c:v>Kaukolämpö ja yhteistuotantosähkö</c:v>
          </c:tx>
          <c:spPr>
            <a:ln w="38100">
              <a:solidFill>
                <a:srgbClr val="460D56"/>
              </a:solidFill>
            </a:ln>
            <a:effectLst/>
          </c:spPr>
          <c:marker>
            <c:symbol val="none"/>
          </c:marker>
          <c:cat>
            <c:numRef>
              <c:f>'Hiilineutraalien osuus'!$A$9:$A$47</c:f>
              <c:numCache>
                <c:formatCode>General</c:formatCode>
                <c:ptCount val="39"/>
                <c:pt idx="0">
                  <c:v>1985</c:v>
                </c:pt>
                <c:pt idx="1">
                  <c:v>1986</c:v>
                </c:pt>
                <c:pt idx="2">
                  <c:v>1987</c:v>
                </c:pt>
                <c:pt idx="3">
                  <c:v>1988</c:v>
                </c:pt>
                <c:pt idx="4">
                  <c:v>1989</c:v>
                </c:pt>
                <c:pt idx="5">
                  <c:v>1990</c:v>
                </c:pt>
                <c:pt idx="6">
                  <c:v>1991</c:v>
                </c:pt>
                <c:pt idx="7">
                  <c:v>1992</c:v>
                </c:pt>
                <c:pt idx="8">
                  <c:v>1993</c:v>
                </c:pt>
                <c:pt idx="9">
                  <c:v>1994</c:v>
                </c:pt>
                <c:pt idx="10">
                  <c:v>1995</c:v>
                </c:pt>
                <c:pt idx="11">
                  <c:v>1996</c:v>
                </c:pt>
                <c:pt idx="12">
                  <c:v>1997</c:v>
                </c:pt>
                <c:pt idx="13">
                  <c:v>1998</c:v>
                </c:pt>
                <c:pt idx="14">
                  <c:v>1999</c:v>
                </c:pt>
                <c:pt idx="15">
                  <c:v>2000</c:v>
                </c:pt>
                <c:pt idx="16">
                  <c:v>2001</c:v>
                </c:pt>
                <c:pt idx="17">
                  <c:v>2002</c:v>
                </c:pt>
                <c:pt idx="18">
                  <c:v>2003</c:v>
                </c:pt>
                <c:pt idx="19">
                  <c:v>2004</c:v>
                </c:pt>
                <c:pt idx="20">
                  <c:v>2005</c:v>
                </c:pt>
                <c:pt idx="21">
                  <c:v>2006</c:v>
                </c:pt>
                <c:pt idx="22">
                  <c:v>2007</c:v>
                </c:pt>
                <c:pt idx="23">
                  <c:v>2008</c:v>
                </c:pt>
                <c:pt idx="24">
                  <c:v>2009</c:v>
                </c:pt>
                <c:pt idx="25">
                  <c:v>2010</c:v>
                </c:pt>
                <c:pt idx="26">
                  <c:v>2011</c:v>
                </c:pt>
                <c:pt idx="27">
                  <c:v>2012</c:v>
                </c:pt>
                <c:pt idx="28">
                  <c:v>2013</c:v>
                </c:pt>
                <c:pt idx="29">
                  <c:v>2014</c:v>
                </c:pt>
                <c:pt idx="30">
                  <c:v>2015</c:v>
                </c:pt>
                <c:pt idx="31">
                  <c:v>2016</c:v>
                </c:pt>
                <c:pt idx="32">
                  <c:v>2017</c:v>
                </c:pt>
                <c:pt idx="33">
                  <c:v>2018</c:v>
                </c:pt>
                <c:pt idx="34">
                  <c:v>2019</c:v>
                </c:pt>
                <c:pt idx="35">
                  <c:v>2020</c:v>
                </c:pt>
                <c:pt idx="36">
                  <c:v>2021</c:v>
                </c:pt>
                <c:pt idx="37">
                  <c:v>2022</c:v>
                </c:pt>
                <c:pt idx="38">
                  <c:v>2023</c:v>
                </c:pt>
              </c:numCache>
              <c:extLst/>
            </c:numRef>
          </c:cat>
          <c:val>
            <c:numRef>
              <c:f>'Hiilineutraalien osuus'!$J$9:$J$47</c:f>
              <c:numCache>
                <c:formatCode>0.0</c:formatCode>
                <c:ptCount val="39"/>
                <c:pt idx="0">
                  <c:v>875.8</c:v>
                </c:pt>
                <c:pt idx="1">
                  <c:v>814.3</c:v>
                </c:pt>
                <c:pt idx="2">
                  <c:v>924.6</c:v>
                </c:pt>
                <c:pt idx="3">
                  <c:v>921.69999999999993</c:v>
                </c:pt>
                <c:pt idx="4">
                  <c:v>789</c:v>
                </c:pt>
                <c:pt idx="5">
                  <c:v>806.1</c:v>
                </c:pt>
                <c:pt idx="6">
                  <c:v>829.3</c:v>
                </c:pt>
                <c:pt idx="7">
                  <c:v>918.80000000000007</c:v>
                </c:pt>
                <c:pt idx="8">
                  <c:v>1313.7</c:v>
                </c:pt>
                <c:pt idx="9">
                  <c:v>1818</c:v>
                </c:pt>
                <c:pt idx="10">
                  <c:v>1994.8</c:v>
                </c:pt>
                <c:pt idx="11">
                  <c:v>2602.4</c:v>
                </c:pt>
                <c:pt idx="12">
                  <c:v>2938.2000000000003</c:v>
                </c:pt>
                <c:pt idx="13">
                  <c:v>3346.52</c:v>
                </c:pt>
                <c:pt idx="14">
                  <c:v>3667.8599999999997</c:v>
                </c:pt>
                <c:pt idx="15">
                  <c:v>3805.9599999999996</c:v>
                </c:pt>
                <c:pt idx="16">
                  <c:v>4046.42</c:v>
                </c:pt>
                <c:pt idx="17">
                  <c:v>4672.58</c:v>
                </c:pt>
                <c:pt idx="18">
                  <c:v>4986.3200000000006</c:v>
                </c:pt>
                <c:pt idx="19">
                  <c:v>5773.9</c:v>
                </c:pt>
                <c:pt idx="20">
                  <c:v>6950.92</c:v>
                </c:pt>
                <c:pt idx="21">
                  <c:v>6963.2400000000007</c:v>
                </c:pt>
                <c:pt idx="22">
                  <c:v>6744.9800000000005</c:v>
                </c:pt>
                <c:pt idx="23">
                  <c:v>7489.08</c:v>
                </c:pt>
                <c:pt idx="24">
                  <c:v>9130.0399999999991</c:v>
                </c:pt>
                <c:pt idx="25" formatCode="General">
                  <c:v>11207.800000000001</c:v>
                </c:pt>
                <c:pt idx="26" formatCode="General">
                  <c:v>12148.740000000002</c:v>
                </c:pt>
                <c:pt idx="27" formatCode="General">
                  <c:v>14342.780000000002</c:v>
                </c:pt>
                <c:pt idx="28" formatCode="General">
                  <c:v>15819.54</c:v>
                </c:pt>
                <c:pt idx="29" formatCode="General">
                  <c:v>17238.68</c:v>
                </c:pt>
                <c:pt idx="30" formatCode="General">
                  <c:v>17013.64</c:v>
                </c:pt>
                <c:pt idx="31" formatCode="General">
                  <c:v>18302.690000000002</c:v>
                </c:pt>
                <c:pt idx="32" formatCode="General">
                  <c:v>19605.700000000004</c:v>
                </c:pt>
                <c:pt idx="33" formatCode="General">
                  <c:v>19918.049999999996</c:v>
                </c:pt>
                <c:pt idx="34" formatCode="General">
                  <c:v>21053.469999999994</c:v>
                </c:pt>
                <c:pt idx="35" formatCode="General">
                  <c:v>20898.860000000004</c:v>
                </c:pt>
                <c:pt idx="36" formatCode="General">
                  <c:v>27208.3</c:v>
                </c:pt>
                <c:pt idx="37" formatCode="General">
                  <c:v>26561.84</c:v>
                </c:pt>
                <c:pt idx="38" formatCode="General">
                  <c:v>27119.7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3CD5-4A5B-B8B7-AE0B1AAB07F0}"/>
            </c:ext>
          </c:extLst>
        </c:ser>
        <c:ser>
          <c:idx val="1"/>
          <c:order val="1"/>
          <c:tx>
            <c:v>Kaukolämmön erillistuotanto</c:v>
          </c:tx>
          <c:spPr>
            <a:ln w="38100">
              <a:solidFill>
                <a:srgbClr val="B21C58"/>
              </a:solidFill>
            </a:ln>
          </c:spPr>
          <c:marker>
            <c:symbol val="none"/>
          </c:marker>
          <c:cat>
            <c:numRef>
              <c:f>'Hiilineutraalien osuus'!$A$9:$A$47</c:f>
              <c:numCache>
                <c:formatCode>General</c:formatCode>
                <c:ptCount val="39"/>
                <c:pt idx="0">
                  <c:v>1985</c:v>
                </c:pt>
                <c:pt idx="1">
                  <c:v>1986</c:v>
                </c:pt>
                <c:pt idx="2">
                  <c:v>1987</c:v>
                </c:pt>
                <c:pt idx="3">
                  <c:v>1988</c:v>
                </c:pt>
                <c:pt idx="4">
                  <c:v>1989</c:v>
                </c:pt>
                <c:pt idx="5">
                  <c:v>1990</c:v>
                </c:pt>
                <c:pt idx="6">
                  <c:v>1991</c:v>
                </c:pt>
                <c:pt idx="7">
                  <c:v>1992</c:v>
                </c:pt>
                <c:pt idx="8">
                  <c:v>1993</c:v>
                </c:pt>
                <c:pt idx="9">
                  <c:v>1994</c:v>
                </c:pt>
                <c:pt idx="10">
                  <c:v>1995</c:v>
                </c:pt>
                <c:pt idx="11">
                  <c:v>1996</c:v>
                </c:pt>
                <c:pt idx="12">
                  <c:v>1997</c:v>
                </c:pt>
                <c:pt idx="13">
                  <c:v>1998</c:v>
                </c:pt>
                <c:pt idx="14">
                  <c:v>1999</c:v>
                </c:pt>
                <c:pt idx="15">
                  <c:v>2000</c:v>
                </c:pt>
                <c:pt idx="16">
                  <c:v>2001</c:v>
                </c:pt>
                <c:pt idx="17">
                  <c:v>2002</c:v>
                </c:pt>
                <c:pt idx="18">
                  <c:v>2003</c:v>
                </c:pt>
                <c:pt idx="19">
                  <c:v>2004</c:v>
                </c:pt>
                <c:pt idx="20">
                  <c:v>2005</c:v>
                </c:pt>
                <c:pt idx="21">
                  <c:v>2006</c:v>
                </c:pt>
                <c:pt idx="22">
                  <c:v>2007</c:v>
                </c:pt>
                <c:pt idx="23">
                  <c:v>2008</c:v>
                </c:pt>
                <c:pt idx="24">
                  <c:v>2009</c:v>
                </c:pt>
                <c:pt idx="25">
                  <c:v>2010</c:v>
                </c:pt>
                <c:pt idx="26">
                  <c:v>2011</c:v>
                </c:pt>
                <c:pt idx="27">
                  <c:v>2012</c:v>
                </c:pt>
                <c:pt idx="28">
                  <c:v>2013</c:v>
                </c:pt>
                <c:pt idx="29">
                  <c:v>2014</c:v>
                </c:pt>
                <c:pt idx="30">
                  <c:v>2015</c:v>
                </c:pt>
                <c:pt idx="31">
                  <c:v>2016</c:v>
                </c:pt>
                <c:pt idx="32">
                  <c:v>2017</c:v>
                </c:pt>
                <c:pt idx="33">
                  <c:v>2018</c:v>
                </c:pt>
                <c:pt idx="34">
                  <c:v>2019</c:v>
                </c:pt>
                <c:pt idx="35">
                  <c:v>2020</c:v>
                </c:pt>
                <c:pt idx="36">
                  <c:v>2021</c:v>
                </c:pt>
                <c:pt idx="37">
                  <c:v>2022</c:v>
                </c:pt>
                <c:pt idx="38">
                  <c:v>2023</c:v>
                </c:pt>
              </c:numCache>
              <c:extLst/>
            </c:numRef>
          </c:cat>
          <c:val>
            <c:numRef>
              <c:f>'Hiilineutraalien osuus'!$J$55:$J$93</c:f>
              <c:numCache>
                <c:formatCode>General</c:formatCode>
                <c:ptCount val="39"/>
                <c:pt idx="6" formatCode="0.0">
                  <c:v>441</c:v>
                </c:pt>
                <c:pt idx="7" formatCode="0.0">
                  <c:v>412</c:v>
                </c:pt>
                <c:pt idx="8" formatCode="0.0">
                  <c:v>641</c:v>
                </c:pt>
                <c:pt idx="9" formatCode="0.0">
                  <c:v>787</c:v>
                </c:pt>
                <c:pt idx="10" formatCode="0.0">
                  <c:v>830.9</c:v>
                </c:pt>
                <c:pt idx="11" formatCode="0.0">
                  <c:v>757.59999999999991</c:v>
                </c:pt>
                <c:pt idx="12" formatCode="0.0">
                  <c:v>860.8</c:v>
                </c:pt>
                <c:pt idx="13" formatCode="0.0">
                  <c:v>1006.7199999999999</c:v>
                </c:pt>
                <c:pt idx="14" formatCode="0.0">
                  <c:v>1092.4999999999998</c:v>
                </c:pt>
                <c:pt idx="15" formatCode="0.0">
                  <c:v>1165.5400000000002</c:v>
                </c:pt>
                <c:pt idx="16" formatCode="0.0">
                  <c:v>1278.4199999999998</c:v>
                </c:pt>
                <c:pt idx="17" formatCode="0.0">
                  <c:v>1606.8600000000001</c:v>
                </c:pt>
                <c:pt idx="18" formatCode="0.0">
                  <c:v>1676.96</c:v>
                </c:pt>
                <c:pt idx="19" formatCode="0.0">
                  <c:v>1751.2400000000002</c:v>
                </c:pt>
                <c:pt idx="20" formatCode="0.0">
                  <c:v>2009.12</c:v>
                </c:pt>
                <c:pt idx="21" formatCode="0.0">
                  <c:v>1983.4600000000003</c:v>
                </c:pt>
                <c:pt idx="22" formatCode="0.0">
                  <c:v>2024.9199999999998</c:v>
                </c:pt>
                <c:pt idx="23" formatCode="0.0">
                  <c:v>2194.48</c:v>
                </c:pt>
                <c:pt idx="24" formatCode="0.0">
                  <c:v>2459.54</c:v>
                </c:pt>
                <c:pt idx="25" formatCode="0.0">
                  <c:v>2477.36</c:v>
                </c:pt>
                <c:pt idx="26" formatCode="0.0">
                  <c:v>2579.6800000000003</c:v>
                </c:pt>
                <c:pt idx="27" formatCode="0.0">
                  <c:v>3130.98</c:v>
                </c:pt>
                <c:pt idx="28" formatCode="0.0">
                  <c:v>3692.2599999999998</c:v>
                </c:pt>
                <c:pt idx="29" formatCode="0.0">
                  <c:v>3931.2799999999997</c:v>
                </c:pt>
                <c:pt idx="30" formatCode="0.0">
                  <c:v>4422.68</c:v>
                </c:pt>
                <c:pt idx="31" formatCode="0.0">
                  <c:v>5286.3</c:v>
                </c:pt>
                <c:pt idx="32" formatCode="0.0">
                  <c:v>5443.3499999999995</c:v>
                </c:pt>
                <c:pt idx="33">
                  <c:v>5753.06</c:v>
                </c:pt>
                <c:pt idx="34">
                  <c:v>6183.18</c:v>
                </c:pt>
                <c:pt idx="35">
                  <c:v>7177.52</c:v>
                </c:pt>
                <c:pt idx="36">
                  <c:v>8937.3299999999981</c:v>
                </c:pt>
                <c:pt idx="37">
                  <c:v>8934.6200000000008</c:v>
                </c:pt>
                <c:pt idx="38" formatCode="0.0">
                  <c:v>11125.060000000003</c:v>
                </c:pt>
              </c:numCache>
              <c:extLst/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3CD5-4A5B-B8B7-AE0B1AAB07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82826880"/>
        <c:axId val="1882824176"/>
      </c:lineChart>
      <c:catAx>
        <c:axId val="1882826880"/>
        <c:scaling>
          <c:orientation val="minMax"/>
        </c:scaling>
        <c:delete val="0"/>
        <c:axPos val="b"/>
        <c:numFmt formatCode="General" sourceLinked="1"/>
        <c:majorTickMark val="cross"/>
        <c:minorTickMark val="out"/>
        <c:tickLblPos val="nextTo"/>
        <c:spPr>
          <a:noFill/>
          <a:ln w="9525" cap="flat" cmpd="sng" algn="ctr">
            <a:solidFill>
              <a:srgbClr val="000000">
                <a:lumMod val="75000"/>
                <a:lumOff val="25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882824176"/>
        <c:crosses val="autoZero"/>
        <c:auto val="1"/>
        <c:lblAlgn val="ctr"/>
        <c:lblOffset val="100"/>
        <c:tickLblSkip val="5"/>
        <c:tickMarkSkip val="2"/>
        <c:noMultiLvlLbl val="1"/>
      </c:catAx>
      <c:valAx>
        <c:axId val="1882824176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vert="horz"/>
              <a:lstStyle/>
              <a:p>
                <a:pPr>
                  <a:defRPr sz="1400"/>
                </a:pPr>
                <a:r>
                  <a:rPr lang="fi-FI" sz="1400"/>
                  <a:t>GWh</a:t>
                </a:r>
              </a:p>
            </c:rich>
          </c:tx>
          <c:layout>
            <c:manualLayout>
              <c:xMode val="edge"/>
              <c:yMode val="edge"/>
              <c:x val="8.3333333333333332E-3"/>
              <c:y val="6.6028232957366815E-3"/>
            </c:manualLayout>
          </c:layout>
          <c:overlay val="0"/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88282688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4117257217847765"/>
          <c:y val="0.58286649562063164"/>
          <c:w val="0.35874409448818895"/>
          <c:h val="0.1097511754376027"/>
        </c:manualLayout>
      </c:layout>
      <c:overlay val="0"/>
      <c:txPr>
        <a:bodyPr/>
        <a:lstStyle/>
        <a:p>
          <a:pPr>
            <a:defRPr sz="1400"/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9588012564003279E-2"/>
          <c:y val="9.3213234370927114E-2"/>
          <c:w val="0.89124177100813218"/>
          <c:h val="0.83882733305366552"/>
        </c:manualLayout>
      </c:layout>
      <c:lineChart>
        <c:grouping val="standard"/>
        <c:varyColors val="0"/>
        <c:ser>
          <c:idx val="0"/>
          <c:order val="0"/>
          <c:tx>
            <c:v>Hukkalämmöt</c:v>
          </c:tx>
          <c:spPr>
            <a:ln w="38100" cap="rnd">
              <a:solidFill>
                <a:srgbClr val="460D56"/>
              </a:solidFill>
              <a:round/>
            </a:ln>
            <a:effectLst/>
          </c:spPr>
          <c:marker>
            <c:symbol val="none"/>
          </c:marker>
          <c:cat>
            <c:numRef>
              <c:f>'Hiilineutraalien osuus'!$A$110:$A$127</c:f>
              <c:numCache>
                <c:formatCode>0</c:formatCode>
                <c:ptCount val="18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 formatCode="General">
                  <c:v>2019</c:v>
                </c:pt>
                <c:pt idx="14" formatCode="General">
                  <c:v>2020</c:v>
                </c:pt>
                <c:pt idx="15" formatCode="General">
                  <c:v>2021</c:v>
                </c:pt>
                <c:pt idx="16" formatCode="General">
                  <c:v>2022</c:v>
                </c:pt>
                <c:pt idx="17" formatCode="General">
                  <c:v>2023</c:v>
                </c:pt>
              </c:numCache>
            </c:numRef>
          </c:cat>
          <c:val>
            <c:numRef>
              <c:f>'Hiilineutraalien osuus'!$E$110:$E$127</c:f>
              <c:numCache>
                <c:formatCode>#\ ##0.0</c:formatCode>
                <c:ptCount val="18"/>
                <c:pt idx="0">
                  <c:v>730.7</c:v>
                </c:pt>
                <c:pt idx="1">
                  <c:v>777.5</c:v>
                </c:pt>
                <c:pt idx="2">
                  <c:v>986.5</c:v>
                </c:pt>
                <c:pt idx="3">
                  <c:v>1177.0999999999999</c:v>
                </c:pt>
                <c:pt idx="4">
                  <c:v>1123.1999999999998</c:v>
                </c:pt>
                <c:pt idx="5">
                  <c:v>1209.9000000000001</c:v>
                </c:pt>
                <c:pt idx="6">
                  <c:v>1283.9000000000001</c:v>
                </c:pt>
                <c:pt idx="7">
                  <c:v>1282.5</c:v>
                </c:pt>
                <c:pt idx="8">
                  <c:v>1405.9</c:v>
                </c:pt>
                <c:pt idx="9">
                  <c:v>2231.8000000000002</c:v>
                </c:pt>
                <c:pt idx="10">
                  <c:v>2970.2</c:v>
                </c:pt>
                <c:pt idx="11">
                  <c:v>3302.55</c:v>
                </c:pt>
                <c:pt idx="12">
                  <c:v>3373</c:v>
                </c:pt>
                <c:pt idx="13">
                  <c:v>3843.1</c:v>
                </c:pt>
                <c:pt idx="14">
                  <c:v>4530.6499999999996</c:v>
                </c:pt>
                <c:pt idx="15">
                  <c:v>5447.2001500000006</c:v>
                </c:pt>
                <c:pt idx="16">
                  <c:v>4982.0799000000006</c:v>
                </c:pt>
                <c:pt idx="17">
                  <c:v>6994.595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283-4F41-A811-3CE17E8A55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82826880"/>
        <c:axId val="1882824176"/>
      </c:lineChart>
      <c:catAx>
        <c:axId val="1882826880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882824176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882824176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sz="1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GWh</a:t>
                </a:r>
              </a:p>
            </c:rich>
          </c:tx>
          <c:layout>
            <c:manualLayout>
              <c:xMode val="edge"/>
              <c:yMode val="edge"/>
              <c:x val="4.7800674674793042E-3"/>
              <c:y val="8.6533295012933146E-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882826880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4">
    <c:autoUpdate val="0"/>
  </c:externalData>
  <c:userShapes r:id="rId5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1227913006886713E-2"/>
          <c:y val="9.3718732431767537E-2"/>
          <c:w val="0.90236061910748566"/>
          <c:h val="0.75183766486939652"/>
        </c:manualLayout>
      </c:layout>
      <c:barChart>
        <c:barDir val="col"/>
        <c:grouping val="clustered"/>
        <c:varyColors val="0"/>
        <c:ser>
          <c:idx val="1"/>
          <c:order val="1"/>
          <c:tx>
            <c:v>CO2-päästöt, milj. t CO2</c:v>
          </c:tx>
          <c:spPr>
            <a:solidFill>
              <a:srgbClr val="EA7911"/>
            </a:solidFill>
            <a:ln w="38100">
              <a:noFill/>
            </a:ln>
            <a:effectLst/>
          </c:spPr>
          <c:invertIfNegative val="0"/>
          <c:cat>
            <c:numRef>
              <c:f>'Päästöt 1976-2023'!$B$24:$B$36</c:f>
              <c:numCache>
                <c:formatCode>General</c:formatCode>
                <c:ptCount val="1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</c:numCache>
              <c:extLst/>
            </c:numRef>
          </c:cat>
          <c:val>
            <c:numRef>
              <c:f>'Päästöt 1976-2023'!$D$24:$D$36</c:f>
              <c:numCache>
                <c:formatCode>0.000</c:formatCode>
                <c:ptCount val="13"/>
                <c:pt idx="0">
                  <c:v>6.693571157</c:v>
                </c:pt>
                <c:pt idx="1">
                  <c:v>7.0385249000000005</c:v>
                </c:pt>
                <c:pt idx="2">
                  <c:v>5.9460124709999995</c:v>
                </c:pt>
                <c:pt idx="3">
                  <c:v>5.7351320560000003</c:v>
                </c:pt>
                <c:pt idx="4">
                  <c:v>5.1482652888000002</c:v>
                </c:pt>
                <c:pt idx="5">
                  <c:v>5.6448209426000027</c:v>
                </c:pt>
                <c:pt idx="6">
                  <c:v>5.4140405927999993</c:v>
                </c:pt>
                <c:pt idx="7">
                  <c:v>5.449568640239999</c:v>
                </c:pt>
                <c:pt idx="8">
                  <c:v>4.9956033944799998</c:v>
                </c:pt>
                <c:pt idx="9">
                  <c:v>3.7555194414799993</c:v>
                </c:pt>
                <c:pt idx="10">
                  <c:v>4.0078909992799998</c:v>
                </c:pt>
                <c:pt idx="11">
                  <c:v>4.0404238149599987</c:v>
                </c:pt>
                <c:pt idx="12">
                  <c:v>3.133352652719999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C80D-4ECE-886A-5291BD7CB2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72795048"/>
        <c:axId val="672786192"/>
      </c:barChart>
      <c:lineChart>
        <c:grouping val="standard"/>
        <c:varyColors val="0"/>
        <c:ser>
          <c:idx val="0"/>
          <c:order val="0"/>
          <c:tx>
            <c:v> Kaukolämmön tuotanto, TWh</c:v>
          </c:tx>
          <c:spPr>
            <a:ln w="38100">
              <a:solidFill>
                <a:srgbClr val="460D56"/>
              </a:solidFill>
            </a:ln>
            <a:effectLst/>
          </c:spPr>
          <c:marker>
            <c:symbol val="none"/>
          </c:marker>
          <c:cat>
            <c:numRef>
              <c:f>'Päästöt 1976-2023'!$B$24:$B$36</c:f>
              <c:numCache>
                <c:formatCode>General</c:formatCode>
                <c:ptCount val="1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</c:numCache>
              <c:extLst/>
            </c:numRef>
          </c:cat>
          <c:val>
            <c:numRef>
              <c:f>'Päästöt 1976-2023'!$C$24:$C$36</c:f>
              <c:numCache>
                <c:formatCode>0.000</c:formatCode>
                <c:ptCount val="13"/>
                <c:pt idx="0">
                  <c:v>34.0276</c:v>
                </c:pt>
                <c:pt idx="1">
                  <c:v>37.1357</c:v>
                </c:pt>
                <c:pt idx="2">
                  <c:v>34.9452</c:v>
                </c:pt>
                <c:pt idx="3">
                  <c:v>34.743699999999997</c:v>
                </c:pt>
                <c:pt idx="4">
                  <c:v>33.267499999999998</c:v>
                </c:pt>
                <c:pt idx="5">
                  <c:v>36.551099999999998</c:v>
                </c:pt>
                <c:pt idx="6">
                  <c:v>36.559199999999997</c:v>
                </c:pt>
                <c:pt idx="7">
                  <c:v>37.076799999999999</c:v>
                </c:pt>
                <c:pt idx="8">
                  <c:v>36.567300000000003</c:v>
                </c:pt>
                <c:pt idx="9">
                  <c:v>33.635399999999997</c:v>
                </c:pt>
                <c:pt idx="10">
                  <c:v>39.095799999999997</c:v>
                </c:pt>
                <c:pt idx="11">
                  <c:v>36.757799999999996</c:v>
                </c:pt>
                <c:pt idx="12">
                  <c:v>36.73925699999999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C80D-4ECE-886A-5291BD7CB2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0540576"/>
        <c:axId val="870538056"/>
      </c:lineChart>
      <c:valAx>
        <c:axId val="672786192"/>
        <c:scaling>
          <c:orientation val="minMax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 sz="1400"/>
                </a:pPr>
                <a:r>
                  <a:rPr lang="fi-FI" sz="1400"/>
                  <a:t>milj.</a:t>
                </a:r>
                <a:r>
                  <a:rPr lang="fi-FI" sz="1400" baseline="0"/>
                  <a:t> t</a:t>
                </a:r>
                <a:r>
                  <a:rPr lang="fi-FI" sz="1400"/>
                  <a:t> CO2</a:t>
                </a:r>
              </a:p>
            </c:rich>
          </c:tx>
          <c:layout>
            <c:manualLayout>
              <c:xMode val="edge"/>
              <c:yMode val="edge"/>
              <c:x val="1.3780803622680294E-2"/>
              <c:y val="1.4854787040828014E-2"/>
            </c:manualLayout>
          </c:layout>
          <c:overlay val="0"/>
        </c:title>
        <c:numFmt formatCode="0.0" sourceLinked="0"/>
        <c:majorTickMark val="out"/>
        <c:minorTickMark val="none"/>
        <c:tickLblPos val="nextTo"/>
        <c:txPr>
          <a:bodyPr/>
          <a:lstStyle/>
          <a:p>
            <a:pPr>
              <a:defRPr sz="1400" baseline="0"/>
            </a:pPr>
            <a:endParaRPr lang="fi-FI"/>
          </a:p>
        </c:txPr>
        <c:crossAx val="672795048"/>
        <c:crosses val="autoZero"/>
        <c:crossBetween val="between"/>
      </c:valAx>
      <c:catAx>
        <c:axId val="672795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fi-FI"/>
          </a:p>
        </c:txPr>
        <c:crossAx val="672786192"/>
        <c:crosses val="autoZero"/>
        <c:auto val="1"/>
        <c:lblAlgn val="ctr"/>
        <c:lblOffset val="100"/>
        <c:noMultiLvlLbl val="0"/>
      </c:catAx>
      <c:valAx>
        <c:axId val="870538056"/>
        <c:scaling>
          <c:orientation val="minMax"/>
          <c:max val="45"/>
          <c:min val="0"/>
        </c:scaling>
        <c:delete val="0"/>
        <c:axPos val="r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400" baseline="0"/>
            </a:pPr>
            <a:endParaRPr lang="fi-FI"/>
          </a:p>
        </c:txPr>
        <c:crossAx val="870540576"/>
        <c:crosses val="max"/>
        <c:crossBetween val="between"/>
      </c:valAx>
      <c:catAx>
        <c:axId val="8705405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7053805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56443400184437"/>
          <c:y val="0.93371232829081963"/>
          <c:w val="0.70215745883581748"/>
          <c:h val="6.096741531471411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2">
    <c:autoUpdate val="0"/>
  </c:externalData>
  <c:userShapes r:id="rId3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755114302280445E-2"/>
          <c:y val="0.10367606036210278"/>
          <c:w val="0.90979909953609361"/>
          <c:h val="0.79296044590422377"/>
        </c:manualLayout>
      </c:layout>
      <c:scatterChart>
        <c:scatterStyle val="lineMarker"/>
        <c:varyColors val="0"/>
        <c:ser>
          <c:idx val="0"/>
          <c:order val="0"/>
          <c:spPr>
            <a:ln w="38100" cap="rnd">
              <a:solidFill>
                <a:srgbClr val="460D56"/>
              </a:solidFill>
              <a:round/>
            </a:ln>
            <a:effectLst/>
          </c:spPr>
          <c:marker>
            <c:symbol val="none"/>
          </c:marker>
          <c:xVal>
            <c:numRef>
              <c:f>'Päästöt 1976-2023'!$B$6:$B$36</c:f>
              <c:numCache>
                <c:formatCode>General</c:formatCode>
                <c:ptCount val="31"/>
                <c:pt idx="0">
                  <c:v>1976</c:v>
                </c:pt>
                <c:pt idx="1">
                  <c:v>1980</c:v>
                </c:pt>
                <c:pt idx="2">
                  <c:v>1985</c:v>
                </c:pt>
                <c:pt idx="3">
                  <c:v>1987</c:v>
                </c:pt>
                <c:pt idx="4">
                  <c:v>1990</c:v>
                </c:pt>
                <c:pt idx="5">
                  <c:v>1995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  <c:pt idx="27">
                  <c:v>2020</c:v>
                </c:pt>
                <c:pt idx="28">
                  <c:v>2021</c:v>
                </c:pt>
                <c:pt idx="29">
                  <c:v>2022</c:v>
                </c:pt>
                <c:pt idx="30">
                  <c:v>2023</c:v>
                </c:pt>
              </c:numCache>
            </c:numRef>
          </c:xVal>
          <c:yVal>
            <c:numRef>
              <c:f>'Päästöt 1976-2023'!$F$6:$F$36</c:f>
              <c:numCache>
                <c:formatCode>0.0</c:formatCode>
                <c:ptCount val="31"/>
                <c:pt idx="0">
                  <c:v>276.10715917745625</c:v>
                </c:pt>
                <c:pt idx="1">
                  <c:v>279.3688030606292</c:v>
                </c:pt>
                <c:pt idx="2">
                  <c:v>292.28823663894923</c:v>
                </c:pt>
                <c:pt idx="3">
                  <c:v>290.71520824410089</c:v>
                </c:pt>
                <c:pt idx="4">
                  <c:v>271.67582075053684</c:v>
                </c:pt>
                <c:pt idx="5">
                  <c:v>244.16535293628789</c:v>
                </c:pt>
                <c:pt idx="6">
                  <c:v>229.78063046166241</c:v>
                </c:pt>
                <c:pt idx="7">
                  <c:v>222.1</c:v>
                </c:pt>
                <c:pt idx="8" formatCode="General">
                  <c:v>229.6</c:v>
                </c:pt>
                <c:pt idx="9">
                  <c:v>225</c:v>
                </c:pt>
                <c:pt idx="10" formatCode="General">
                  <c:v>222.6</c:v>
                </c:pt>
                <c:pt idx="11" formatCode="General">
                  <c:v>216.5</c:v>
                </c:pt>
                <c:pt idx="12" formatCode="General">
                  <c:v>207.6</c:v>
                </c:pt>
                <c:pt idx="13" formatCode="General">
                  <c:v>214.3</c:v>
                </c:pt>
                <c:pt idx="14" formatCode="General">
                  <c:v>221.3</c:v>
                </c:pt>
                <c:pt idx="15" formatCode="General">
                  <c:v>204.5</c:v>
                </c:pt>
                <c:pt idx="16" formatCode="General">
                  <c:v>206.5</c:v>
                </c:pt>
                <c:pt idx="17" formatCode="General">
                  <c:v>202.3</c:v>
                </c:pt>
                <c:pt idx="18" formatCode="General">
                  <c:v>196.6</c:v>
                </c:pt>
                <c:pt idx="19" formatCode="General">
                  <c:v>192.2</c:v>
                </c:pt>
                <c:pt idx="20" formatCode="General">
                  <c:v>178.5</c:v>
                </c:pt>
                <c:pt idx="21" formatCode="General">
                  <c:v>170.3</c:v>
                </c:pt>
                <c:pt idx="22" formatCode="General">
                  <c:v>158.80000000000001</c:v>
                </c:pt>
                <c:pt idx="23" formatCode="General">
                  <c:v>159.69999999999999</c:v>
                </c:pt>
                <c:pt idx="24">
                  <c:v>151.4</c:v>
                </c:pt>
                <c:pt idx="25">
                  <c:v>150.30000000000001</c:v>
                </c:pt>
                <c:pt idx="26" formatCode="0.00">
                  <c:v>140.69999999999999</c:v>
                </c:pt>
                <c:pt idx="27" formatCode="0.00">
                  <c:v>122.9</c:v>
                </c:pt>
                <c:pt idx="28" formatCode="0.00">
                  <c:v>110.4</c:v>
                </c:pt>
                <c:pt idx="29" formatCode="0.00">
                  <c:v>116</c:v>
                </c:pt>
                <c:pt idx="30" formatCode="0.00">
                  <c:v>85.28622809982246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F87-48C7-87D9-E6C7052C63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82826880"/>
        <c:axId val="1882824176"/>
      </c:scatterChart>
      <c:valAx>
        <c:axId val="1882826880"/>
        <c:scaling>
          <c:orientation val="minMax"/>
          <c:max val="2023"/>
          <c:min val="1976"/>
        </c:scaling>
        <c:delete val="0"/>
        <c:axPos val="b"/>
        <c:numFmt formatCode="General" sourceLinked="1"/>
        <c:majorTickMark val="cross"/>
        <c:minorTickMark val="out"/>
        <c:tickLblPos val="nextTo"/>
        <c:spPr>
          <a:noFill/>
          <a:ln w="12700" cap="flat" cmpd="sng" algn="ctr">
            <a:solidFill>
              <a:srgbClr val="000000">
                <a:lumMod val="75000"/>
                <a:lumOff val="25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882824176"/>
        <c:crosses val="autoZero"/>
        <c:crossBetween val="midCat"/>
        <c:majorUnit val="4"/>
        <c:minorUnit val="1"/>
      </c:valAx>
      <c:valAx>
        <c:axId val="1882824176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sz="1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g CO</a:t>
                </a:r>
                <a:r>
                  <a:rPr lang="fi-FI" sz="1400" b="1" baseline="-2500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2</a:t>
                </a:r>
                <a:r>
                  <a:rPr lang="fi-FI" sz="14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 /kWh</a:t>
                </a:r>
              </a:p>
            </c:rich>
          </c:tx>
          <c:layout>
            <c:manualLayout>
              <c:xMode val="edge"/>
              <c:yMode val="edge"/>
              <c:x val="8.9618422420415769E-4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8828268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9911915858563987E-2"/>
          <c:y val="6.9645086647467158E-2"/>
          <c:w val="0.9252437703141928"/>
          <c:h val="0.84530605450217244"/>
        </c:manualLayout>
      </c:layout>
      <c:stockChart>
        <c:ser>
          <c:idx val="0"/>
          <c:order val="0"/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numRef>
              <c:f>'Keskihinta+min+max'!$A$12:$A$52</c:f>
              <c:numCache>
                <c:formatCode>General</c:formatCode>
                <c:ptCount val="41"/>
                <c:pt idx="0">
                  <c:v>1983</c:v>
                </c:pt>
                <c:pt idx="1">
                  <c:v>1984</c:v>
                </c:pt>
                <c:pt idx="2">
                  <c:v>1985</c:v>
                </c:pt>
                <c:pt idx="3">
                  <c:v>1986</c:v>
                </c:pt>
                <c:pt idx="4">
                  <c:v>1987</c:v>
                </c:pt>
                <c:pt idx="5">
                  <c:v>1988</c:v>
                </c:pt>
                <c:pt idx="6">
                  <c:v>1989</c:v>
                </c:pt>
                <c:pt idx="7">
                  <c:v>1990</c:v>
                </c:pt>
                <c:pt idx="8">
                  <c:v>1991</c:v>
                </c:pt>
                <c:pt idx="9">
                  <c:v>1992</c:v>
                </c:pt>
                <c:pt idx="10">
                  <c:v>1993</c:v>
                </c:pt>
                <c:pt idx="11">
                  <c:v>1994</c:v>
                </c:pt>
                <c:pt idx="12">
                  <c:v>1995</c:v>
                </c:pt>
                <c:pt idx="13">
                  <c:v>1996</c:v>
                </c:pt>
                <c:pt idx="14">
                  <c:v>1997</c:v>
                </c:pt>
                <c:pt idx="15">
                  <c:v>1998</c:v>
                </c:pt>
                <c:pt idx="16">
                  <c:v>1999</c:v>
                </c:pt>
                <c:pt idx="17">
                  <c:v>2000</c:v>
                </c:pt>
                <c:pt idx="18">
                  <c:v>2001</c:v>
                </c:pt>
                <c:pt idx="19">
                  <c:v>2002</c:v>
                </c:pt>
                <c:pt idx="20">
                  <c:v>2003</c:v>
                </c:pt>
                <c:pt idx="21">
                  <c:v>2004</c:v>
                </c:pt>
                <c:pt idx="22">
                  <c:v>2005</c:v>
                </c:pt>
                <c:pt idx="23">
                  <c:v>2006</c:v>
                </c:pt>
                <c:pt idx="24">
                  <c:v>2007</c:v>
                </c:pt>
                <c:pt idx="25">
                  <c:v>2008</c:v>
                </c:pt>
                <c:pt idx="26">
                  <c:v>2009</c:v>
                </c:pt>
                <c:pt idx="27">
                  <c:v>2010</c:v>
                </c:pt>
                <c:pt idx="28">
                  <c:v>2011</c:v>
                </c:pt>
                <c:pt idx="29">
                  <c:v>2012</c:v>
                </c:pt>
                <c:pt idx="30">
                  <c:v>2013</c:v>
                </c:pt>
                <c:pt idx="31">
                  <c:v>2014</c:v>
                </c:pt>
                <c:pt idx="32">
                  <c:v>2015</c:v>
                </c:pt>
                <c:pt idx="33">
                  <c:v>2016</c:v>
                </c:pt>
                <c:pt idx="34">
                  <c:v>2017</c:v>
                </c:pt>
                <c:pt idx="35">
                  <c:v>2018</c:v>
                </c:pt>
                <c:pt idx="36">
                  <c:v>2019</c:v>
                </c:pt>
                <c:pt idx="37">
                  <c:v>2020</c:v>
                </c:pt>
                <c:pt idx="38">
                  <c:v>2021</c:v>
                </c:pt>
                <c:pt idx="39">
                  <c:v>2022</c:v>
                </c:pt>
                <c:pt idx="40">
                  <c:v>2023</c:v>
                </c:pt>
              </c:numCache>
              <c:extLst/>
            </c:numRef>
          </c:cat>
          <c:val>
            <c:numRef>
              <c:f>'Keskihinta+min+max'!$B$12:$B$52</c:f>
              <c:numCache>
                <c:formatCode>0.00</c:formatCode>
                <c:ptCount val="41"/>
                <c:pt idx="0">
                  <c:v>25.564564822149677</c:v>
                </c:pt>
                <c:pt idx="1">
                  <c:v>26.23731652799572</c:v>
                </c:pt>
                <c:pt idx="2">
                  <c:v>27.582819939687809</c:v>
                </c:pt>
                <c:pt idx="3">
                  <c:v>22.537182145842479</c:v>
                </c:pt>
                <c:pt idx="4">
                  <c:v>20.855302881227367</c:v>
                </c:pt>
                <c:pt idx="5">
                  <c:v>22.200806292919456</c:v>
                </c:pt>
                <c:pt idx="6">
                  <c:v>23.714497631073055</c:v>
                </c:pt>
                <c:pt idx="7">
                  <c:v>25.732752748611187</c:v>
                </c:pt>
                <c:pt idx="8">
                  <c:v>26.741880307380253</c:v>
                </c:pt>
                <c:pt idx="9">
                  <c:v>27.582819939687809</c:v>
                </c:pt>
                <c:pt idx="10">
                  <c:v>28.255571645533852</c:v>
                </c:pt>
                <c:pt idx="11">
                  <c:v>28.928323351379898</c:v>
                </c:pt>
                <c:pt idx="12">
                  <c:v>30.610202615995007</c:v>
                </c:pt>
                <c:pt idx="13">
                  <c:v>30.105638836610474</c:v>
                </c:pt>
                <c:pt idx="14">
                  <c:v>31.787518101225583</c:v>
                </c:pt>
                <c:pt idx="15">
                  <c:v>32.460269807071626</c:v>
                </c:pt>
                <c:pt idx="16">
                  <c:v>32.964833586456159</c:v>
                </c:pt>
                <c:pt idx="17">
                  <c:v>34.646712851071271</c:v>
                </c:pt>
                <c:pt idx="18">
                  <c:v>36.58</c:v>
                </c:pt>
                <c:pt idx="19">
                  <c:v>37.72</c:v>
                </c:pt>
                <c:pt idx="20">
                  <c:v>37.75</c:v>
                </c:pt>
                <c:pt idx="21">
                  <c:v>38.9</c:v>
                </c:pt>
                <c:pt idx="22">
                  <c:v>41.4</c:v>
                </c:pt>
                <c:pt idx="23">
                  <c:v>44.07</c:v>
                </c:pt>
                <c:pt idx="24">
                  <c:v>45.55</c:v>
                </c:pt>
                <c:pt idx="25">
                  <c:v>51.73</c:v>
                </c:pt>
                <c:pt idx="26">
                  <c:v>56.159213931157943</c:v>
                </c:pt>
                <c:pt idx="27">
                  <c:v>54.814938067884128</c:v>
                </c:pt>
                <c:pt idx="28">
                  <c:v>65.362260242239699</c:v>
                </c:pt>
                <c:pt idx="29">
                  <c:v>67.833850676231449</c:v>
                </c:pt>
                <c:pt idx="30">
                  <c:v>72.733595649924567</c:v>
                </c:pt>
                <c:pt idx="31">
                  <c:v>73.372709925448518</c:v>
                </c:pt>
                <c:pt idx="32">
                  <c:v>75.745181855519562</c:v>
                </c:pt>
                <c:pt idx="33">
                  <c:v>74.813747439380009</c:v>
                </c:pt>
                <c:pt idx="34">
                  <c:v>76.772663207955006</c:v>
                </c:pt>
                <c:pt idx="35">
                  <c:v>79.110896788113848</c:v>
                </c:pt>
                <c:pt idx="36">
                  <c:v>80.846433420001048</c:v>
                </c:pt>
                <c:pt idx="37">
                  <c:v>82.234345636068824</c:v>
                </c:pt>
                <c:pt idx="38">
                  <c:v>82.835346064131471</c:v>
                </c:pt>
                <c:pt idx="39">
                  <c:v>88.220123394213061</c:v>
                </c:pt>
                <c:pt idx="40">
                  <c:v>96.26014729085507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6B8A-496C-9D49-B45D7950039E}"/>
            </c:ext>
          </c:extLst>
        </c:ser>
        <c:ser>
          <c:idx val="1"/>
          <c:order val="1"/>
          <c:spPr>
            <a:ln w="28575">
              <a:noFill/>
            </a:ln>
          </c:spPr>
          <c:marker>
            <c:symbol val="dash"/>
            <c:size val="12"/>
            <c:spPr>
              <a:solidFill>
                <a:schemeClr val="accent1"/>
              </a:solidFill>
              <a:ln>
                <a:noFill/>
                <a:prstDash val="solid"/>
              </a:ln>
            </c:spPr>
          </c:marker>
          <c:cat>
            <c:numRef>
              <c:f>'Keskihinta+min+max'!$A$12:$A$52</c:f>
              <c:numCache>
                <c:formatCode>General</c:formatCode>
                <c:ptCount val="41"/>
                <c:pt idx="0">
                  <c:v>1983</c:v>
                </c:pt>
                <c:pt idx="1">
                  <c:v>1984</c:v>
                </c:pt>
                <c:pt idx="2">
                  <c:v>1985</c:v>
                </c:pt>
                <c:pt idx="3">
                  <c:v>1986</c:v>
                </c:pt>
                <c:pt idx="4">
                  <c:v>1987</c:v>
                </c:pt>
                <c:pt idx="5">
                  <c:v>1988</c:v>
                </c:pt>
                <c:pt idx="6">
                  <c:v>1989</c:v>
                </c:pt>
                <c:pt idx="7">
                  <c:v>1990</c:v>
                </c:pt>
                <c:pt idx="8">
                  <c:v>1991</c:v>
                </c:pt>
                <c:pt idx="9">
                  <c:v>1992</c:v>
                </c:pt>
                <c:pt idx="10">
                  <c:v>1993</c:v>
                </c:pt>
                <c:pt idx="11">
                  <c:v>1994</c:v>
                </c:pt>
                <c:pt idx="12">
                  <c:v>1995</c:v>
                </c:pt>
                <c:pt idx="13">
                  <c:v>1996</c:v>
                </c:pt>
                <c:pt idx="14">
                  <c:v>1997</c:v>
                </c:pt>
                <c:pt idx="15">
                  <c:v>1998</c:v>
                </c:pt>
                <c:pt idx="16">
                  <c:v>1999</c:v>
                </c:pt>
                <c:pt idx="17">
                  <c:v>2000</c:v>
                </c:pt>
                <c:pt idx="18">
                  <c:v>2001</c:v>
                </c:pt>
                <c:pt idx="19">
                  <c:v>2002</c:v>
                </c:pt>
                <c:pt idx="20">
                  <c:v>2003</c:v>
                </c:pt>
                <c:pt idx="21">
                  <c:v>2004</c:v>
                </c:pt>
                <c:pt idx="22">
                  <c:v>2005</c:v>
                </c:pt>
                <c:pt idx="23">
                  <c:v>2006</c:v>
                </c:pt>
                <c:pt idx="24">
                  <c:v>2007</c:v>
                </c:pt>
                <c:pt idx="25">
                  <c:v>2008</c:v>
                </c:pt>
                <c:pt idx="26">
                  <c:v>2009</c:v>
                </c:pt>
                <c:pt idx="27">
                  <c:v>2010</c:v>
                </c:pt>
                <c:pt idx="28">
                  <c:v>2011</c:v>
                </c:pt>
                <c:pt idx="29">
                  <c:v>2012</c:v>
                </c:pt>
                <c:pt idx="30">
                  <c:v>2013</c:v>
                </c:pt>
                <c:pt idx="31">
                  <c:v>2014</c:v>
                </c:pt>
                <c:pt idx="32">
                  <c:v>2015</c:v>
                </c:pt>
                <c:pt idx="33">
                  <c:v>2016</c:v>
                </c:pt>
                <c:pt idx="34">
                  <c:v>2017</c:v>
                </c:pt>
                <c:pt idx="35">
                  <c:v>2018</c:v>
                </c:pt>
                <c:pt idx="36">
                  <c:v>2019</c:v>
                </c:pt>
                <c:pt idx="37">
                  <c:v>2020</c:v>
                </c:pt>
                <c:pt idx="38">
                  <c:v>2021</c:v>
                </c:pt>
                <c:pt idx="39">
                  <c:v>2022</c:v>
                </c:pt>
                <c:pt idx="40">
                  <c:v>2023</c:v>
                </c:pt>
              </c:numCache>
              <c:extLst/>
            </c:numRef>
          </c:cat>
          <c:val>
            <c:numRef>
              <c:f>'Keskihinta+min+max'!$C$12:$C$52</c:f>
              <c:numCache>
                <c:formatCode>0.00</c:formatCode>
                <c:ptCount val="41"/>
                <c:pt idx="0">
                  <c:v>21.867794198525665</c:v>
                </c:pt>
                <c:pt idx="1">
                  <c:v>22.133531122334851</c:v>
                </c:pt>
                <c:pt idx="2">
                  <c:v>21.613830429568782</c:v>
                </c:pt>
                <c:pt idx="3">
                  <c:v>18.043200750790902</c:v>
                </c:pt>
                <c:pt idx="4">
                  <c:v>16.361321486175793</c:v>
                </c:pt>
                <c:pt idx="5">
                  <c:v>17.917059805944771</c:v>
                </c:pt>
                <c:pt idx="6">
                  <c:v>18.303892036806246</c:v>
                </c:pt>
                <c:pt idx="7">
                  <c:v>19.178469254406103</c:v>
                </c:pt>
                <c:pt idx="8">
                  <c:v>20.858666639756596</c:v>
                </c:pt>
                <c:pt idx="9">
                  <c:v>21.432187468990353</c:v>
                </c:pt>
                <c:pt idx="10">
                  <c:v>22.342084151147127</c:v>
                </c:pt>
                <c:pt idx="11">
                  <c:v>22.858421085383963</c:v>
                </c:pt>
                <c:pt idx="12">
                  <c:v>24.17701442884221</c:v>
                </c:pt>
                <c:pt idx="13">
                  <c:v>23.480716413291557</c:v>
                </c:pt>
                <c:pt idx="14">
                  <c:v>25.201278900992815</c:v>
                </c:pt>
                <c:pt idx="15">
                  <c:v>25.929532622571152</c:v>
                </c:pt>
                <c:pt idx="16">
                  <c:v>26.14144940991266</c:v>
                </c:pt>
                <c:pt idx="17">
                  <c:v>28.063837409367732</c:v>
                </c:pt>
                <c:pt idx="18">
                  <c:v>30.64</c:v>
                </c:pt>
                <c:pt idx="19">
                  <c:v>31.08</c:v>
                </c:pt>
                <c:pt idx="20">
                  <c:v>29.89</c:v>
                </c:pt>
                <c:pt idx="21">
                  <c:v>32.450000000000003</c:v>
                </c:pt>
                <c:pt idx="22">
                  <c:v>32.869999999999997</c:v>
                </c:pt>
                <c:pt idx="23">
                  <c:v>34.03</c:v>
                </c:pt>
                <c:pt idx="24">
                  <c:v>37.409999999999997</c:v>
                </c:pt>
                <c:pt idx="25">
                  <c:v>36.54</c:v>
                </c:pt>
                <c:pt idx="26" formatCode="General">
                  <c:v>40.96</c:v>
                </c:pt>
                <c:pt idx="27" formatCode="General">
                  <c:v>44.48</c:v>
                </c:pt>
                <c:pt idx="28" formatCode="General">
                  <c:v>43.55</c:v>
                </c:pt>
                <c:pt idx="29" formatCode="General">
                  <c:v>44.43</c:v>
                </c:pt>
                <c:pt idx="30" formatCode="General">
                  <c:v>49.76</c:v>
                </c:pt>
                <c:pt idx="31" formatCode="General">
                  <c:v>46.98</c:v>
                </c:pt>
                <c:pt idx="32">
                  <c:v>48.73</c:v>
                </c:pt>
                <c:pt idx="33">
                  <c:v>48.3</c:v>
                </c:pt>
                <c:pt idx="34">
                  <c:v>48.07</c:v>
                </c:pt>
                <c:pt idx="35">
                  <c:v>48.268148148148143</c:v>
                </c:pt>
                <c:pt idx="36">
                  <c:v>48.171193415637859</c:v>
                </c:pt>
                <c:pt idx="37">
                  <c:v>48.433266443701221</c:v>
                </c:pt>
                <c:pt idx="38">
                  <c:v>47.711762376237623</c:v>
                </c:pt>
                <c:pt idx="39">
                  <c:v>47.752182006204748</c:v>
                </c:pt>
                <c:pt idx="40">
                  <c:v>47.34329501915708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6B8A-496C-9D49-B45D7950039E}"/>
            </c:ext>
          </c:extLst>
        </c:ser>
        <c:ser>
          <c:idx val="2"/>
          <c:order val="2"/>
          <c:spPr>
            <a:ln w="28575">
              <a:noFill/>
            </a:ln>
          </c:spPr>
          <c:marker>
            <c:symbol val="dash"/>
            <c:size val="12"/>
            <c:spPr>
              <a:solidFill>
                <a:schemeClr val="accent1"/>
              </a:solidFill>
              <a:ln w="0">
                <a:solidFill>
                  <a:schemeClr val="accent1"/>
                </a:solidFill>
                <a:prstDash val="solid"/>
              </a:ln>
            </c:spPr>
          </c:marker>
          <c:cat>
            <c:numRef>
              <c:f>'Keskihinta+min+max'!$A$12:$A$52</c:f>
              <c:numCache>
                <c:formatCode>General</c:formatCode>
                <c:ptCount val="41"/>
                <c:pt idx="0">
                  <c:v>1983</c:v>
                </c:pt>
                <c:pt idx="1">
                  <c:v>1984</c:v>
                </c:pt>
                <c:pt idx="2">
                  <c:v>1985</c:v>
                </c:pt>
                <c:pt idx="3">
                  <c:v>1986</c:v>
                </c:pt>
                <c:pt idx="4">
                  <c:v>1987</c:v>
                </c:pt>
                <c:pt idx="5">
                  <c:v>1988</c:v>
                </c:pt>
                <c:pt idx="6">
                  <c:v>1989</c:v>
                </c:pt>
                <c:pt idx="7">
                  <c:v>1990</c:v>
                </c:pt>
                <c:pt idx="8">
                  <c:v>1991</c:v>
                </c:pt>
                <c:pt idx="9">
                  <c:v>1992</c:v>
                </c:pt>
                <c:pt idx="10">
                  <c:v>1993</c:v>
                </c:pt>
                <c:pt idx="11">
                  <c:v>1994</c:v>
                </c:pt>
                <c:pt idx="12">
                  <c:v>1995</c:v>
                </c:pt>
                <c:pt idx="13">
                  <c:v>1996</c:v>
                </c:pt>
                <c:pt idx="14">
                  <c:v>1997</c:v>
                </c:pt>
                <c:pt idx="15">
                  <c:v>1998</c:v>
                </c:pt>
                <c:pt idx="16">
                  <c:v>1999</c:v>
                </c:pt>
                <c:pt idx="17">
                  <c:v>2000</c:v>
                </c:pt>
                <c:pt idx="18">
                  <c:v>2001</c:v>
                </c:pt>
                <c:pt idx="19">
                  <c:v>2002</c:v>
                </c:pt>
                <c:pt idx="20">
                  <c:v>2003</c:v>
                </c:pt>
                <c:pt idx="21">
                  <c:v>2004</c:v>
                </c:pt>
                <c:pt idx="22">
                  <c:v>2005</c:v>
                </c:pt>
                <c:pt idx="23">
                  <c:v>2006</c:v>
                </c:pt>
                <c:pt idx="24">
                  <c:v>2007</c:v>
                </c:pt>
                <c:pt idx="25">
                  <c:v>2008</c:v>
                </c:pt>
                <c:pt idx="26">
                  <c:v>2009</c:v>
                </c:pt>
                <c:pt idx="27">
                  <c:v>2010</c:v>
                </c:pt>
                <c:pt idx="28">
                  <c:v>2011</c:v>
                </c:pt>
                <c:pt idx="29">
                  <c:v>2012</c:v>
                </c:pt>
                <c:pt idx="30">
                  <c:v>2013</c:v>
                </c:pt>
                <c:pt idx="31">
                  <c:v>2014</c:v>
                </c:pt>
                <c:pt idx="32">
                  <c:v>2015</c:v>
                </c:pt>
                <c:pt idx="33">
                  <c:v>2016</c:v>
                </c:pt>
                <c:pt idx="34">
                  <c:v>2017</c:v>
                </c:pt>
                <c:pt idx="35">
                  <c:v>2018</c:v>
                </c:pt>
                <c:pt idx="36">
                  <c:v>2019</c:v>
                </c:pt>
                <c:pt idx="37">
                  <c:v>2020</c:v>
                </c:pt>
                <c:pt idx="38">
                  <c:v>2021</c:v>
                </c:pt>
                <c:pt idx="39">
                  <c:v>2022</c:v>
                </c:pt>
                <c:pt idx="40">
                  <c:v>2023</c:v>
                </c:pt>
              </c:numCache>
              <c:extLst/>
            </c:numRef>
          </c:cat>
          <c:val>
            <c:numRef>
              <c:f>'Keskihinta+min+max'!$D$12:$D$52</c:f>
              <c:numCache>
                <c:formatCode>0.00</c:formatCode>
                <c:ptCount val="41"/>
                <c:pt idx="0">
                  <c:v>47.513089225376866</c:v>
                </c:pt>
                <c:pt idx="1">
                  <c:v>49.820627576428798</c:v>
                </c:pt>
                <c:pt idx="2">
                  <c:v>42.154621888313123</c:v>
                </c:pt>
                <c:pt idx="3">
                  <c:v>42.793736008866865</c:v>
                </c:pt>
                <c:pt idx="4">
                  <c:v>42.475860827854611</c:v>
                </c:pt>
                <c:pt idx="5">
                  <c:v>41.374229909531714</c:v>
                </c:pt>
                <c:pt idx="6">
                  <c:v>43.875184376014381</c:v>
                </c:pt>
                <c:pt idx="7">
                  <c:v>44.134193782765117</c:v>
                </c:pt>
                <c:pt idx="8">
                  <c:v>44.569800512300425</c:v>
                </c:pt>
                <c:pt idx="9">
                  <c:v>44.376384396869689</c:v>
                </c:pt>
                <c:pt idx="10">
                  <c:v>49.02341680500124</c:v>
                </c:pt>
                <c:pt idx="11">
                  <c:v>49.718032941287277</c:v>
                </c:pt>
                <c:pt idx="12">
                  <c:v>48.794681225013584</c:v>
                </c:pt>
                <c:pt idx="13">
                  <c:v>51.941477329108451</c:v>
                </c:pt>
                <c:pt idx="14">
                  <c:v>57.168758083532218</c:v>
                </c:pt>
                <c:pt idx="15">
                  <c:v>49.982087985831846</c:v>
                </c:pt>
                <c:pt idx="16">
                  <c:v>55.343919081424822</c:v>
                </c:pt>
                <c:pt idx="17">
                  <c:v>57.217532582206047</c:v>
                </c:pt>
                <c:pt idx="18">
                  <c:v>56.83</c:v>
                </c:pt>
                <c:pt idx="19">
                  <c:v>54.97</c:v>
                </c:pt>
                <c:pt idx="20">
                  <c:v>63.9</c:v>
                </c:pt>
                <c:pt idx="21">
                  <c:v>56.23</c:v>
                </c:pt>
                <c:pt idx="22">
                  <c:v>60.03</c:v>
                </c:pt>
                <c:pt idx="23">
                  <c:v>74.73</c:v>
                </c:pt>
                <c:pt idx="24">
                  <c:v>68.42</c:v>
                </c:pt>
                <c:pt idx="25">
                  <c:v>80.36</c:v>
                </c:pt>
                <c:pt idx="26" formatCode="General">
                  <c:v>85.07</c:v>
                </c:pt>
                <c:pt idx="27" formatCode="General">
                  <c:v>82.55</c:v>
                </c:pt>
                <c:pt idx="28" formatCode="General">
                  <c:v>100.31</c:v>
                </c:pt>
                <c:pt idx="29" formatCode="General">
                  <c:v>110.81</c:v>
                </c:pt>
                <c:pt idx="30" formatCode="General">
                  <c:v>123.96</c:v>
                </c:pt>
                <c:pt idx="31" formatCode="General">
                  <c:v>125.15</c:v>
                </c:pt>
                <c:pt idx="32">
                  <c:v>125.11</c:v>
                </c:pt>
                <c:pt idx="33">
                  <c:v>118.5</c:v>
                </c:pt>
                <c:pt idx="34">
                  <c:v>126.39</c:v>
                </c:pt>
                <c:pt idx="35">
                  <c:v>106.69585585585585</c:v>
                </c:pt>
                <c:pt idx="36">
                  <c:v>109.72661870503597</c:v>
                </c:pt>
                <c:pt idx="37">
                  <c:v>119.72413793103448</c:v>
                </c:pt>
                <c:pt idx="38">
                  <c:v>115.32867132867132</c:v>
                </c:pt>
                <c:pt idx="39">
                  <c:v>120.67536231884057</c:v>
                </c:pt>
                <c:pt idx="40">
                  <c:v>130.7694814814814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6B8A-496C-9D49-B45D795003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2700">
              <a:solidFill>
                <a:schemeClr val="accent1"/>
              </a:solidFill>
              <a:prstDash val="dash"/>
            </a:ln>
          </c:spPr>
        </c:hiLowLines>
        <c:axId val="44792448"/>
        <c:axId val="44802432"/>
      </c:stockChart>
      <c:catAx>
        <c:axId val="44792448"/>
        <c:scaling>
          <c:orientation val="minMax"/>
        </c:scaling>
        <c:delete val="0"/>
        <c:axPos val="b"/>
        <c:numFmt formatCode="General" sourceLinked="1"/>
        <c:majorTickMark val="cross"/>
        <c:minorTickMark val="out"/>
        <c:tickLblPos val="nextTo"/>
        <c:spPr>
          <a:ln w="6350">
            <a:solidFill>
              <a:schemeClr val="tx1">
                <a:lumMod val="75000"/>
                <a:lumOff val="25000"/>
              </a:schemeClr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/>
                <a:cs typeface="Verdana"/>
              </a:defRPr>
            </a:pPr>
            <a:endParaRPr lang="fi-FI"/>
          </a:p>
        </c:txPr>
        <c:crossAx val="44802432"/>
        <c:crosses val="autoZero"/>
        <c:auto val="1"/>
        <c:lblAlgn val="ctr"/>
        <c:lblOffset val="100"/>
        <c:tickLblSkip val="4"/>
        <c:tickMarkSkip val="2"/>
        <c:noMultiLvlLbl val="0"/>
      </c:catAx>
      <c:valAx>
        <c:axId val="44802432"/>
        <c:scaling>
          <c:orientation val="minMax"/>
          <c:min val="0"/>
        </c:scaling>
        <c:delete val="0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  <a:prstDash val="solid"/>
            </a:ln>
          </c:spPr>
        </c:majorGridlines>
        <c:title>
          <c:tx>
            <c:rich>
              <a:bodyPr rot="0" vert="horz"/>
              <a:lstStyle/>
              <a:p>
                <a:pPr algn="ctr">
                  <a:defRPr sz="1400" b="1" i="0" u="none" strike="noStrike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Verdana"/>
                    <a:cs typeface="Verdana"/>
                  </a:defRPr>
                </a:pPr>
                <a:r>
                  <a:rPr lang="fi-FI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€/MWh</a:t>
                </a:r>
              </a:p>
            </c:rich>
          </c:tx>
          <c:layout>
            <c:manualLayout>
              <c:xMode val="edge"/>
              <c:yMode val="edge"/>
              <c:x val="3.5387376505577904E-2"/>
              <c:y val="1.155199680378219E-2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cross"/>
        <c:minorTickMark val="none"/>
        <c:tickLblPos val="nextTo"/>
        <c:spPr>
          <a:ln w="3175">
            <a:noFill/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/>
                <a:cs typeface="Verdana"/>
              </a:defRPr>
            </a:pPr>
            <a:endParaRPr lang="fi-FI"/>
          </a:p>
        </c:txPr>
        <c:crossAx val="44792448"/>
        <c:crosses val="autoZero"/>
        <c:crossBetween val="midCat"/>
        <c:majorUnit val="20"/>
      </c:valAx>
      <c:spPr>
        <a:solidFill>
          <a:srgbClr val="FFFFFF"/>
        </a:solidFill>
        <a:ln w="3175">
          <a:noFill/>
          <a:prstDash val="solid"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400" b="0" i="0" u="none" strike="noStrike" baseline="0">
          <a:solidFill>
            <a:srgbClr val="000000"/>
          </a:solidFill>
          <a:latin typeface="Verdana"/>
          <a:ea typeface="Verdana"/>
          <a:cs typeface="Verdana"/>
        </a:defRPr>
      </a:pPr>
      <a:endParaRPr lang="fi-F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7955650058790498E-2"/>
          <c:y val="8.0629262961954787E-2"/>
          <c:w val="0.89337154626012083"/>
          <c:h val="0.763537226044964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arkkina!$B$52</c:f>
              <c:strCache>
                <c:ptCount val="1"/>
                <c:pt idx="0">
                  <c:v> Mitattu käyttö (TWh/a)</c:v>
                </c:pt>
              </c:strCache>
            </c:strRef>
          </c:tx>
          <c:spPr>
            <a:solidFill>
              <a:srgbClr val="EA7911"/>
            </a:solidFill>
            <a:ln w="12700">
              <a:solidFill>
                <a:srgbClr val="FFFFFF"/>
              </a:solidFill>
            </a:ln>
            <a:effectLst/>
          </c:spPr>
          <c:invertIfNegative val="0"/>
          <c:cat>
            <c:numRef>
              <c:f>Markkina!$A$54:$A$101</c:f>
              <c:numCache>
                <c:formatCode>General</c:formatCode>
                <c:ptCount val="48"/>
                <c:pt idx="0">
                  <c:v>1976</c:v>
                </c:pt>
                <c:pt idx="1">
                  <c:v>1977</c:v>
                </c:pt>
                <c:pt idx="2">
                  <c:v>1978</c:v>
                </c:pt>
                <c:pt idx="3">
                  <c:v>1979</c:v>
                </c:pt>
                <c:pt idx="4">
                  <c:v>1980</c:v>
                </c:pt>
                <c:pt idx="5">
                  <c:v>1981</c:v>
                </c:pt>
                <c:pt idx="6">
                  <c:v>1982</c:v>
                </c:pt>
                <c:pt idx="7">
                  <c:v>1983</c:v>
                </c:pt>
                <c:pt idx="8">
                  <c:v>1984</c:v>
                </c:pt>
                <c:pt idx="9">
                  <c:v>1985</c:v>
                </c:pt>
                <c:pt idx="10">
                  <c:v>1986</c:v>
                </c:pt>
                <c:pt idx="11">
                  <c:v>1987</c:v>
                </c:pt>
                <c:pt idx="12">
                  <c:v>1988</c:v>
                </c:pt>
                <c:pt idx="13">
                  <c:v>1989</c:v>
                </c:pt>
                <c:pt idx="14">
                  <c:v>1990</c:v>
                </c:pt>
                <c:pt idx="15">
                  <c:v>1991</c:v>
                </c:pt>
                <c:pt idx="16">
                  <c:v>1992</c:v>
                </c:pt>
                <c:pt idx="17">
                  <c:v>1993</c:v>
                </c:pt>
                <c:pt idx="18">
                  <c:v>1994</c:v>
                </c:pt>
                <c:pt idx="19">
                  <c:v>1995</c:v>
                </c:pt>
                <c:pt idx="20">
                  <c:v>1996</c:v>
                </c:pt>
                <c:pt idx="21">
                  <c:v>1997</c:v>
                </c:pt>
                <c:pt idx="22">
                  <c:v>1998</c:v>
                </c:pt>
                <c:pt idx="23">
                  <c:v>1999</c:v>
                </c:pt>
                <c:pt idx="24">
                  <c:v>2000</c:v>
                </c:pt>
                <c:pt idx="25">
                  <c:v>2001</c:v>
                </c:pt>
                <c:pt idx="26">
                  <c:v>2002</c:v>
                </c:pt>
                <c:pt idx="27">
                  <c:v>2003</c:v>
                </c:pt>
                <c:pt idx="28">
                  <c:v>2004</c:v>
                </c:pt>
                <c:pt idx="29">
                  <c:v>2005</c:v>
                </c:pt>
                <c:pt idx="30">
                  <c:v>2006</c:v>
                </c:pt>
                <c:pt idx="31">
                  <c:v>2007</c:v>
                </c:pt>
                <c:pt idx="32">
                  <c:v>2008</c:v>
                </c:pt>
                <c:pt idx="33">
                  <c:v>2009</c:v>
                </c:pt>
                <c:pt idx="34">
                  <c:v>2010</c:v>
                </c:pt>
                <c:pt idx="35">
                  <c:v>2011</c:v>
                </c:pt>
                <c:pt idx="36">
                  <c:v>2012</c:v>
                </c:pt>
                <c:pt idx="37">
                  <c:v>2013</c:v>
                </c:pt>
                <c:pt idx="38">
                  <c:v>2014</c:v>
                </c:pt>
                <c:pt idx="39">
                  <c:v>2015</c:v>
                </c:pt>
                <c:pt idx="40">
                  <c:v>2016</c:v>
                </c:pt>
                <c:pt idx="41">
                  <c:v>2017</c:v>
                </c:pt>
                <c:pt idx="42">
                  <c:v>2018</c:v>
                </c:pt>
                <c:pt idx="43">
                  <c:v>2019</c:v>
                </c:pt>
                <c:pt idx="44">
                  <c:v>2020</c:v>
                </c:pt>
                <c:pt idx="45">
                  <c:v>2021</c:v>
                </c:pt>
                <c:pt idx="46">
                  <c:v>2022</c:v>
                </c:pt>
                <c:pt idx="47">
                  <c:v>2023</c:v>
                </c:pt>
              </c:numCache>
            </c:numRef>
          </c:cat>
          <c:val>
            <c:numRef>
              <c:f>Markkina!$B$54:$B$101</c:f>
              <c:numCache>
                <c:formatCode>0.000</c:formatCode>
                <c:ptCount val="48"/>
                <c:pt idx="0">
                  <c:v>9.6310000000000002</c:v>
                </c:pt>
                <c:pt idx="1">
                  <c:v>10.417</c:v>
                </c:pt>
                <c:pt idx="2">
                  <c:v>11.836</c:v>
                </c:pt>
                <c:pt idx="3">
                  <c:v>12.196</c:v>
                </c:pt>
                <c:pt idx="4">
                  <c:v>13.304</c:v>
                </c:pt>
                <c:pt idx="5">
                  <c:v>14.252000000000001</c:v>
                </c:pt>
                <c:pt idx="6">
                  <c:v>15.135999999999999</c:v>
                </c:pt>
                <c:pt idx="7">
                  <c:v>16.184000000000001</c:v>
                </c:pt>
                <c:pt idx="8">
                  <c:v>17.465</c:v>
                </c:pt>
                <c:pt idx="9">
                  <c:v>21.651</c:v>
                </c:pt>
                <c:pt idx="10">
                  <c:v>20.995000000000001</c:v>
                </c:pt>
                <c:pt idx="11">
                  <c:v>23.52</c:v>
                </c:pt>
                <c:pt idx="12">
                  <c:v>22.24</c:v>
                </c:pt>
                <c:pt idx="13">
                  <c:v>20.85</c:v>
                </c:pt>
                <c:pt idx="14">
                  <c:v>22.265999999999998</c:v>
                </c:pt>
                <c:pt idx="15">
                  <c:v>23.49</c:v>
                </c:pt>
                <c:pt idx="16">
                  <c:v>23.57</c:v>
                </c:pt>
                <c:pt idx="17">
                  <c:v>24.65</c:v>
                </c:pt>
                <c:pt idx="18">
                  <c:v>25.34</c:v>
                </c:pt>
                <c:pt idx="19">
                  <c:v>24.845700000000001</c:v>
                </c:pt>
                <c:pt idx="20">
                  <c:v>26.667999999999999</c:v>
                </c:pt>
                <c:pt idx="21">
                  <c:v>26.3584</c:v>
                </c:pt>
                <c:pt idx="22">
                  <c:v>27.5242</c:v>
                </c:pt>
                <c:pt idx="23">
                  <c:v>26.9206</c:v>
                </c:pt>
                <c:pt idx="24">
                  <c:v>25.6435</c:v>
                </c:pt>
                <c:pt idx="25">
                  <c:v>28.373899999999999</c:v>
                </c:pt>
                <c:pt idx="26">
                  <c:v>29.610700000000001</c:v>
                </c:pt>
                <c:pt idx="27">
                  <c:v>30.545500000000001</c:v>
                </c:pt>
                <c:pt idx="28">
                  <c:v>29.503</c:v>
                </c:pt>
                <c:pt idx="29">
                  <c:v>29.280999999999999</c:v>
                </c:pt>
                <c:pt idx="30">
                  <c:v>30.1203</c:v>
                </c:pt>
                <c:pt idx="31">
                  <c:v>30.101299999999998</c:v>
                </c:pt>
                <c:pt idx="32">
                  <c:v>29.317499999999999</c:v>
                </c:pt>
                <c:pt idx="33">
                  <c:v>32.413899999999998</c:v>
                </c:pt>
                <c:pt idx="34">
                  <c:v>35.8949</c:v>
                </c:pt>
                <c:pt idx="35">
                  <c:v>31.192399999999999</c:v>
                </c:pt>
                <c:pt idx="36">
                  <c:v>34.0488</c:v>
                </c:pt>
                <c:pt idx="37">
                  <c:v>31.709700000000002</c:v>
                </c:pt>
                <c:pt idx="38">
                  <c:v>31.557099999999998</c:v>
                </c:pt>
                <c:pt idx="39">
                  <c:v>30.043099999999999</c:v>
                </c:pt>
                <c:pt idx="40">
                  <c:v>33.224699999999999</c:v>
                </c:pt>
                <c:pt idx="41">
                  <c:v>33.023499999999999</c:v>
                </c:pt>
                <c:pt idx="42">
                  <c:v>33.453200000000002</c:v>
                </c:pt>
                <c:pt idx="43">
                  <c:v>33.186799999999998</c:v>
                </c:pt>
                <c:pt idx="44">
                  <c:v>30.092700000000001</c:v>
                </c:pt>
                <c:pt idx="45">
                  <c:v>35.310499999999998</c:v>
                </c:pt>
                <c:pt idx="46">
                  <c:v>32.976899999999986</c:v>
                </c:pt>
                <c:pt idx="47">
                  <c:v>33.2274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9A-422F-A8D6-2F6FE8A113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axId val="1922533488"/>
        <c:axId val="2012567552"/>
      </c:barChart>
      <c:lineChart>
        <c:grouping val="standard"/>
        <c:varyColors val="0"/>
        <c:ser>
          <c:idx val="1"/>
          <c:order val="1"/>
          <c:tx>
            <c:strRef>
              <c:f>Markkina!$C$52</c:f>
              <c:strCache>
                <c:ptCount val="1"/>
                <c:pt idx="0">
                  <c:v> Sopimusteho (GW)</c:v>
                </c:pt>
              </c:strCache>
            </c:strRef>
          </c:tx>
          <c:spPr>
            <a:ln w="50800" cap="rnd">
              <a:solidFill>
                <a:srgbClr val="460D56"/>
              </a:solidFill>
              <a:round/>
            </a:ln>
            <a:effectLst/>
          </c:spPr>
          <c:marker>
            <c:symbol val="none"/>
          </c:marker>
          <c:cat>
            <c:numRef>
              <c:f>Markkina!$A$54:$A$101</c:f>
              <c:numCache>
                <c:formatCode>General</c:formatCode>
                <c:ptCount val="48"/>
                <c:pt idx="0">
                  <c:v>1976</c:v>
                </c:pt>
                <c:pt idx="1">
                  <c:v>1977</c:v>
                </c:pt>
                <c:pt idx="2">
                  <c:v>1978</c:v>
                </c:pt>
                <c:pt idx="3">
                  <c:v>1979</c:v>
                </c:pt>
                <c:pt idx="4">
                  <c:v>1980</c:v>
                </c:pt>
                <c:pt idx="5">
                  <c:v>1981</c:v>
                </c:pt>
                <c:pt idx="6">
                  <c:v>1982</c:v>
                </c:pt>
                <c:pt idx="7">
                  <c:v>1983</c:v>
                </c:pt>
                <c:pt idx="8">
                  <c:v>1984</c:v>
                </c:pt>
                <c:pt idx="9">
                  <c:v>1985</c:v>
                </c:pt>
                <c:pt idx="10">
                  <c:v>1986</c:v>
                </c:pt>
                <c:pt idx="11">
                  <c:v>1987</c:v>
                </c:pt>
                <c:pt idx="12">
                  <c:v>1988</c:v>
                </c:pt>
                <c:pt idx="13">
                  <c:v>1989</c:v>
                </c:pt>
                <c:pt idx="14">
                  <c:v>1990</c:v>
                </c:pt>
                <c:pt idx="15">
                  <c:v>1991</c:v>
                </c:pt>
                <c:pt idx="16">
                  <c:v>1992</c:v>
                </c:pt>
                <c:pt idx="17">
                  <c:v>1993</c:v>
                </c:pt>
                <c:pt idx="18">
                  <c:v>1994</c:v>
                </c:pt>
                <c:pt idx="19">
                  <c:v>1995</c:v>
                </c:pt>
                <c:pt idx="20">
                  <c:v>1996</c:v>
                </c:pt>
                <c:pt idx="21">
                  <c:v>1997</c:v>
                </c:pt>
                <c:pt idx="22">
                  <c:v>1998</c:v>
                </c:pt>
                <c:pt idx="23">
                  <c:v>1999</c:v>
                </c:pt>
                <c:pt idx="24">
                  <c:v>2000</c:v>
                </c:pt>
                <c:pt idx="25">
                  <c:v>2001</c:v>
                </c:pt>
                <c:pt idx="26">
                  <c:v>2002</c:v>
                </c:pt>
                <c:pt idx="27">
                  <c:v>2003</c:v>
                </c:pt>
                <c:pt idx="28">
                  <c:v>2004</c:v>
                </c:pt>
                <c:pt idx="29">
                  <c:v>2005</c:v>
                </c:pt>
                <c:pt idx="30">
                  <c:v>2006</c:v>
                </c:pt>
                <c:pt idx="31">
                  <c:v>2007</c:v>
                </c:pt>
                <c:pt idx="32">
                  <c:v>2008</c:v>
                </c:pt>
                <c:pt idx="33">
                  <c:v>2009</c:v>
                </c:pt>
                <c:pt idx="34">
                  <c:v>2010</c:v>
                </c:pt>
                <c:pt idx="35">
                  <c:v>2011</c:v>
                </c:pt>
                <c:pt idx="36">
                  <c:v>2012</c:v>
                </c:pt>
                <c:pt idx="37">
                  <c:v>2013</c:v>
                </c:pt>
                <c:pt idx="38">
                  <c:v>2014</c:v>
                </c:pt>
                <c:pt idx="39">
                  <c:v>2015</c:v>
                </c:pt>
                <c:pt idx="40">
                  <c:v>2016</c:v>
                </c:pt>
                <c:pt idx="41">
                  <c:v>2017</c:v>
                </c:pt>
                <c:pt idx="42">
                  <c:v>2018</c:v>
                </c:pt>
                <c:pt idx="43">
                  <c:v>2019</c:v>
                </c:pt>
                <c:pt idx="44">
                  <c:v>2020</c:v>
                </c:pt>
                <c:pt idx="45">
                  <c:v>2021</c:v>
                </c:pt>
                <c:pt idx="46">
                  <c:v>2022</c:v>
                </c:pt>
                <c:pt idx="47">
                  <c:v>2023</c:v>
                </c:pt>
              </c:numCache>
            </c:numRef>
          </c:cat>
          <c:val>
            <c:numRef>
              <c:f>Markkina!$C$54:$C$101</c:f>
              <c:numCache>
                <c:formatCode>0.000</c:formatCode>
                <c:ptCount val="48"/>
                <c:pt idx="0">
                  <c:v>4.25</c:v>
                </c:pt>
                <c:pt idx="1">
                  <c:v>4.7850000000000001</c:v>
                </c:pt>
                <c:pt idx="2">
                  <c:v>5.28</c:v>
                </c:pt>
                <c:pt idx="3">
                  <c:v>5.819</c:v>
                </c:pt>
                <c:pt idx="4">
                  <c:v>6.5469999999999997</c:v>
                </c:pt>
                <c:pt idx="5">
                  <c:v>7.3760000000000003</c:v>
                </c:pt>
                <c:pt idx="6">
                  <c:v>8.1140000000000008</c:v>
                </c:pt>
                <c:pt idx="7">
                  <c:v>8.8420000000000005</c:v>
                </c:pt>
                <c:pt idx="8">
                  <c:v>9.5</c:v>
                </c:pt>
                <c:pt idx="9">
                  <c:v>10.067</c:v>
                </c:pt>
                <c:pt idx="10">
                  <c:v>10.454000000000001</c:v>
                </c:pt>
                <c:pt idx="11">
                  <c:v>10.85</c:v>
                </c:pt>
                <c:pt idx="12">
                  <c:v>11.35</c:v>
                </c:pt>
                <c:pt idx="13">
                  <c:v>11.6</c:v>
                </c:pt>
                <c:pt idx="14">
                  <c:v>12.025</c:v>
                </c:pt>
                <c:pt idx="15">
                  <c:v>12.29</c:v>
                </c:pt>
                <c:pt idx="16">
                  <c:v>12.47</c:v>
                </c:pt>
                <c:pt idx="17">
                  <c:v>12.47</c:v>
                </c:pt>
                <c:pt idx="18">
                  <c:v>12.72</c:v>
                </c:pt>
                <c:pt idx="19">
                  <c:v>12.806100000000001</c:v>
                </c:pt>
                <c:pt idx="20">
                  <c:v>12.9709</c:v>
                </c:pt>
                <c:pt idx="21">
                  <c:v>13.2798</c:v>
                </c:pt>
                <c:pt idx="22">
                  <c:v>13.598699999999999</c:v>
                </c:pt>
                <c:pt idx="23">
                  <c:v>13.821099999999999</c:v>
                </c:pt>
                <c:pt idx="24">
                  <c:v>14.156499999999999</c:v>
                </c:pt>
                <c:pt idx="25">
                  <c:v>14.6058</c:v>
                </c:pt>
                <c:pt idx="26">
                  <c:v>14.91</c:v>
                </c:pt>
                <c:pt idx="27">
                  <c:v>15.331899999999999</c:v>
                </c:pt>
                <c:pt idx="28">
                  <c:v>15.395300000000001</c:v>
                </c:pt>
                <c:pt idx="29">
                  <c:v>15.551500000000001</c:v>
                </c:pt>
                <c:pt idx="30">
                  <c:v>15.9727</c:v>
                </c:pt>
                <c:pt idx="31">
                  <c:v>16.373100000000001</c:v>
                </c:pt>
                <c:pt idx="32">
                  <c:v>16.646599999999999</c:v>
                </c:pt>
                <c:pt idx="33">
                  <c:v>17.178000000000001</c:v>
                </c:pt>
                <c:pt idx="34">
                  <c:v>17.798400000000001</c:v>
                </c:pt>
                <c:pt idx="35">
                  <c:v>18.213299999999997</c:v>
                </c:pt>
                <c:pt idx="36">
                  <c:v>18.457999999999998</c:v>
                </c:pt>
                <c:pt idx="37">
                  <c:v>18.568000000000001</c:v>
                </c:pt>
                <c:pt idx="38">
                  <c:v>18.628299999999999</c:v>
                </c:pt>
                <c:pt idx="39">
                  <c:v>18.861699999999999</c:v>
                </c:pt>
                <c:pt idx="40">
                  <c:v>18.890799999999999</c:v>
                </c:pt>
                <c:pt idx="41">
                  <c:v>19.064</c:v>
                </c:pt>
                <c:pt idx="42">
                  <c:v>19.034600000000001</c:v>
                </c:pt>
                <c:pt idx="43">
                  <c:v>19.0914</c:v>
                </c:pt>
                <c:pt idx="44">
                  <c:v>19.187900000000003</c:v>
                </c:pt>
                <c:pt idx="45">
                  <c:v>19.200400000000005</c:v>
                </c:pt>
                <c:pt idx="46">
                  <c:v>19.354800000000012</c:v>
                </c:pt>
                <c:pt idx="47">
                  <c:v>19.4886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49A-422F-A8D6-2F6FE8A113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53161960"/>
        <c:axId val="853165240"/>
      </c:lineChart>
      <c:catAx>
        <c:axId val="1922533488"/>
        <c:scaling>
          <c:orientation val="minMax"/>
        </c:scaling>
        <c:delete val="0"/>
        <c:axPos val="b"/>
        <c:numFmt formatCode="@" sourceLinked="0"/>
        <c:majorTickMark val="out"/>
        <c:minorTickMark val="none"/>
        <c:tickLblPos val="nextTo"/>
        <c:spPr>
          <a:noFill/>
          <a:ln w="9525" cap="flat" cmpd="sng" algn="ctr">
            <a:solidFill>
              <a:srgbClr val="000000">
                <a:lumMod val="75000"/>
                <a:lumOff val="25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2012567552"/>
        <c:crosses val="autoZero"/>
        <c:auto val="0"/>
        <c:lblAlgn val="ctr"/>
        <c:lblOffset val="100"/>
        <c:tickLblSkip val="4"/>
        <c:tickMarkSkip val="2"/>
        <c:noMultiLvlLbl val="0"/>
      </c:catAx>
      <c:valAx>
        <c:axId val="2012567552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t" anchorCtr="0"/>
              <a:lstStyle/>
              <a:p>
                <a:pPr>
                  <a:defRPr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sz="1400" b="1">
                    <a:solidFill>
                      <a:schemeClr val="tx1"/>
                    </a:solidFill>
                  </a:rPr>
                  <a:t>TWh/a</a:t>
                </a:r>
              </a:p>
            </c:rich>
          </c:tx>
          <c:layout>
            <c:manualLayout>
              <c:xMode val="edge"/>
              <c:yMode val="edge"/>
              <c:x val="3.2143348151920971E-2"/>
              <c:y val="1.4295378064529662E-2"/>
            </c:manualLayout>
          </c:layout>
          <c:overlay val="0"/>
          <c:spPr>
            <a:noFill/>
            <a:ln>
              <a:noFill/>
            </a:ln>
            <a:effectLst>
              <a:outerShdw blurRad="50800" dist="12700" dir="5400000" algn="ctr" rotWithShape="0">
                <a:srgbClr val="000000">
                  <a:alpha val="0"/>
                </a:srgbClr>
              </a:outerShdw>
            </a:effectLst>
          </c:spPr>
          <c:txPr>
            <a:bodyPr rot="0" spcFirstLastPara="1" vertOverflow="ellipsis" wrap="square" anchor="t" anchorCtr="0"/>
            <a:lstStyle/>
            <a:p>
              <a:pPr>
                <a:defRPr sz="133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General" sourceLinked="0"/>
        <c:majorTickMark val="out"/>
        <c:minorTickMark val="none"/>
        <c:tickLblPos val="nextTo"/>
        <c:spPr>
          <a:noFill/>
          <a:ln>
            <a:solidFill>
              <a:srgbClr val="000000">
                <a:lumMod val="65000"/>
                <a:lumOff val="35000"/>
              </a:srgb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922533488"/>
        <c:crosses val="autoZero"/>
        <c:crossBetween val="midCat"/>
      </c:valAx>
      <c:valAx>
        <c:axId val="853165240"/>
        <c:scaling>
          <c:orientation val="minMax"/>
          <c:max val="35"/>
        </c:scaling>
        <c:delete val="0"/>
        <c:axPos val="r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sz="1400" b="1">
                    <a:solidFill>
                      <a:schemeClr val="tx1"/>
                    </a:solidFill>
                  </a:rPr>
                  <a:t>GW</a:t>
                </a:r>
              </a:p>
            </c:rich>
          </c:tx>
          <c:layout>
            <c:manualLayout>
              <c:xMode val="edge"/>
              <c:yMode val="edge"/>
              <c:x val="0.92770656059289114"/>
              <c:y val="1.713710109926676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33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0" sourceLinked="0"/>
        <c:majorTickMark val="out"/>
        <c:minorTickMark val="none"/>
        <c:tickLblPos val="nextTo"/>
        <c:spPr>
          <a:solidFill>
            <a:srgbClr val="FFFFFF"/>
          </a:solidFill>
          <a:ln>
            <a:solidFill>
              <a:srgbClr val="000000">
                <a:lumMod val="65000"/>
                <a:lumOff val="35000"/>
              </a:srgb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853161960"/>
        <c:crosses val="max"/>
        <c:crossBetween val="between"/>
      </c:valAx>
      <c:catAx>
        <c:axId val="8531619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53165240"/>
        <c:crosses val="autoZero"/>
        <c:auto val="0"/>
        <c:lblAlgn val="ctr"/>
        <c:lblOffset val="100"/>
        <c:noMultiLvlLbl val="0"/>
      </c:catAx>
      <c:spPr>
        <a:solidFill>
          <a:srgbClr val="FFFFFF"/>
        </a:soli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9753504221737211E-2"/>
          <c:y val="2.8370652954978797E-2"/>
          <c:w val="0.92520155588586694"/>
          <c:h val="0.788613770571997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intajakauma!$G$4</c:f>
              <c:strCache>
                <c:ptCount val="1"/>
                <c:pt idx="0">
                  <c:v>pros</c:v>
                </c:pt>
              </c:strCache>
            </c:strRef>
          </c:tx>
          <c:spPr>
            <a:solidFill>
              <a:srgbClr val="EA7911"/>
            </a:solidFill>
            <a:ln w="12700">
              <a:solidFill>
                <a:schemeClr val="bg1"/>
              </a:solidFill>
            </a:ln>
            <a:effectLst/>
          </c:spPr>
          <c:invertIfNegative val="0"/>
          <c:cat>
            <c:strRef>
              <c:f>Hintajakauma!$I$6:$I$23</c:f>
              <c:strCache>
                <c:ptCount val="18"/>
                <c:pt idx="0">
                  <c:v>45-50</c:v>
                </c:pt>
                <c:pt idx="1">
                  <c:v>50-55</c:v>
                </c:pt>
                <c:pt idx="2">
                  <c:v>55-60</c:v>
                </c:pt>
                <c:pt idx="3">
                  <c:v>60-65</c:v>
                </c:pt>
                <c:pt idx="4">
                  <c:v>65-70</c:v>
                </c:pt>
                <c:pt idx="5">
                  <c:v>70-75</c:v>
                </c:pt>
                <c:pt idx="6">
                  <c:v>75-80</c:v>
                </c:pt>
                <c:pt idx="7">
                  <c:v>80-85</c:v>
                </c:pt>
                <c:pt idx="8">
                  <c:v>85-90</c:v>
                </c:pt>
                <c:pt idx="9">
                  <c:v>90-95</c:v>
                </c:pt>
                <c:pt idx="10">
                  <c:v>95-100</c:v>
                </c:pt>
                <c:pt idx="11">
                  <c:v>100-105</c:v>
                </c:pt>
                <c:pt idx="12">
                  <c:v>105-110</c:v>
                </c:pt>
                <c:pt idx="13">
                  <c:v>110-115</c:v>
                </c:pt>
                <c:pt idx="14">
                  <c:v>115-120</c:v>
                </c:pt>
                <c:pt idx="15">
                  <c:v>120-125</c:v>
                </c:pt>
                <c:pt idx="16">
                  <c:v>125-130</c:v>
                </c:pt>
                <c:pt idx="17">
                  <c:v>130-135</c:v>
                </c:pt>
              </c:strCache>
            </c:strRef>
          </c:cat>
          <c:val>
            <c:numRef>
              <c:f>Hintajakauma!$G$6:$G$23</c:f>
              <c:numCache>
                <c:formatCode>0.0\ %</c:formatCode>
                <c:ptCount val="18"/>
                <c:pt idx="0">
                  <c:v>1.0101010101010102E-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.0101010101010102E-2</c:v>
                </c:pt>
                <c:pt idx="5">
                  <c:v>3.0303030303030304E-2</c:v>
                </c:pt>
                <c:pt idx="6">
                  <c:v>7.0707070707070704E-2</c:v>
                </c:pt>
                <c:pt idx="7">
                  <c:v>7.0707070707070704E-2</c:v>
                </c:pt>
                <c:pt idx="8">
                  <c:v>0.13131313131313133</c:v>
                </c:pt>
                <c:pt idx="9">
                  <c:v>0.14141414141414141</c:v>
                </c:pt>
                <c:pt idx="10">
                  <c:v>0.12121212121212122</c:v>
                </c:pt>
                <c:pt idx="11">
                  <c:v>0.13131313131313133</c:v>
                </c:pt>
                <c:pt idx="12">
                  <c:v>0.14141414141414141</c:v>
                </c:pt>
                <c:pt idx="13">
                  <c:v>8.0808080808080815E-2</c:v>
                </c:pt>
                <c:pt idx="14">
                  <c:v>1.0101010101010102E-2</c:v>
                </c:pt>
                <c:pt idx="15">
                  <c:v>1.0101010101010102E-2</c:v>
                </c:pt>
                <c:pt idx="16">
                  <c:v>3.0303030303030304E-2</c:v>
                </c:pt>
                <c:pt idx="17">
                  <c:v>1.01010101010101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8B-47B3-9D5F-5BBAD4E0EA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6"/>
        <c:axId val="1922533488"/>
        <c:axId val="2012567552"/>
      </c:barChart>
      <c:catAx>
        <c:axId val="192253348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b="1"/>
                  <a:t>€/MWh</a:t>
                </a:r>
              </a:p>
            </c:rich>
          </c:tx>
          <c:layout>
            <c:manualLayout>
              <c:xMode val="edge"/>
              <c:yMode val="edge"/>
              <c:x val="0.45329067207937784"/>
              <c:y val="0.9434526114448590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2012567552"/>
        <c:crosses val="autoZero"/>
        <c:auto val="1"/>
        <c:lblAlgn val="ctr"/>
        <c:lblOffset val="100"/>
        <c:noMultiLvlLbl val="0"/>
      </c:catAx>
      <c:valAx>
        <c:axId val="2012567552"/>
        <c:scaling>
          <c:orientation val="minMax"/>
          <c:max val="0.2"/>
          <c:min val="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fi-FI"/>
          </a:p>
        </c:txPr>
        <c:crossAx val="1922533488"/>
        <c:crosses val="autoZero"/>
        <c:crossBetween val="between"/>
        <c:majorUnit val="5.000000000000001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830295464779354E-2"/>
          <c:y val="9.4430235153463687E-2"/>
          <c:w val="0.89959745247942835"/>
          <c:h val="0.75707956476188731"/>
        </c:manualLayout>
      </c:layout>
      <c:lineChart>
        <c:grouping val="standard"/>
        <c:varyColors val="0"/>
        <c:ser>
          <c:idx val="4"/>
          <c:order val="4"/>
          <c:tx>
            <c:strRef>
              <c:f>Taul1!$K$6</c:f>
              <c:strCache>
                <c:ptCount val="1"/>
                <c:pt idx="0">
                  <c:v>Pientalo (600 m³)</c:v>
                </c:pt>
              </c:strCache>
            </c:strRef>
          </c:tx>
          <c:spPr>
            <a:ln w="38100" cap="rnd">
              <a:solidFill>
                <a:srgbClr val="EA7911"/>
              </a:solidFill>
              <a:round/>
            </a:ln>
            <a:effectLst/>
          </c:spPr>
          <c:marker>
            <c:symbol val="none"/>
          </c:marker>
          <c:cat>
            <c:numRef>
              <c:f>(Taul1!$G$59:$G$82,Taul1!$G$84:$G$85)</c:f>
              <c:numCache>
                <c:formatCode>m/d/yyyy</c:formatCode>
                <c:ptCount val="26"/>
                <c:pt idx="0">
                  <c:v>40909</c:v>
                </c:pt>
                <c:pt idx="1">
                  <c:v>41091</c:v>
                </c:pt>
                <c:pt idx="2">
                  <c:v>41275</c:v>
                </c:pt>
                <c:pt idx="3">
                  <c:v>41456</c:v>
                </c:pt>
                <c:pt idx="4">
                  <c:v>41640</c:v>
                </c:pt>
                <c:pt idx="5">
                  <c:v>41821</c:v>
                </c:pt>
                <c:pt idx="6">
                  <c:v>42005</c:v>
                </c:pt>
                <c:pt idx="7">
                  <c:v>42186</c:v>
                </c:pt>
                <c:pt idx="8">
                  <c:v>42370</c:v>
                </c:pt>
                <c:pt idx="9">
                  <c:v>42552</c:v>
                </c:pt>
                <c:pt idx="10">
                  <c:v>42736</c:v>
                </c:pt>
                <c:pt idx="11">
                  <c:v>42917</c:v>
                </c:pt>
                <c:pt idx="12">
                  <c:v>43101</c:v>
                </c:pt>
                <c:pt idx="13">
                  <c:v>43282</c:v>
                </c:pt>
                <c:pt idx="14">
                  <c:v>43466</c:v>
                </c:pt>
                <c:pt idx="15">
                  <c:v>43647</c:v>
                </c:pt>
                <c:pt idx="16">
                  <c:v>43831</c:v>
                </c:pt>
                <c:pt idx="17">
                  <c:v>44013</c:v>
                </c:pt>
                <c:pt idx="18">
                  <c:v>44197</c:v>
                </c:pt>
                <c:pt idx="19">
                  <c:v>44378</c:v>
                </c:pt>
                <c:pt idx="20">
                  <c:v>44562</c:v>
                </c:pt>
                <c:pt idx="21">
                  <c:v>44743</c:v>
                </c:pt>
                <c:pt idx="22">
                  <c:v>44927</c:v>
                </c:pt>
                <c:pt idx="23">
                  <c:v>45108</c:v>
                </c:pt>
                <c:pt idx="24">
                  <c:v>45474</c:v>
                </c:pt>
                <c:pt idx="25">
                  <c:v>45474</c:v>
                </c:pt>
              </c:numCache>
              <c:extLst/>
            </c:numRef>
          </c:cat>
          <c:val>
            <c:numRef>
              <c:f>(Taul1!$L$59:$L$82,Taul1!$L$84:$L$85)</c:f>
              <c:numCache>
                <c:formatCode>0.00</c:formatCode>
                <c:ptCount val="26"/>
                <c:pt idx="0">
                  <c:v>74.34</c:v>
                </c:pt>
                <c:pt idx="1">
                  <c:v>74.34</c:v>
                </c:pt>
                <c:pt idx="2">
                  <c:v>80.23</c:v>
                </c:pt>
                <c:pt idx="3">
                  <c:v>80.430000000000007</c:v>
                </c:pt>
                <c:pt idx="4">
                  <c:v>82.98</c:v>
                </c:pt>
                <c:pt idx="5">
                  <c:v>83.11</c:v>
                </c:pt>
                <c:pt idx="6">
                  <c:v>84.35</c:v>
                </c:pt>
                <c:pt idx="7" formatCode="General">
                  <c:v>83.99</c:v>
                </c:pt>
                <c:pt idx="8" formatCode="General">
                  <c:v>84.09</c:v>
                </c:pt>
                <c:pt idx="9" formatCode="General">
                  <c:v>84.35</c:v>
                </c:pt>
                <c:pt idx="10" formatCode="General">
                  <c:v>84.53</c:v>
                </c:pt>
                <c:pt idx="11" formatCode="General">
                  <c:v>84.51</c:v>
                </c:pt>
                <c:pt idx="12" formatCode="General">
                  <c:v>84.73</c:v>
                </c:pt>
                <c:pt idx="13" formatCode="General">
                  <c:v>85.09</c:v>
                </c:pt>
                <c:pt idx="14" formatCode="General">
                  <c:v>86.13</c:v>
                </c:pt>
                <c:pt idx="15" formatCode="General">
                  <c:v>86.14</c:v>
                </c:pt>
                <c:pt idx="16">
                  <c:v>87.04504568646837</c:v>
                </c:pt>
                <c:pt idx="17">
                  <c:v>86.994753447289682</c:v>
                </c:pt>
                <c:pt idx="18">
                  <c:v>88.098025773436689</c:v>
                </c:pt>
                <c:pt idx="19">
                  <c:v>88.929503903166506</c:v>
                </c:pt>
                <c:pt idx="20">
                  <c:v>92.034329814691162</c:v>
                </c:pt>
                <c:pt idx="21">
                  <c:v>94.440591701842919</c:v>
                </c:pt>
                <c:pt idx="22">
                  <c:v>101.6265483636778</c:v>
                </c:pt>
                <c:pt idx="23">
                  <c:v>103.2978188216123</c:v>
                </c:pt>
                <c:pt idx="24">
                  <c:v>108.18495112044376</c:v>
                </c:pt>
                <c:pt idx="25">
                  <c:v>108.18495112044376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868F-4C2C-BA84-9014089D0DE3}"/>
            </c:ext>
          </c:extLst>
        </c:ser>
        <c:ser>
          <c:idx val="5"/>
          <c:order val="5"/>
          <c:tx>
            <c:strRef>
              <c:f>Taul1!$K$7</c:f>
              <c:strCache>
                <c:ptCount val="1"/>
                <c:pt idx="0">
                  <c:v>Rivitalo/pienkerrostalo (5000 m³)</c:v>
                </c:pt>
              </c:strCache>
            </c:strRef>
          </c:tx>
          <c:spPr>
            <a:ln w="38100" cap="rnd">
              <a:solidFill>
                <a:srgbClr val="9E78B2"/>
              </a:solidFill>
              <a:round/>
            </a:ln>
            <a:effectLst/>
          </c:spPr>
          <c:marker>
            <c:symbol val="none"/>
          </c:marker>
          <c:cat>
            <c:numRef>
              <c:f>(Taul1!$G$59:$G$82,Taul1!$G$84:$G$85)</c:f>
              <c:numCache>
                <c:formatCode>m/d/yyyy</c:formatCode>
                <c:ptCount val="26"/>
                <c:pt idx="0">
                  <c:v>40909</c:v>
                </c:pt>
                <c:pt idx="1">
                  <c:v>41091</c:v>
                </c:pt>
                <c:pt idx="2">
                  <c:v>41275</c:v>
                </c:pt>
                <c:pt idx="3">
                  <c:v>41456</c:v>
                </c:pt>
                <c:pt idx="4">
                  <c:v>41640</c:v>
                </c:pt>
                <c:pt idx="5">
                  <c:v>41821</c:v>
                </c:pt>
                <c:pt idx="6">
                  <c:v>42005</c:v>
                </c:pt>
                <c:pt idx="7">
                  <c:v>42186</c:v>
                </c:pt>
                <c:pt idx="8">
                  <c:v>42370</c:v>
                </c:pt>
                <c:pt idx="9">
                  <c:v>42552</c:v>
                </c:pt>
                <c:pt idx="10">
                  <c:v>42736</c:v>
                </c:pt>
                <c:pt idx="11">
                  <c:v>42917</c:v>
                </c:pt>
                <c:pt idx="12">
                  <c:v>43101</c:v>
                </c:pt>
                <c:pt idx="13">
                  <c:v>43282</c:v>
                </c:pt>
                <c:pt idx="14">
                  <c:v>43466</c:v>
                </c:pt>
                <c:pt idx="15">
                  <c:v>43647</c:v>
                </c:pt>
                <c:pt idx="16">
                  <c:v>43831</c:v>
                </c:pt>
                <c:pt idx="17">
                  <c:v>44013</c:v>
                </c:pt>
                <c:pt idx="18">
                  <c:v>44197</c:v>
                </c:pt>
                <c:pt idx="19">
                  <c:v>44378</c:v>
                </c:pt>
                <c:pt idx="20">
                  <c:v>44562</c:v>
                </c:pt>
                <c:pt idx="21">
                  <c:v>44743</c:v>
                </c:pt>
                <c:pt idx="22">
                  <c:v>44927</c:v>
                </c:pt>
                <c:pt idx="23">
                  <c:v>45108</c:v>
                </c:pt>
                <c:pt idx="24">
                  <c:v>45474</c:v>
                </c:pt>
                <c:pt idx="25">
                  <c:v>45474</c:v>
                </c:pt>
              </c:numCache>
              <c:extLst/>
            </c:numRef>
          </c:cat>
          <c:val>
            <c:numRef>
              <c:f>(Taul1!$M$59:$M$82,Taul1!$M$84:$M$85)</c:f>
              <c:numCache>
                <c:formatCode>0.00</c:formatCode>
                <c:ptCount val="26"/>
                <c:pt idx="0">
                  <c:v>68.62</c:v>
                </c:pt>
                <c:pt idx="1">
                  <c:v>69.33</c:v>
                </c:pt>
                <c:pt idx="2">
                  <c:v>74.569999999999993</c:v>
                </c:pt>
                <c:pt idx="3">
                  <c:v>74.75</c:v>
                </c:pt>
                <c:pt idx="4">
                  <c:v>75.989999999999995</c:v>
                </c:pt>
                <c:pt idx="5">
                  <c:v>76.290000000000006</c:v>
                </c:pt>
                <c:pt idx="6">
                  <c:v>77.67</c:v>
                </c:pt>
                <c:pt idx="7">
                  <c:v>77.06</c:v>
                </c:pt>
                <c:pt idx="8" formatCode="General">
                  <c:v>77.150000000000006</c:v>
                </c:pt>
                <c:pt idx="9" formatCode="General">
                  <c:v>77.36</c:v>
                </c:pt>
                <c:pt idx="10" formatCode="General">
                  <c:v>78.28</c:v>
                </c:pt>
                <c:pt idx="11" formatCode="General">
                  <c:v>78.319999999999993</c:v>
                </c:pt>
                <c:pt idx="12" formatCode="General">
                  <c:v>78.64</c:v>
                </c:pt>
                <c:pt idx="13" formatCode="General">
                  <c:v>79.45</c:v>
                </c:pt>
                <c:pt idx="14" formatCode="General">
                  <c:v>81.650000000000006</c:v>
                </c:pt>
                <c:pt idx="15" formatCode="General">
                  <c:v>81.84</c:v>
                </c:pt>
                <c:pt idx="16">
                  <c:v>82.521012026446854</c:v>
                </c:pt>
                <c:pt idx="17">
                  <c:v>82.572185060422214</c:v>
                </c:pt>
                <c:pt idx="18">
                  <c:v>83.5897335151204</c:v>
                </c:pt>
                <c:pt idx="19">
                  <c:v>85.467352146081922</c:v>
                </c:pt>
                <c:pt idx="20">
                  <c:v>87.248329915464325</c:v>
                </c:pt>
                <c:pt idx="21">
                  <c:v>89.398165254189237</c:v>
                </c:pt>
                <c:pt idx="22">
                  <c:v>98.745369186781502</c:v>
                </c:pt>
                <c:pt idx="23">
                  <c:v>99.443856076244188</c:v>
                </c:pt>
                <c:pt idx="24">
                  <c:v>104.17258979236009</c:v>
                </c:pt>
                <c:pt idx="25">
                  <c:v>104.1725897923600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868F-4C2C-BA84-9014089D0DE3}"/>
            </c:ext>
          </c:extLst>
        </c:ser>
        <c:ser>
          <c:idx val="6"/>
          <c:order val="6"/>
          <c:tx>
            <c:strRef>
              <c:f>Taul1!$K$8</c:f>
              <c:strCache>
                <c:ptCount val="1"/>
                <c:pt idx="0">
                  <c:v>Kerrostalo (20000 m³)</c:v>
                </c:pt>
              </c:strCache>
            </c:strRef>
          </c:tx>
          <c:spPr>
            <a:ln w="38100">
              <a:solidFill>
                <a:srgbClr val="B21C58"/>
              </a:solidFill>
              <a:prstDash val="solid"/>
            </a:ln>
          </c:spPr>
          <c:marker>
            <c:symbol val="none"/>
          </c:marker>
          <c:cat>
            <c:numRef>
              <c:f>(Taul1!$G$59:$G$82,Taul1!$G$84:$G$85)</c:f>
              <c:numCache>
                <c:formatCode>m/d/yyyy</c:formatCode>
                <c:ptCount val="26"/>
                <c:pt idx="0">
                  <c:v>40909</c:v>
                </c:pt>
                <c:pt idx="1">
                  <c:v>41091</c:v>
                </c:pt>
                <c:pt idx="2">
                  <c:v>41275</c:v>
                </c:pt>
                <c:pt idx="3">
                  <c:v>41456</c:v>
                </c:pt>
                <c:pt idx="4">
                  <c:v>41640</c:v>
                </c:pt>
                <c:pt idx="5">
                  <c:v>41821</c:v>
                </c:pt>
                <c:pt idx="6">
                  <c:v>42005</c:v>
                </c:pt>
                <c:pt idx="7">
                  <c:v>42186</c:v>
                </c:pt>
                <c:pt idx="8">
                  <c:v>42370</c:v>
                </c:pt>
                <c:pt idx="9">
                  <c:v>42552</c:v>
                </c:pt>
                <c:pt idx="10">
                  <c:v>42736</c:v>
                </c:pt>
                <c:pt idx="11">
                  <c:v>42917</c:v>
                </c:pt>
                <c:pt idx="12">
                  <c:v>43101</c:v>
                </c:pt>
                <c:pt idx="13">
                  <c:v>43282</c:v>
                </c:pt>
                <c:pt idx="14">
                  <c:v>43466</c:v>
                </c:pt>
                <c:pt idx="15">
                  <c:v>43647</c:v>
                </c:pt>
                <c:pt idx="16">
                  <c:v>43831</c:v>
                </c:pt>
                <c:pt idx="17">
                  <c:v>44013</c:v>
                </c:pt>
                <c:pt idx="18">
                  <c:v>44197</c:v>
                </c:pt>
                <c:pt idx="19">
                  <c:v>44378</c:v>
                </c:pt>
                <c:pt idx="20">
                  <c:v>44562</c:v>
                </c:pt>
                <c:pt idx="21">
                  <c:v>44743</c:v>
                </c:pt>
                <c:pt idx="22">
                  <c:v>44927</c:v>
                </c:pt>
                <c:pt idx="23">
                  <c:v>45108</c:v>
                </c:pt>
                <c:pt idx="24">
                  <c:v>45474</c:v>
                </c:pt>
                <c:pt idx="25">
                  <c:v>45474</c:v>
                </c:pt>
              </c:numCache>
              <c:extLst/>
            </c:numRef>
          </c:cat>
          <c:val>
            <c:numRef>
              <c:f>(Taul1!$N$59:$N$82,Taul1!$N$84:$N$85)</c:f>
              <c:numCache>
                <c:formatCode>0.00</c:formatCode>
                <c:ptCount val="26"/>
                <c:pt idx="0">
                  <c:v>64.97</c:v>
                </c:pt>
                <c:pt idx="1">
                  <c:v>65.010000000000005</c:v>
                </c:pt>
                <c:pt idx="2">
                  <c:v>69.98</c:v>
                </c:pt>
                <c:pt idx="3">
                  <c:v>69.63</c:v>
                </c:pt>
                <c:pt idx="4">
                  <c:v>70.319999999999993</c:v>
                </c:pt>
                <c:pt idx="5">
                  <c:v>70.47</c:v>
                </c:pt>
                <c:pt idx="6">
                  <c:v>71.98</c:v>
                </c:pt>
                <c:pt idx="7">
                  <c:v>71.78</c:v>
                </c:pt>
                <c:pt idx="8" formatCode="General">
                  <c:v>71.58</c:v>
                </c:pt>
                <c:pt idx="9" formatCode="General">
                  <c:v>71.91</c:v>
                </c:pt>
                <c:pt idx="10" formatCode="General">
                  <c:v>72.760000000000005</c:v>
                </c:pt>
                <c:pt idx="11" formatCode="General">
                  <c:v>72.81</c:v>
                </c:pt>
                <c:pt idx="12">
                  <c:v>73.5</c:v>
                </c:pt>
                <c:pt idx="13" formatCode="General">
                  <c:v>74.78</c:v>
                </c:pt>
                <c:pt idx="14" formatCode="General">
                  <c:v>77.069999999999993</c:v>
                </c:pt>
                <c:pt idx="15" formatCode="General">
                  <c:v>76.8</c:v>
                </c:pt>
                <c:pt idx="16">
                  <c:v>76.798357208922823</c:v>
                </c:pt>
                <c:pt idx="17">
                  <c:v>76.861090285069494</c:v>
                </c:pt>
                <c:pt idx="18">
                  <c:v>77.861735177733493</c:v>
                </c:pt>
                <c:pt idx="19">
                  <c:v>81.438943679590409</c:v>
                </c:pt>
                <c:pt idx="20">
                  <c:v>83.203219200137568</c:v>
                </c:pt>
                <c:pt idx="21">
                  <c:v>85.207187499421281</c:v>
                </c:pt>
                <c:pt idx="22">
                  <c:v>96.28143419229734</c:v>
                </c:pt>
                <c:pt idx="23">
                  <c:v>96.916346932519176</c:v>
                </c:pt>
                <c:pt idx="24">
                  <c:v>98.920951129296867</c:v>
                </c:pt>
                <c:pt idx="25">
                  <c:v>98.920951129296867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868F-4C2C-BA84-9014089D0D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82826880"/>
        <c:axId val="1882824176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Taul1!$A$6</c15:sqref>
                        </c15:formulaRef>
                      </c:ext>
                    </c:extLst>
                    <c:strCache>
                      <c:ptCount val="1"/>
                      <c:pt idx="0">
                        <c:v>Pientalo (500 m³)</c:v>
                      </c:pt>
                    </c:strCache>
                  </c:strRef>
                </c:tx>
                <c:spPr>
                  <a:ln w="38100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(Taul1!$G$59:$G$82,Taul1!$G$84:$G$85)</c15:sqref>
                        </c15:formulaRef>
                      </c:ext>
                    </c:extLst>
                    <c:numCache>
                      <c:formatCode>m/d/yyyy</c:formatCode>
                      <c:ptCount val="26"/>
                      <c:pt idx="0">
                        <c:v>40909</c:v>
                      </c:pt>
                      <c:pt idx="1">
                        <c:v>41091</c:v>
                      </c:pt>
                      <c:pt idx="2">
                        <c:v>41275</c:v>
                      </c:pt>
                      <c:pt idx="3">
                        <c:v>41456</c:v>
                      </c:pt>
                      <c:pt idx="4">
                        <c:v>41640</c:v>
                      </c:pt>
                      <c:pt idx="5">
                        <c:v>41821</c:v>
                      </c:pt>
                      <c:pt idx="6">
                        <c:v>42005</c:v>
                      </c:pt>
                      <c:pt idx="7">
                        <c:v>42186</c:v>
                      </c:pt>
                      <c:pt idx="8">
                        <c:v>42370</c:v>
                      </c:pt>
                      <c:pt idx="9">
                        <c:v>42552</c:v>
                      </c:pt>
                      <c:pt idx="10">
                        <c:v>42736</c:v>
                      </c:pt>
                      <c:pt idx="11">
                        <c:v>42917</c:v>
                      </c:pt>
                      <c:pt idx="12">
                        <c:v>43101</c:v>
                      </c:pt>
                      <c:pt idx="13">
                        <c:v>43282</c:v>
                      </c:pt>
                      <c:pt idx="14">
                        <c:v>43466</c:v>
                      </c:pt>
                      <c:pt idx="15">
                        <c:v>43647</c:v>
                      </c:pt>
                      <c:pt idx="16">
                        <c:v>43831</c:v>
                      </c:pt>
                      <c:pt idx="17">
                        <c:v>44013</c:v>
                      </c:pt>
                      <c:pt idx="18">
                        <c:v>44197</c:v>
                      </c:pt>
                      <c:pt idx="19">
                        <c:v>44378</c:v>
                      </c:pt>
                      <c:pt idx="20">
                        <c:v>44562</c:v>
                      </c:pt>
                      <c:pt idx="21">
                        <c:v>44743</c:v>
                      </c:pt>
                      <c:pt idx="22">
                        <c:v>44927</c:v>
                      </c:pt>
                      <c:pt idx="23">
                        <c:v>45108</c:v>
                      </c:pt>
                      <c:pt idx="24">
                        <c:v>45474</c:v>
                      </c:pt>
                      <c:pt idx="25">
                        <c:v>45474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Taul1!$H$59:$H$69</c15:sqref>
                        </c15:formulaRef>
                      </c:ext>
                    </c:extLst>
                    <c:numCache>
                      <c:formatCode>General</c:formatCode>
                      <c:ptCount val="11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868F-4C2C-BA84-9014089D0DE3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ul1!$A$7</c15:sqref>
                        </c15:formulaRef>
                      </c:ext>
                    </c:extLst>
                    <c:strCache>
                      <c:ptCount val="1"/>
                      <c:pt idx="0">
                        <c:v>Rivitalo  (2000 m³)</c:v>
                      </c:pt>
                    </c:strCache>
                  </c:strRef>
                </c:tx>
                <c:spPr>
                  <a:ln w="38100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(Taul1!$G$59:$G$82,Taul1!$G$84:$G$85)</c15:sqref>
                        </c15:formulaRef>
                      </c:ext>
                    </c:extLst>
                    <c:numCache>
                      <c:formatCode>m/d/yyyy</c:formatCode>
                      <c:ptCount val="26"/>
                      <c:pt idx="0">
                        <c:v>40909</c:v>
                      </c:pt>
                      <c:pt idx="1">
                        <c:v>41091</c:v>
                      </c:pt>
                      <c:pt idx="2">
                        <c:v>41275</c:v>
                      </c:pt>
                      <c:pt idx="3">
                        <c:v>41456</c:v>
                      </c:pt>
                      <c:pt idx="4">
                        <c:v>41640</c:v>
                      </c:pt>
                      <c:pt idx="5">
                        <c:v>41821</c:v>
                      </c:pt>
                      <c:pt idx="6">
                        <c:v>42005</c:v>
                      </c:pt>
                      <c:pt idx="7">
                        <c:v>42186</c:v>
                      </c:pt>
                      <c:pt idx="8">
                        <c:v>42370</c:v>
                      </c:pt>
                      <c:pt idx="9">
                        <c:v>42552</c:v>
                      </c:pt>
                      <c:pt idx="10">
                        <c:v>42736</c:v>
                      </c:pt>
                      <c:pt idx="11">
                        <c:v>42917</c:v>
                      </c:pt>
                      <c:pt idx="12">
                        <c:v>43101</c:v>
                      </c:pt>
                      <c:pt idx="13">
                        <c:v>43282</c:v>
                      </c:pt>
                      <c:pt idx="14">
                        <c:v>43466</c:v>
                      </c:pt>
                      <c:pt idx="15">
                        <c:v>43647</c:v>
                      </c:pt>
                      <c:pt idx="16">
                        <c:v>43831</c:v>
                      </c:pt>
                      <c:pt idx="17">
                        <c:v>44013</c:v>
                      </c:pt>
                      <c:pt idx="18">
                        <c:v>44197</c:v>
                      </c:pt>
                      <c:pt idx="19">
                        <c:v>44378</c:v>
                      </c:pt>
                      <c:pt idx="20">
                        <c:v>44562</c:v>
                      </c:pt>
                      <c:pt idx="21">
                        <c:v>44743</c:v>
                      </c:pt>
                      <c:pt idx="22">
                        <c:v>44927</c:v>
                      </c:pt>
                      <c:pt idx="23">
                        <c:v>45108</c:v>
                      </c:pt>
                      <c:pt idx="24">
                        <c:v>45474</c:v>
                      </c:pt>
                      <c:pt idx="25">
                        <c:v>45474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ul1!$I$59:$I$69</c15:sqref>
                        </c15:formulaRef>
                      </c:ext>
                    </c:extLst>
                    <c:numCache>
                      <c:formatCode>General</c:formatCode>
                      <c:ptCount val="11"/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868F-4C2C-BA84-9014089D0DE3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ul1!$A$8</c15:sqref>
                        </c15:formulaRef>
                      </c:ext>
                    </c:extLst>
                    <c:strCache>
                      <c:ptCount val="1"/>
                      <c:pt idx="0">
                        <c:v>Kerrostalo (10000 m³)</c:v>
                      </c:pt>
                    </c:strCache>
                  </c:strRef>
                </c:tx>
                <c:spPr>
                  <a:ln w="38100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(Taul1!$G$59:$G$82,Taul1!$G$84:$G$85)</c15:sqref>
                        </c15:formulaRef>
                      </c:ext>
                    </c:extLst>
                    <c:numCache>
                      <c:formatCode>m/d/yyyy</c:formatCode>
                      <c:ptCount val="26"/>
                      <c:pt idx="0">
                        <c:v>40909</c:v>
                      </c:pt>
                      <c:pt idx="1">
                        <c:v>41091</c:v>
                      </c:pt>
                      <c:pt idx="2">
                        <c:v>41275</c:v>
                      </c:pt>
                      <c:pt idx="3">
                        <c:v>41456</c:v>
                      </c:pt>
                      <c:pt idx="4">
                        <c:v>41640</c:v>
                      </c:pt>
                      <c:pt idx="5">
                        <c:v>41821</c:v>
                      </c:pt>
                      <c:pt idx="6">
                        <c:v>42005</c:v>
                      </c:pt>
                      <c:pt idx="7">
                        <c:v>42186</c:v>
                      </c:pt>
                      <c:pt idx="8">
                        <c:v>42370</c:v>
                      </c:pt>
                      <c:pt idx="9">
                        <c:v>42552</c:v>
                      </c:pt>
                      <c:pt idx="10">
                        <c:v>42736</c:v>
                      </c:pt>
                      <c:pt idx="11">
                        <c:v>42917</c:v>
                      </c:pt>
                      <c:pt idx="12">
                        <c:v>43101</c:v>
                      </c:pt>
                      <c:pt idx="13">
                        <c:v>43282</c:v>
                      </c:pt>
                      <c:pt idx="14">
                        <c:v>43466</c:v>
                      </c:pt>
                      <c:pt idx="15">
                        <c:v>43647</c:v>
                      </c:pt>
                      <c:pt idx="16">
                        <c:v>43831</c:v>
                      </c:pt>
                      <c:pt idx="17">
                        <c:v>44013</c:v>
                      </c:pt>
                      <c:pt idx="18">
                        <c:v>44197</c:v>
                      </c:pt>
                      <c:pt idx="19">
                        <c:v>44378</c:v>
                      </c:pt>
                      <c:pt idx="20">
                        <c:v>44562</c:v>
                      </c:pt>
                      <c:pt idx="21">
                        <c:v>44743</c:v>
                      </c:pt>
                      <c:pt idx="22">
                        <c:v>44927</c:v>
                      </c:pt>
                      <c:pt idx="23">
                        <c:v>45108</c:v>
                      </c:pt>
                      <c:pt idx="24">
                        <c:v>45474</c:v>
                      </c:pt>
                      <c:pt idx="25">
                        <c:v>45474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ul1!$J$59:$J$69</c15:sqref>
                        </c15:formulaRef>
                      </c:ext>
                    </c:extLst>
                    <c:numCache>
                      <c:formatCode>General</c:formatCode>
                      <c:ptCount val="11"/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868F-4C2C-BA84-9014089D0DE3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ul1!$A$9</c15:sqref>
                        </c15:formulaRef>
                      </c:ext>
                    </c:extLst>
                    <c:strCache>
                      <c:ptCount val="1"/>
                      <c:pt idx="0">
                        <c:v>Suuri kerrostalo  (25000 m³)</c:v>
                      </c:pt>
                    </c:strCache>
                  </c:strRef>
                </c:tx>
                <c:spPr>
                  <a:ln w="38100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(Taul1!$G$59:$G$82,Taul1!$G$84:$G$85)</c15:sqref>
                        </c15:formulaRef>
                      </c:ext>
                    </c:extLst>
                    <c:numCache>
                      <c:formatCode>m/d/yyyy</c:formatCode>
                      <c:ptCount val="26"/>
                      <c:pt idx="0">
                        <c:v>40909</c:v>
                      </c:pt>
                      <c:pt idx="1">
                        <c:v>41091</c:v>
                      </c:pt>
                      <c:pt idx="2">
                        <c:v>41275</c:v>
                      </c:pt>
                      <c:pt idx="3">
                        <c:v>41456</c:v>
                      </c:pt>
                      <c:pt idx="4">
                        <c:v>41640</c:v>
                      </c:pt>
                      <c:pt idx="5">
                        <c:v>41821</c:v>
                      </c:pt>
                      <c:pt idx="6">
                        <c:v>42005</c:v>
                      </c:pt>
                      <c:pt idx="7">
                        <c:v>42186</c:v>
                      </c:pt>
                      <c:pt idx="8">
                        <c:v>42370</c:v>
                      </c:pt>
                      <c:pt idx="9">
                        <c:v>42552</c:v>
                      </c:pt>
                      <c:pt idx="10">
                        <c:v>42736</c:v>
                      </c:pt>
                      <c:pt idx="11">
                        <c:v>42917</c:v>
                      </c:pt>
                      <c:pt idx="12">
                        <c:v>43101</c:v>
                      </c:pt>
                      <c:pt idx="13">
                        <c:v>43282</c:v>
                      </c:pt>
                      <c:pt idx="14">
                        <c:v>43466</c:v>
                      </c:pt>
                      <c:pt idx="15">
                        <c:v>43647</c:v>
                      </c:pt>
                      <c:pt idx="16">
                        <c:v>43831</c:v>
                      </c:pt>
                      <c:pt idx="17">
                        <c:v>44013</c:v>
                      </c:pt>
                      <c:pt idx="18">
                        <c:v>44197</c:v>
                      </c:pt>
                      <c:pt idx="19">
                        <c:v>44378</c:v>
                      </c:pt>
                      <c:pt idx="20">
                        <c:v>44562</c:v>
                      </c:pt>
                      <c:pt idx="21">
                        <c:v>44743</c:v>
                      </c:pt>
                      <c:pt idx="22">
                        <c:v>44927</c:v>
                      </c:pt>
                      <c:pt idx="23">
                        <c:v>45108</c:v>
                      </c:pt>
                      <c:pt idx="24">
                        <c:v>45474</c:v>
                      </c:pt>
                      <c:pt idx="25">
                        <c:v>45474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Taul1!$K$59:$K$69</c15:sqref>
                        </c15:formulaRef>
                      </c:ext>
                    </c:extLst>
                    <c:numCache>
                      <c:formatCode>General</c:formatCode>
                      <c:ptCount val="11"/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868F-4C2C-BA84-9014089D0DE3}"/>
                  </c:ext>
                </c:extLst>
              </c15:ser>
            </c15:filteredLineSeries>
          </c:ext>
        </c:extLst>
      </c:lineChart>
      <c:dateAx>
        <c:axId val="1882826880"/>
        <c:scaling>
          <c:orientation val="minMax"/>
          <c:max val="45139"/>
          <c:min val="40909"/>
        </c:scaling>
        <c:delete val="0"/>
        <c:axPos val="b"/>
        <c:numFmt formatCode="yyyy" sourceLinked="0"/>
        <c:majorTickMark val="out"/>
        <c:minorTickMark val="in"/>
        <c:tickLblPos val="nextTo"/>
        <c:spPr>
          <a:noFill/>
          <a:ln w="9525" cap="flat" cmpd="sng" algn="ctr">
            <a:solidFill>
              <a:srgbClr val="000000">
                <a:lumMod val="75000"/>
                <a:lumOff val="25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882824176"/>
        <c:crosses val="autoZero"/>
        <c:auto val="0"/>
        <c:lblOffset val="100"/>
        <c:baseTimeUnit val="months"/>
        <c:majorUnit val="12"/>
        <c:majorTimeUnit val="months"/>
        <c:minorUnit val="6"/>
        <c:minorTimeUnit val="months"/>
      </c:dateAx>
      <c:valAx>
        <c:axId val="1882824176"/>
        <c:scaling>
          <c:orientation val="minMax"/>
          <c:max val="120"/>
          <c:min val="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vert="horz"/>
              <a:lstStyle/>
              <a:p>
                <a:pPr>
                  <a:defRPr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r>
                  <a:rPr lang="fi-FI" sz="140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€/MWh</a:t>
                </a:r>
              </a:p>
            </c:rich>
          </c:tx>
          <c:layout>
            <c:manualLayout>
              <c:xMode val="edge"/>
              <c:yMode val="edge"/>
              <c:x val="4.495648735262002E-3"/>
              <c:y val="4.4309162104371642E-3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88282688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8662063728628427E-2"/>
          <c:y val="0.93971267796787195"/>
          <c:w val="0.91739055601949271"/>
          <c:h val="6.02872531983267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6470226413650904E-2"/>
          <c:y val="9.1487712456535128E-2"/>
          <c:w val="0.90062723402624334"/>
          <c:h val="0.78193895302862571"/>
        </c:manualLayout>
      </c:layout>
      <c:lineChart>
        <c:grouping val="standard"/>
        <c:varyColors val="0"/>
        <c:ser>
          <c:idx val="0"/>
          <c:order val="0"/>
          <c:tx>
            <c:v>kaukolämmön reaalihinta</c:v>
          </c:tx>
          <c:spPr>
            <a:ln w="31750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strRef>
              <c:f>Taul2!$B$77:$B$104</c:f>
              <c:strCache>
                <c:ptCount val="27"/>
                <c:pt idx="0">
                  <c:v>01/10</c:v>
                </c:pt>
                <c:pt idx="2">
                  <c:v>01/11</c:v>
                </c:pt>
                <c:pt idx="4">
                  <c:v>01/12</c:v>
                </c:pt>
                <c:pt idx="6">
                  <c:v>01/12</c:v>
                </c:pt>
                <c:pt idx="8">
                  <c:v>01/14</c:v>
                </c:pt>
                <c:pt idx="10">
                  <c:v>01/15</c:v>
                </c:pt>
                <c:pt idx="12">
                  <c:v>01/16</c:v>
                </c:pt>
                <c:pt idx="14">
                  <c:v>01/17</c:v>
                </c:pt>
                <c:pt idx="16">
                  <c:v>01/18</c:v>
                </c:pt>
                <c:pt idx="18">
                  <c:v>01/19</c:v>
                </c:pt>
                <c:pt idx="20">
                  <c:v>01/20</c:v>
                </c:pt>
                <c:pt idx="22">
                  <c:v>01/21</c:v>
                </c:pt>
                <c:pt idx="24">
                  <c:v>01/22</c:v>
                </c:pt>
                <c:pt idx="26">
                  <c:v>01/23</c:v>
                </c:pt>
              </c:strCache>
              <c:extLst/>
            </c:strRef>
          </c:cat>
          <c:val>
            <c:numRef>
              <c:f>Taul2!$K$77:$K$104</c:f>
              <c:numCache>
                <c:formatCode>0</c:formatCode>
                <c:ptCount val="28"/>
                <c:pt idx="0">
                  <c:v>100</c:v>
                </c:pt>
                <c:pt idx="1">
                  <c:v>102.72975167586884</c:v>
                </c:pt>
                <c:pt idx="2">
                  <c:v>111.9866722033191</c:v>
                </c:pt>
                <c:pt idx="3">
                  <c:v>112.4293560125534</c:v>
                </c:pt>
                <c:pt idx="4">
                  <c:v>115.98253123569947</c:v>
                </c:pt>
                <c:pt idx="5">
                  <c:v>115.28334606277319</c:v>
                </c:pt>
                <c:pt idx="6">
                  <c:v>123.53835123112167</c:v>
                </c:pt>
                <c:pt idx="7">
                  <c:v>121.49449346345921</c:v>
                </c:pt>
                <c:pt idx="8">
                  <c:v>122.98544064959063</c:v>
                </c:pt>
                <c:pt idx="9">
                  <c:v>122.94429055631291</c:v>
                </c:pt>
                <c:pt idx="10">
                  <c:v>125.99045918682556</c:v>
                </c:pt>
                <c:pt idx="11">
                  <c:v>124.97384028588378</c:v>
                </c:pt>
                <c:pt idx="12">
                  <c:v>125.18123097993161</c:v>
                </c:pt>
                <c:pt idx="13">
                  <c:v>124.691794372484</c:v>
                </c:pt>
                <c:pt idx="14">
                  <c:v>126.05485488962563</c:v>
                </c:pt>
                <c:pt idx="15">
                  <c:v>125.57817715840766</c:v>
                </c:pt>
                <c:pt idx="16">
                  <c:v>125.9810965766887</c:v>
                </c:pt>
                <c:pt idx="17">
                  <c:v>126.42566862524542</c:v>
                </c:pt>
                <c:pt idx="18">
                  <c:v>130.00102105813016</c:v>
                </c:pt>
                <c:pt idx="19">
                  <c:v>128.97378365178636</c:v>
                </c:pt>
                <c:pt idx="20">
                  <c:v>129.21499699350926</c:v>
                </c:pt>
                <c:pt idx="21">
                  <c:v>128.86030645754641</c:v>
                </c:pt>
                <c:pt idx="22">
                  <c:v>129.82980244378339</c:v>
                </c:pt>
                <c:pt idx="23">
                  <c:v>132.35839386933486</c:v>
                </c:pt>
                <c:pt idx="24">
                  <c:v>131.43530648826086</c:v>
                </c:pt>
                <c:pt idx="25">
                  <c:v>128.55385714917071</c:v>
                </c:pt>
                <c:pt idx="26">
                  <c:v>138.52044731708381</c:v>
                </c:pt>
                <c:pt idx="27">
                  <c:v>135.6208273114871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D848-4162-980D-AFD85A51EFF8}"/>
            </c:ext>
          </c:extLst>
        </c:ser>
        <c:ser>
          <c:idx val="1"/>
          <c:order val="1"/>
          <c:tx>
            <c:strRef>
              <c:f>Taul2!$Q$6</c:f>
              <c:strCache>
                <c:ptCount val="1"/>
                <c:pt idx="0">
                  <c:v>kaukolämmön veroton reaalihinta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Taul2!$B$77:$B$104</c:f>
              <c:strCache>
                <c:ptCount val="27"/>
                <c:pt idx="0">
                  <c:v>01/10</c:v>
                </c:pt>
                <c:pt idx="2">
                  <c:v>01/11</c:v>
                </c:pt>
                <c:pt idx="4">
                  <c:v>01/12</c:v>
                </c:pt>
                <c:pt idx="6">
                  <c:v>01/12</c:v>
                </c:pt>
                <c:pt idx="8">
                  <c:v>01/14</c:v>
                </c:pt>
                <c:pt idx="10">
                  <c:v>01/15</c:v>
                </c:pt>
                <c:pt idx="12">
                  <c:v>01/16</c:v>
                </c:pt>
                <c:pt idx="14">
                  <c:v>01/17</c:v>
                </c:pt>
                <c:pt idx="16">
                  <c:v>01/18</c:v>
                </c:pt>
                <c:pt idx="18">
                  <c:v>01/19</c:v>
                </c:pt>
                <c:pt idx="20">
                  <c:v>01/20</c:v>
                </c:pt>
                <c:pt idx="22">
                  <c:v>01/21</c:v>
                </c:pt>
                <c:pt idx="24">
                  <c:v>01/22</c:v>
                </c:pt>
                <c:pt idx="26">
                  <c:v>01/23</c:v>
                </c:pt>
              </c:strCache>
              <c:extLst/>
            </c:strRef>
          </c:cat>
          <c:val>
            <c:numRef>
              <c:f>Taul2!$Q$77:$Q$104</c:f>
              <c:numCache>
                <c:formatCode>0</c:formatCode>
                <c:ptCount val="28"/>
                <c:pt idx="0">
                  <c:v>100</c:v>
                </c:pt>
                <c:pt idx="1">
                  <c:v>102.72975167586884</c:v>
                </c:pt>
                <c:pt idx="2">
                  <c:v>104.76091187166165</c:v>
                </c:pt>
                <c:pt idx="3">
                  <c:v>105.17503221842938</c:v>
                </c:pt>
                <c:pt idx="4">
                  <c:v>105.32557705381527</c:v>
                </c:pt>
                <c:pt idx="5">
                  <c:v>104.69063590344258</c:v>
                </c:pt>
                <c:pt idx="6">
                  <c:v>114.60149441539251</c:v>
                </c:pt>
                <c:pt idx="7">
                  <c:v>112.70549084878814</c:v>
                </c:pt>
                <c:pt idx="8">
                  <c:v>115.85118629335879</c:v>
                </c:pt>
                <c:pt idx="9">
                  <c:v>115.8124232731417</c:v>
                </c:pt>
                <c:pt idx="10">
                  <c:v>118.84603889488301</c:v>
                </c:pt>
                <c:pt idx="11">
                  <c:v>117.88706842821112</c:v>
                </c:pt>
                <c:pt idx="12">
                  <c:v>116.1255270132225</c:v>
                </c:pt>
                <c:pt idx="13">
                  <c:v>115.67149661637708</c:v>
                </c:pt>
                <c:pt idx="14">
                  <c:v>118.57831119607799</c:v>
                </c:pt>
                <c:pt idx="15">
                  <c:v>118.12990609179145</c:v>
                </c:pt>
                <c:pt idx="16">
                  <c:v>118.27873782384818</c:v>
                </c:pt>
                <c:pt idx="17">
                  <c:v>118.69612918020171</c:v>
                </c:pt>
                <c:pt idx="18">
                  <c:v>122.47643344361524</c:v>
                </c:pt>
                <c:pt idx="19">
                  <c:v>121.50865355385115</c:v>
                </c:pt>
                <c:pt idx="20">
                  <c:v>121.59654400109353</c:v>
                </c:pt>
                <c:pt idx="21">
                  <c:v>121.26276584556605</c:v>
                </c:pt>
                <c:pt idx="22">
                  <c:v>122.46607349680527</c:v>
                </c:pt>
                <c:pt idx="23">
                  <c:v>124.85124745175344</c:v>
                </c:pt>
                <c:pt idx="24">
                  <c:v>123.35761075763578</c:v>
                </c:pt>
                <c:pt idx="25">
                  <c:v>120.6532483189095</c:v>
                </c:pt>
                <c:pt idx="26">
                  <c:v>135.92879169795515</c:v>
                </c:pt>
                <c:pt idx="27">
                  <c:v>133.083422285872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D848-4162-980D-AFD85A51EF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15810312"/>
        <c:axId val="715809232"/>
      </c:lineChart>
      <c:catAx>
        <c:axId val="715810312"/>
        <c:scaling>
          <c:orientation val="minMax"/>
        </c:scaling>
        <c:delete val="0"/>
        <c:axPos val="b"/>
        <c:numFmt formatCode="mm\ yy;@" sourceLinked="0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715809232"/>
        <c:crosses val="autoZero"/>
        <c:auto val="0"/>
        <c:lblAlgn val="ctr"/>
        <c:lblOffset val="100"/>
        <c:noMultiLvlLbl val="1"/>
      </c:catAx>
      <c:valAx>
        <c:axId val="715809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7158103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3053481768911155E-2"/>
          <c:y val="0.95436521529043283"/>
          <c:w val="0.8290070012514269"/>
          <c:h val="3.08353635391803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4">
    <c:autoUpdate val="0"/>
  </c:externalData>
  <c:userShapes r:id="rId5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spPr>
            <a:ln w="12700"/>
          </c:spPr>
          <c:dPt>
            <c:idx val="0"/>
            <c:bubble3D val="0"/>
            <c:spPr>
              <a:solidFill>
                <a:schemeClr val="accent1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4EA-4F03-81FF-E80D72813E5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4EA-4F03-81FF-E80D72813E5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4EA-4F03-81FF-E80D72813E5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4EA-4F03-81FF-E80D72813E52}"/>
              </c:ext>
            </c:extLst>
          </c:dPt>
          <c:dPt>
            <c:idx val="4"/>
            <c:bubble3D val="0"/>
            <c:spPr>
              <a:solidFill>
                <a:schemeClr val="bg1">
                  <a:lumMod val="75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4EA-4F03-81FF-E80D72813E52}"/>
              </c:ext>
            </c:extLst>
          </c:dPt>
          <c:dPt>
            <c:idx val="5"/>
            <c:bubble3D val="0"/>
            <c:spPr>
              <a:solidFill>
                <a:schemeClr val="bg1">
                  <a:lumMod val="5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4EA-4F03-81FF-E80D72813E52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4EA-4F03-81FF-E80D72813E52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4EA-4F03-81FF-E80D72813E52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4EA-4F03-81FF-E80D72813E52}"/>
              </c:ext>
            </c:extLst>
          </c:dPt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Asiakastiedot!$L$4:$N$4</c:f>
              <c:strCache>
                <c:ptCount val="3"/>
                <c:pt idx="0">
                  <c:v>Asuminen</c:v>
                </c:pt>
                <c:pt idx="1">
                  <c:v>Teollisuus</c:v>
                </c:pt>
                <c:pt idx="2">
                  <c:v>Muut</c:v>
                </c:pt>
              </c:strCache>
            </c:strRef>
          </c:cat>
          <c:val>
            <c:numRef>
              <c:f>Asiakastiedot!$L$6:$N$6</c:f>
              <c:numCache>
                <c:formatCode>0.000\ %</c:formatCode>
                <c:ptCount val="3"/>
                <c:pt idx="0">
                  <c:v>0.53644857937824386</c:v>
                </c:pt>
                <c:pt idx="1">
                  <c:v>9.4407137888597531E-2</c:v>
                </c:pt>
                <c:pt idx="2">
                  <c:v>0.36914428273315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A4EA-4F03-81FF-E80D72813E5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56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4">
    <c:autoUpdate val="0"/>
  </c:externalData>
  <c:userShapes r:id="rId5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555517763303336E-2"/>
          <c:y val="9.1509583724044441E-2"/>
          <c:w val="0.92860574933532891"/>
          <c:h val="0.77084506261150265"/>
        </c:manualLayout>
      </c:layout>
      <c:barChart>
        <c:barDir val="col"/>
        <c:grouping val="clustered"/>
        <c:varyColors val="0"/>
        <c:ser>
          <c:idx val="0"/>
          <c:order val="0"/>
          <c:tx>
            <c:v>Tuotantokapasiteetti</c:v>
          </c:tx>
          <c:spPr>
            <a:solidFill>
              <a:srgbClr val="EA7911"/>
            </a:solidFill>
            <a:ln>
              <a:noFill/>
            </a:ln>
            <a:effectLst/>
          </c:spPr>
          <c:invertIfNegative val="0"/>
          <c:cat>
            <c:numRef>
              <c:f>Asiakastiedot!$A$7:$A$61</c:f>
              <c:numCache>
                <c:formatCode>General</c:formatCode>
                <c:ptCount val="55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17</c:v>
                </c:pt>
                <c:pt idx="48">
                  <c:v>2018</c:v>
                </c:pt>
                <c:pt idx="49">
                  <c:v>2019</c:v>
                </c:pt>
                <c:pt idx="50">
                  <c:v>2020</c:v>
                </c:pt>
                <c:pt idx="51">
                  <c:v>2021</c:v>
                </c:pt>
                <c:pt idx="52">
                  <c:v>2022</c:v>
                </c:pt>
                <c:pt idx="53">
                  <c:v>2023</c:v>
                </c:pt>
                <c:pt idx="54">
                  <c:v>2024</c:v>
                </c:pt>
              </c:numCache>
              <c:extLst/>
            </c:numRef>
          </c:cat>
          <c:val>
            <c:numRef>
              <c:f>Asiakastiedot!$G$7:$G$61</c:f>
              <c:numCache>
                <c:formatCode>0.00</c:formatCode>
                <c:ptCount val="55"/>
                <c:pt idx="0">
                  <c:v>2.4089999999999998</c:v>
                </c:pt>
                <c:pt idx="1">
                  <c:v>2.6469999999999998</c:v>
                </c:pt>
                <c:pt idx="2">
                  <c:v>3.1709999999999998</c:v>
                </c:pt>
                <c:pt idx="3">
                  <c:v>3.4420000000000002</c:v>
                </c:pt>
                <c:pt idx="4">
                  <c:v>4.2709999999999999</c:v>
                </c:pt>
                <c:pt idx="5">
                  <c:v>4.6539999999999999</c:v>
                </c:pt>
                <c:pt idx="6">
                  <c:v>5.5190000000000001</c:v>
                </c:pt>
                <c:pt idx="7">
                  <c:v>6.5540000000000003</c:v>
                </c:pt>
                <c:pt idx="8">
                  <c:v>7.3259999999999996</c:v>
                </c:pt>
                <c:pt idx="9">
                  <c:v>7.78</c:v>
                </c:pt>
                <c:pt idx="10">
                  <c:v>8.3670000000000009</c:v>
                </c:pt>
                <c:pt idx="11">
                  <c:v>9.1270000000000007</c:v>
                </c:pt>
                <c:pt idx="12">
                  <c:v>10.545999999999999</c:v>
                </c:pt>
                <c:pt idx="13">
                  <c:v>11.388999999999999</c:v>
                </c:pt>
                <c:pt idx="14">
                  <c:v>11.939</c:v>
                </c:pt>
                <c:pt idx="15">
                  <c:v>12.632</c:v>
                </c:pt>
                <c:pt idx="16">
                  <c:v>13.269</c:v>
                </c:pt>
                <c:pt idx="17">
                  <c:v>14.081</c:v>
                </c:pt>
                <c:pt idx="18">
                  <c:v>14.452999999999999</c:v>
                </c:pt>
                <c:pt idx="19">
                  <c:v>15.221</c:v>
                </c:pt>
                <c:pt idx="20">
                  <c:v>15.512</c:v>
                </c:pt>
                <c:pt idx="21">
                  <c:v>16.13</c:v>
                </c:pt>
                <c:pt idx="22">
                  <c:v>16.29</c:v>
                </c:pt>
                <c:pt idx="23">
                  <c:v>16.09</c:v>
                </c:pt>
                <c:pt idx="24">
                  <c:v>16.28</c:v>
                </c:pt>
                <c:pt idx="25">
                  <c:v>17.12</c:v>
                </c:pt>
                <c:pt idx="26">
                  <c:v>17.29</c:v>
                </c:pt>
                <c:pt idx="27">
                  <c:v>17.47</c:v>
                </c:pt>
                <c:pt idx="28">
                  <c:v>17.526</c:v>
                </c:pt>
                <c:pt idx="29">
                  <c:v>17.809999999999999</c:v>
                </c:pt>
                <c:pt idx="30">
                  <c:v>17.989999999999998</c:v>
                </c:pt>
                <c:pt idx="31">
                  <c:v>18.22</c:v>
                </c:pt>
                <c:pt idx="32">
                  <c:v>19.0365</c:v>
                </c:pt>
                <c:pt idx="33">
                  <c:v>19.312000000000001</c:v>
                </c:pt>
                <c:pt idx="34">
                  <c:v>19.45</c:v>
                </c:pt>
                <c:pt idx="35" formatCode="General">
                  <c:v>19.579999999999998</c:v>
                </c:pt>
                <c:pt idx="36">
                  <c:v>20.0763</c:v>
                </c:pt>
                <c:pt idx="37">
                  <c:v>20.394500000000001</c:v>
                </c:pt>
                <c:pt idx="38" formatCode="General">
                  <c:v>20.5</c:v>
                </c:pt>
                <c:pt idx="39">
                  <c:v>20.787199999999999</c:v>
                </c:pt>
                <c:pt idx="40">
                  <c:v>21.680199999999999</c:v>
                </c:pt>
                <c:pt idx="41">
                  <c:v>22.147199999999998</c:v>
                </c:pt>
                <c:pt idx="42">
                  <c:v>22.184199999999997</c:v>
                </c:pt>
                <c:pt idx="43">
                  <c:v>22.480899999999998</c:v>
                </c:pt>
                <c:pt idx="44">
                  <c:v>22.54055</c:v>
                </c:pt>
                <c:pt idx="45">
                  <c:v>22.793099999999999</c:v>
                </c:pt>
                <c:pt idx="46">
                  <c:v>22.737200000000001</c:v>
                </c:pt>
                <c:pt idx="47">
                  <c:v>23.185400000000001</c:v>
                </c:pt>
                <c:pt idx="48">
                  <c:v>23.367999999999999</c:v>
                </c:pt>
                <c:pt idx="49">
                  <c:v>23.5245</c:v>
                </c:pt>
                <c:pt idx="50">
                  <c:v>24.228299999999994</c:v>
                </c:pt>
                <c:pt idx="51">
                  <c:v>24.203499999999984</c:v>
                </c:pt>
                <c:pt idx="52">
                  <c:v>24.696399999999997</c:v>
                </c:pt>
                <c:pt idx="53">
                  <c:v>25.00659999999999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DEE2-427E-97DB-F3F7B1B5D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axId val="1922533488"/>
        <c:axId val="2012567552"/>
      </c:barChart>
      <c:lineChart>
        <c:grouping val="standard"/>
        <c:varyColors val="0"/>
        <c:ser>
          <c:idx val="1"/>
          <c:order val="1"/>
          <c:tx>
            <c:v>Sopimusteho</c:v>
          </c:tx>
          <c:spPr>
            <a:ln w="38100" cap="rnd">
              <a:solidFill>
                <a:srgbClr val="460D56"/>
              </a:solidFill>
              <a:round/>
            </a:ln>
            <a:effectLst/>
          </c:spPr>
          <c:marker>
            <c:symbol val="none"/>
          </c:marker>
          <c:cat>
            <c:numRef>
              <c:f>Asiakastiedot!$A$8:$A$60</c:f>
              <c:numCache>
                <c:formatCode>General</c:formatCode>
                <c:ptCount val="53"/>
                <c:pt idx="0">
                  <c:v>1971</c:v>
                </c:pt>
                <c:pt idx="1">
                  <c:v>1972</c:v>
                </c:pt>
                <c:pt idx="2">
                  <c:v>1973</c:v>
                </c:pt>
                <c:pt idx="3">
                  <c:v>1974</c:v>
                </c:pt>
                <c:pt idx="4">
                  <c:v>1975</c:v>
                </c:pt>
                <c:pt idx="5">
                  <c:v>1976</c:v>
                </c:pt>
                <c:pt idx="6">
                  <c:v>1977</c:v>
                </c:pt>
                <c:pt idx="7">
                  <c:v>1978</c:v>
                </c:pt>
                <c:pt idx="8">
                  <c:v>1979</c:v>
                </c:pt>
                <c:pt idx="9">
                  <c:v>1980</c:v>
                </c:pt>
                <c:pt idx="10">
                  <c:v>1981</c:v>
                </c:pt>
                <c:pt idx="11">
                  <c:v>1982</c:v>
                </c:pt>
                <c:pt idx="12">
                  <c:v>1983</c:v>
                </c:pt>
                <c:pt idx="13">
                  <c:v>1984</c:v>
                </c:pt>
                <c:pt idx="14">
                  <c:v>1985</c:v>
                </c:pt>
                <c:pt idx="15">
                  <c:v>1986</c:v>
                </c:pt>
                <c:pt idx="16">
                  <c:v>1987</c:v>
                </c:pt>
                <c:pt idx="17">
                  <c:v>1988</c:v>
                </c:pt>
                <c:pt idx="18">
                  <c:v>1989</c:v>
                </c:pt>
                <c:pt idx="19">
                  <c:v>1990</c:v>
                </c:pt>
                <c:pt idx="20">
                  <c:v>1991</c:v>
                </c:pt>
                <c:pt idx="21">
                  <c:v>1992</c:v>
                </c:pt>
                <c:pt idx="22">
                  <c:v>1993</c:v>
                </c:pt>
                <c:pt idx="23">
                  <c:v>1994</c:v>
                </c:pt>
                <c:pt idx="24">
                  <c:v>1995</c:v>
                </c:pt>
                <c:pt idx="25">
                  <c:v>1996</c:v>
                </c:pt>
                <c:pt idx="26">
                  <c:v>1997</c:v>
                </c:pt>
                <c:pt idx="27">
                  <c:v>1998</c:v>
                </c:pt>
                <c:pt idx="28">
                  <c:v>1999</c:v>
                </c:pt>
                <c:pt idx="29">
                  <c:v>2000</c:v>
                </c:pt>
                <c:pt idx="30">
                  <c:v>2001</c:v>
                </c:pt>
                <c:pt idx="31">
                  <c:v>2002</c:v>
                </c:pt>
                <c:pt idx="32">
                  <c:v>2003</c:v>
                </c:pt>
                <c:pt idx="33">
                  <c:v>2004</c:v>
                </c:pt>
                <c:pt idx="34">
                  <c:v>2005</c:v>
                </c:pt>
                <c:pt idx="35">
                  <c:v>2006</c:v>
                </c:pt>
                <c:pt idx="36">
                  <c:v>2007</c:v>
                </c:pt>
                <c:pt idx="37">
                  <c:v>2008</c:v>
                </c:pt>
                <c:pt idx="38">
                  <c:v>2009</c:v>
                </c:pt>
                <c:pt idx="39">
                  <c:v>2010</c:v>
                </c:pt>
                <c:pt idx="40">
                  <c:v>2011</c:v>
                </c:pt>
                <c:pt idx="41">
                  <c:v>2012</c:v>
                </c:pt>
                <c:pt idx="42">
                  <c:v>2013</c:v>
                </c:pt>
                <c:pt idx="43">
                  <c:v>2014</c:v>
                </c:pt>
                <c:pt idx="44">
                  <c:v>2015</c:v>
                </c:pt>
                <c:pt idx="45">
                  <c:v>2016</c:v>
                </c:pt>
                <c:pt idx="46">
                  <c:v>2017</c:v>
                </c:pt>
                <c:pt idx="47">
                  <c:v>2018</c:v>
                </c:pt>
                <c:pt idx="48">
                  <c:v>2019</c:v>
                </c:pt>
                <c:pt idx="49">
                  <c:v>2020</c:v>
                </c:pt>
                <c:pt idx="50">
                  <c:v>2021</c:v>
                </c:pt>
                <c:pt idx="51">
                  <c:v>2022</c:v>
                </c:pt>
                <c:pt idx="52">
                  <c:v>2023</c:v>
                </c:pt>
              </c:numCache>
              <c:extLst/>
            </c:numRef>
          </c:cat>
          <c:val>
            <c:numRef>
              <c:f>Asiakastiedot!$E$7:$E$60</c:f>
              <c:numCache>
                <c:formatCode>#,##0.00</c:formatCode>
                <c:ptCount val="54"/>
                <c:pt idx="0">
                  <c:v>1.708</c:v>
                </c:pt>
                <c:pt idx="1">
                  <c:v>2.0550000000000002</c:v>
                </c:pt>
                <c:pt idx="2">
                  <c:v>2.403</c:v>
                </c:pt>
                <c:pt idx="3">
                  <c:v>2.7719999999999998</c:v>
                </c:pt>
                <c:pt idx="4">
                  <c:v>3.2610000000000001</c:v>
                </c:pt>
                <c:pt idx="5">
                  <c:v>3.7589999999999999</c:v>
                </c:pt>
                <c:pt idx="6" formatCode="0.00">
                  <c:v>4.25</c:v>
                </c:pt>
                <c:pt idx="7" formatCode="0.00">
                  <c:v>4.7850000000000001</c:v>
                </c:pt>
                <c:pt idx="8" formatCode="0.00">
                  <c:v>5.28</c:v>
                </c:pt>
                <c:pt idx="9" formatCode="0.00">
                  <c:v>5.819</c:v>
                </c:pt>
                <c:pt idx="10" formatCode="0.00">
                  <c:v>6.5469999999999997</c:v>
                </c:pt>
                <c:pt idx="11" formatCode="0.00">
                  <c:v>7.3760000000000003</c:v>
                </c:pt>
                <c:pt idx="12" formatCode="0.00">
                  <c:v>8.1140000000000008</c:v>
                </c:pt>
                <c:pt idx="13" formatCode="0.00">
                  <c:v>8.8420000000000005</c:v>
                </c:pt>
                <c:pt idx="14" formatCode="0.00">
                  <c:v>9.5</c:v>
                </c:pt>
                <c:pt idx="15" formatCode="0.00">
                  <c:v>10.067</c:v>
                </c:pt>
                <c:pt idx="16" formatCode="0.00">
                  <c:v>10.454000000000001</c:v>
                </c:pt>
                <c:pt idx="17" formatCode="0.00">
                  <c:v>10.85</c:v>
                </c:pt>
                <c:pt idx="18" formatCode="0.00">
                  <c:v>11.35</c:v>
                </c:pt>
                <c:pt idx="19" formatCode="0.00">
                  <c:v>11.6</c:v>
                </c:pt>
                <c:pt idx="20" formatCode="0.00">
                  <c:v>12.025</c:v>
                </c:pt>
                <c:pt idx="21" formatCode="0.00">
                  <c:v>12.29</c:v>
                </c:pt>
                <c:pt idx="22" formatCode="0.00">
                  <c:v>12.47</c:v>
                </c:pt>
                <c:pt idx="23" formatCode="0.00">
                  <c:v>12.47</c:v>
                </c:pt>
                <c:pt idx="24" formatCode="0.00">
                  <c:v>12.72</c:v>
                </c:pt>
                <c:pt idx="25" formatCode="0.00">
                  <c:v>12.806100000000001</c:v>
                </c:pt>
                <c:pt idx="26" formatCode="0.00">
                  <c:v>12.9709</c:v>
                </c:pt>
                <c:pt idx="27" formatCode="0.00">
                  <c:v>13.2798</c:v>
                </c:pt>
                <c:pt idx="28" formatCode="0.00">
                  <c:v>13.598699999999999</c:v>
                </c:pt>
                <c:pt idx="29" formatCode="0.00">
                  <c:v>13.821099999999999</c:v>
                </c:pt>
                <c:pt idx="30" formatCode="0.00">
                  <c:v>14.156499999999999</c:v>
                </c:pt>
                <c:pt idx="31" formatCode="0.00">
                  <c:v>14.6058</c:v>
                </c:pt>
                <c:pt idx="32" formatCode="0.00">
                  <c:v>14.91</c:v>
                </c:pt>
                <c:pt idx="33" formatCode="0.00">
                  <c:v>15.331899999999999</c:v>
                </c:pt>
                <c:pt idx="34" formatCode="0.00">
                  <c:v>15.395300000000001</c:v>
                </c:pt>
                <c:pt idx="35" formatCode="0.00">
                  <c:v>15.551500000000001</c:v>
                </c:pt>
                <c:pt idx="36" formatCode="0.00">
                  <c:v>15.9727</c:v>
                </c:pt>
                <c:pt idx="37" formatCode="0.00">
                  <c:v>16.373100000000001</c:v>
                </c:pt>
                <c:pt idx="38" formatCode="0.00">
                  <c:v>16.646599999999999</c:v>
                </c:pt>
                <c:pt idx="39" formatCode="0.00">
                  <c:v>17.178000000000001</c:v>
                </c:pt>
                <c:pt idx="40" formatCode="0.00">
                  <c:v>17.798400000000001</c:v>
                </c:pt>
                <c:pt idx="41" formatCode="0.00">
                  <c:v>18.213299999999997</c:v>
                </c:pt>
                <c:pt idx="42" formatCode="0.00">
                  <c:v>18.457999999999998</c:v>
                </c:pt>
                <c:pt idx="43" formatCode="0.00">
                  <c:v>18.568000000000001</c:v>
                </c:pt>
                <c:pt idx="44" formatCode="0.00">
                  <c:v>18.628299999999999</c:v>
                </c:pt>
                <c:pt idx="45" formatCode="0.00">
                  <c:v>18.861699999999999</c:v>
                </c:pt>
                <c:pt idx="46" formatCode="0.00">
                  <c:v>18.890799999999999</c:v>
                </c:pt>
                <c:pt idx="47" formatCode="0.00">
                  <c:v>19.064</c:v>
                </c:pt>
                <c:pt idx="48" formatCode="0.00">
                  <c:v>19.034600000000001</c:v>
                </c:pt>
                <c:pt idx="49" formatCode="0.00">
                  <c:v>19.0914</c:v>
                </c:pt>
                <c:pt idx="50" formatCode="0.00">
                  <c:v>19.187900000000003</c:v>
                </c:pt>
                <c:pt idx="51" formatCode="0.00">
                  <c:v>19.200400000000005</c:v>
                </c:pt>
                <c:pt idx="52" formatCode="0.00">
                  <c:v>19.354800000000012</c:v>
                </c:pt>
                <c:pt idx="53" formatCode="0.00">
                  <c:v>19.48860000000000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DEE2-427E-97DB-F3F7B1B5D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2533488"/>
        <c:axId val="2012567552"/>
      </c:lineChart>
      <c:catAx>
        <c:axId val="1922533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000000">
                <a:lumMod val="75000"/>
                <a:lumOff val="25000"/>
              </a:srgb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2012567552"/>
        <c:crosses val="autoZero"/>
        <c:auto val="1"/>
        <c:lblAlgn val="ctr"/>
        <c:lblOffset val="100"/>
        <c:tickLblSkip val="4"/>
        <c:tickMarkSkip val="2"/>
        <c:noMultiLvlLbl val="0"/>
      </c:catAx>
      <c:valAx>
        <c:axId val="2012567552"/>
        <c:scaling>
          <c:orientation val="minMax"/>
          <c:max val="25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sz="1400" b="1">
                    <a:solidFill>
                      <a:schemeClr val="tx1"/>
                    </a:solidFill>
                  </a:rPr>
                  <a:t>GW</a:t>
                </a:r>
              </a:p>
            </c:rich>
          </c:tx>
          <c:layout>
            <c:manualLayout>
              <c:xMode val="edge"/>
              <c:yMode val="edge"/>
              <c:x val="9.9795944541943241E-3"/>
              <c:y val="2.1228781825176589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192253348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954158108072257"/>
          <c:y val="0.93310770158512168"/>
          <c:w val="0.52091669672405516"/>
          <c:h val="6.68922984148783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4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828469837740363E-2"/>
          <c:y val="8.003077137108805E-2"/>
          <c:w val="0.91623050562502328"/>
          <c:h val="0.69054752245139439"/>
        </c:manualLayout>
      </c:layout>
      <c:lineChart>
        <c:grouping val="standard"/>
        <c:varyColors val="0"/>
        <c:ser>
          <c:idx val="0"/>
          <c:order val="0"/>
          <c:tx>
            <c:v>Kaukolämmön kysyntä</c:v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2021'!$D$2:$D$8761</c:f>
              <c:numCache>
                <c:formatCode>0</c:formatCode>
                <c:ptCount val="8760"/>
                <c:pt idx="0">
                  <c:v>5715.4082683430124</c:v>
                </c:pt>
                <c:pt idx="1">
                  <c:v>5583.8673377620416</c:v>
                </c:pt>
                <c:pt idx="2">
                  <c:v>5497.6557741402403</c:v>
                </c:pt>
                <c:pt idx="3">
                  <c:v>5476.7386408400971</c:v>
                </c:pt>
                <c:pt idx="4">
                  <c:v>5593.1172855439281</c:v>
                </c:pt>
                <c:pt idx="5">
                  <c:v>5649.6308054692636</c:v>
                </c:pt>
                <c:pt idx="6">
                  <c:v>5660.025512005197</c:v>
                </c:pt>
                <c:pt idx="7">
                  <c:v>5658.8429613871094</c:v>
                </c:pt>
                <c:pt idx="8">
                  <c:v>5698.6376358682819</c:v>
                </c:pt>
                <c:pt idx="9">
                  <c:v>5671.2132033513517</c:v>
                </c:pt>
                <c:pt idx="10">
                  <c:v>5729.9562193760939</c:v>
                </c:pt>
                <c:pt idx="11">
                  <c:v>5882.6109800534032</c:v>
                </c:pt>
                <c:pt idx="12">
                  <c:v>5937.3139251359889</c:v>
                </c:pt>
                <c:pt idx="13">
                  <c:v>6193.3281452946831</c:v>
                </c:pt>
                <c:pt idx="14">
                  <c:v>6324.1041851472828</c:v>
                </c:pt>
                <c:pt idx="15">
                  <c:v>6252.0890497960327</c:v>
                </c:pt>
                <c:pt idx="16">
                  <c:v>6229.8862177327755</c:v>
                </c:pt>
                <c:pt idx="17">
                  <c:v>6536.5310188540461</c:v>
                </c:pt>
                <c:pt idx="18">
                  <c:v>6478.4524264999554</c:v>
                </c:pt>
                <c:pt idx="19">
                  <c:v>6140.7489981302815</c:v>
                </c:pt>
                <c:pt idx="20">
                  <c:v>5983.9704412324854</c:v>
                </c:pt>
                <c:pt idx="21">
                  <c:v>5924.926024034583</c:v>
                </c:pt>
                <c:pt idx="22">
                  <c:v>5912.0912932504116</c:v>
                </c:pt>
                <c:pt idx="23">
                  <c:v>5796.6995398564322</c:v>
                </c:pt>
                <c:pt idx="24">
                  <c:v>5800.8590802673552</c:v>
                </c:pt>
                <c:pt idx="25">
                  <c:v>5727.5156709234107</c:v>
                </c:pt>
                <c:pt idx="26">
                  <c:v>5752.7051796407677</c:v>
                </c:pt>
                <c:pt idx="27">
                  <c:v>5691.5599421527522</c:v>
                </c:pt>
                <c:pt idx="28">
                  <c:v>5735.6556977048376</c:v>
                </c:pt>
                <c:pt idx="29">
                  <c:v>5951.1682772449058</c:v>
                </c:pt>
                <c:pt idx="30">
                  <c:v>6098.9996471892491</c:v>
                </c:pt>
                <c:pt idx="31">
                  <c:v>6307.9407506915413</c:v>
                </c:pt>
                <c:pt idx="32">
                  <c:v>6471.7162519788408</c:v>
                </c:pt>
                <c:pt idx="33">
                  <c:v>6544.9916021126428</c:v>
                </c:pt>
                <c:pt idx="34">
                  <c:v>6660.9445436648384</c:v>
                </c:pt>
                <c:pt idx="35">
                  <c:v>6699.5797925884935</c:v>
                </c:pt>
                <c:pt idx="36">
                  <c:v>6753.7308432207938</c:v>
                </c:pt>
                <c:pt idx="37">
                  <c:v>6864.1398368103019</c:v>
                </c:pt>
                <c:pt idx="38">
                  <c:v>6832.2927405545324</c:v>
                </c:pt>
                <c:pt idx="39">
                  <c:v>6823.333737159267</c:v>
                </c:pt>
                <c:pt idx="40">
                  <c:v>6833.8742489767501</c:v>
                </c:pt>
                <c:pt idx="41">
                  <c:v>6843.7681873769479</c:v>
                </c:pt>
                <c:pt idx="42">
                  <c:v>6838.0265378928834</c:v>
                </c:pt>
                <c:pt idx="43">
                  <c:v>6884.498009821109</c:v>
                </c:pt>
                <c:pt idx="44">
                  <c:v>6790.8132784550062</c:v>
                </c:pt>
                <c:pt idx="45">
                  <c:v>6705.0341671170363</c:v>
                </c:pt>
                <c:pt idx="46">
                  <c:v>6615.5417170976743</c:v>
                </c:pt>
                <c:pt idx="47">
                  <c:v>6505.9793628272837</c:v>
                </c:pt>
                <c:pt idx="48">
                  <c:v>6544.6857670435702</c:v>
                </c:pt>
                <c:pt idx="49">
                  <c:v>6522.8347143846022</c:v>
                </c:pt>
                <c:pt idx="50">
                  <c:v>6417.1554045234643</c:v>
                </c:pt>
                <c:pt idx="51">
                  <c:v>6435.9188001870971</c:v>
                </c:pt>
                <c:pt idx="52">
                  <c:v>6565.4551729792065</c:v>
                </c:pt>
                <c:pt idx="53">
                  <c:v>6688.6872447249652</c:v>
                </c:pt>
                <c:pt idx="54">
                  <c:v>6817.918705266241</c:v>
                </c:pt>
                <c:pt idx="55">
                  <c:v>6885.5505850397221</c:v>
                </c:pt>
                <c:pt idx="56">
                  <c:v>7134.7890532418787</c:v>
                </c:pt>
                <c:pt idx="57">
                  <c:v>7187.5964149945921</c:v>
                </c:pt>
                <c:pt idx="58">
                  <c:v>7284.5662809984278</c:v>
                </c:pt>
                <c:pt idx="59">
                  <c:v>7378.1156966322978</c:v>
                </c:pt>
                <c:pt idx="60">
                  <c:v>7342.5035784133606</c:v>
                </c:pt>
                <c:pt idx="61">
                  <c:v>7342.2665615587812</c:v>
                </c:pt>
                <c:pt idx="62">
                  <c:v>7416.8678704489885</c:v>
                </c:pt>
                <c:pt idx="63">
                  <c:v>7443.0851038180972</c:v>
                </c:pt>
                <c:pt idx="64">
                  <c:v>7507.5197842491079</c:v>
                </c:pt>
                <c:pt idx="65">
                  <c:v>7491.4131713707711</c:v>
                </c:pt>
                <c:pt idx="66">
                  <c:v>7364.7025717711676</c:v>
                </c:pt>
                <c:pt idx="67">
                  <c:v>7196.4505065153007</c:v>
                </c:pt>
                <c:pt idx="68">
                  <c:v>6890.5652339477901</c:v>
                </c:pt>
                <c:pt idx="69">
                  <c:v>6729.1369235782076</c:v>
                </c:pt>
                <c:pt idx="70">
                  <c:v>6633.7921186490385</c:v>
                </c:pt>
                <c:pt idx="71">
                  <c:v>6475.9681670414002</c:v>
                </c:pt>
                <c:pt idx="72">
                  <c:v>6413.8707667878598</c:v>
                </c:pt>
                <c:pt idx="73">
                  <c:v>6304.6399882088617</c:v>
                </c:pt>
                <c:pt idx="74">
                  <c:v>6377.491857599447</c:v>
                </c:pt>
                <c:pt idx="75">
                  <c:v>6595.2342881690138</c:v>
                </c:pt>
                <c:pt idx="76">
                  <c:v>6978.0691417161097</c:v>
                </c:pt>
                <c:pt idx="77">
                  <c:v>7284.7793646439204</c:v>
                </c:pt>
                <c:pt idx="78">
                  <c:v>7519.5915081646262</c:v>
                </c:pt>
                <c:pt idx="79">
                  <c:v>7495.6772632656957</c:v>
                </c:pt>
                <c:pt idx="80">
                  <c:v>7436.3104603355378</c:v>
                </c:pt>
                <c:pt idx="81">
                  <c:v>7419.7093370119983</c:v>
                </c:pt>
                <c:pt idx="82">
                  <c:v>7409.1149413461771</c:v>
                </c:pt>
                <c:pt idx="83">
                  <c:v>7379.6403561747975</c:v>
                </c:pt>
                <c:pt idx="84">
                  <c:v>7377.8975839004343</c:v>
                </c:pt>
                <c:pt idx="85">
                  <c:v>7410.756361967824</c:v>
                </c:pt>
                <c:pt idx="86">
                  <c:v>7511.8493088715004</c:v>
                </c:pt>
                <c:pt idx="87">
                  <c:v>7427.5259733359853</c:v>
                </c:pt>
                <c:pt idx="88">
                  <c:v>7348.4127385191814</c:v>
                </c:pt>
                <c:pt idx="89">
                  <c:v>7270.7920557227635</c:v>
                </c:pt>
                <c:pt idx="90">
                  <c:v>7227.6345878998591</c:v>
                </c:pt>
                <c:pt idx="91">
                  <c:v>7102.2755402464836</c:v>
                </c:pt>
                <c:pt idx="92">
                  <c:v>6882.2427785598438</c:v>
                </c:pt>
                <c:pt idx="93">
                  <c:v>6673.7724597912566</c:v>
                </c:pt>
                <c:pt idx="94">
                  <c:v>6575.0469621228222</c:v>
                </c:pt>
                <c:pt idx="95">
                  <c:v>6547.8383762456342</c:v>
                </c:pt>
                <c:pt idx="96">
                  <c:v>6470.2740618081943</c:v>
                </c:pt>
                <c:pt idx="97">
                  <c:v>6469.0329586459511</c:v>
                </c:pt>
                <c:pt idx="98">
                  <c:v>6484.6913712653222</c:v>
                </c:pt>
                <c:pt idx="99">
                  <c:v>6611.23455307104</c:v>
                </c:pt>
                <c:pt idx="100">
                  <c:v>7104.2652674179863</c:v>
                </c:pt>
                <c:pt idx="101">
                  <c:v>7534.2113898760772</c:v>
                </c:pt>
                <c:pt idx="102">
                  <c:v>7912.2602896241578</c:v>
                </c:pt>
                <c:pt idx="103">
                  <c:v>8021.7840984866225</c:v>
                </c:pt>
                <c:pt idx="104">
                  <c:v>8084.6404102616079</c:v>
                </c:pt>
                <c:pt idx="105">
                  <c:v>8113.223301834113</c:v>
                </c:pt>
                <c:pt idx="106">
                  <c:v>8024.396029029288</c:v>
                </c:pt>
                <c:pt idx="107">
                  <c:v>8050.5305254638588</c:v>
                </c:pt>
                <c:pt idx="108">
                  <c:v>8148.9821699946897</c:v>
                </c:pt>
                <c:pt idx="109">
                  <c:v>8198.2104167056532</c:v>
                </c:pt>
                <c:pt idx="110">
                  <c:v>8188.5831290924343</c:v>
                </c:pt>
                <c:pt idx="111">
                  <c:v>8089.9575360540366</c:v>
                </c:pt>
                <c:pt idx="112">
                  <c:v>7943.9100338281796</c:v>
                </c:pt>
                <c:pt idx="113">
                  <c:v>7847.1698075934846</c:v>
                </c:pt>
                <c:pt idx="114">
                  <c:v>7729.7415144791776</c:v>
                </c:pt>
                <c:pt idx="115">
                  <c:v>7568.728581525801</c:v>
                </c:pt>
                <c:pt idx="116">
                  <c:v>7407.1730969742366</c:v>
                </c:pt>
                <c:pt idx="117">
                  <c:v>7193.6877634465645</c:v>
                </c:pt>
                <c:pt idx="118">
                  <c:v>6972.7010916462586</c:v>
                </c:pt>
                <c:pt idx="119">
                  <c:v>6832.6636916442194</c:v>
                </c:pt>
                <c:pt idx="120">
                  <c:v>6846.016751412958</c:v>
                </c:pt>
                <c:pt idx="121">
                  <c:v>6759.1079631195953</c:v>
                </c:pt>
                <c:pt idx="122">
                  <c:v>6796.8405429138584</c:v>
                </c:pt>
                <c:pt idx="123">
                  <c:v>6945.0158401167746</c:v>
                </c:pt>
                <c:pt idx="124">
                  <c:v>7189.0278971974039</c:v>
                </c:pt>
                <c:pt idx="125">
                  <c:v>7588.5439299152722</c:v>
                </c:pt>
                <c:pt idx="126">
                  <c:v>7618.1768521306585</c:v>
                </c:pt>
                <c:pt idx="127">
                  <c:v>7751.1782872749927</c:v>
                </c:pt>
                <c:pt idx="128">
                  <c:v>7845.3330006867482</c:v>
                </c:pt>
                <c:pt idx="129">
                  <c:v>7935.509324545772</c:v>
                </c:pt>
                <c:pt idx="130">
                  <c:v>8029.5814975996554</c:v>
                </c:pt>
                <c:pt idx="131">
                  <c:v>7995.8105655787367</c:v>
                </c:pt>
                <c:pt idx="132">
                  <c:v>7950.6861570961973</c:v>
                </c:pt>
                <c:pt idx="133">
                  <c:v>7925.3606173259614</c:v>
                </c:pt>
                <c:pt idx="134">
                  <c:v>7989.5825854229624</c:v>
                </c:pt>
                <c:pt idx="135">
                  <c:v>8003.8157953719083</c:v>
                </c:pt>
                <c:pt idx="136">
                  <c:v>7947.6129867090531</c:v>
                </c:pt>
                <c:pt idx="137">
                  <c:v>7924.7626911730513</c:v>
                </c:pt>
                <c:pt idx="138">
                  <c:v>7764.0636147088117</c:v>
                </c:pt>
                <c:pt idx="139">
                  <c:v>7455.2163522401743</c:v>
                </c:pt>
                <c:pt idx="140">
                  <c:v>7048.8767120685225</c:v>
                </c:pt>
                <c:pt idx="141">
                  <c:v>6792.0254793868835</c:v>
                </c:pt>
                <c:pt idx="142">
                  <c:v>6712.2363102435393</c:v>
                </c:pt>
                <c:pt idx="143">
                  <c:v>6479.4184260785805</c:v>
                </c:pt>
                <c:pt idx="144">
                  <c:v>6461.9534902799633</c:v>
                </c:pt>
                <c:pt idx="145">
                  <c:v>6377.4077828514883</c:v>
                </c:pt>
                <c:pt idx="146">
                  <c:v>6329.4761285272134</c:v>
                </c:pt>
                <c:pt idx="147">
                  <c:v>6459.7181569456698</c:v>
                </c:pt>
                <c:pt idx="148">
                  <c:v>6948.4730394023591</c:v>
                </c:pt>
                <c:pt idx="149">
                  <c:v>7166.3116724080837</c:v>
                </c:pt>
                <c:pt idx="150">
                  <c:v>7332.568009443673</c:v>
                </c:pt>
                <c:pt idx="151">
                  <c:v>7384.8535748178501</c:v>
                </c:pt>
                <c:pt idx="152">
                  <c:v>7637.0632010384179</c:v>
                </c:pt>
                <c:pt idx="153">
                  <c:v>7537.9643278347485</c:v>
                </c:pt>
                <c:pt idx="154">
                  <c:v>7543.935633469343</c:v>
                </c:pt>
                <c:pt idx="155">
                  <c:v>7309.4953201728576</c:v>
                </c:pt>
                <c:pt idx="156">
                  <c:v>7489.570587294239</c:v>
                </c:pt>
                <c:pt idx="157">
                  <c:v>7438.2915981988281</c:v>
                </c:pt>
                <c:pt idx="158">
                  <c:v>7528.2125471268537</c:v>
                </c:pt>
                <c:pt idx="159">
                  <c:v>7613.5509499610152</c:v>
                </c:pt>
                <c:pt idx="160">
                  <c:v>7597.9973782301813</c:v>
                </c:pt>
                <c:pt idx="161">
                  <c:v>7605.2265561087243</c:v>
                </c:pt>
                <c:pt idx="162">
                  <c:v>7413.2622830828823</c:v>
                </c:pt>
                <c:pt idx="163">
                  <c:v>7419.9893331704152</c:v>
                </c:pt>
                <c:pt idx="164">
                  <c:v>7195.7101824097172</c:v>
                </c:pt>
                <c:pt idx="165">
                  <c:v>7035.3991155214035</c:v>
                </c:pt>
                <c:pt idx="166">
                  <c:v>6884.2779913876766</c:v>
                </c:pt>
                <c:pt idx="167">
                  <c:v>6735.3866964415947</c:v>
                </c:pt>
                <c:pt idx="168">
                  <c:v>6641.0052864502259</c:v>
                </c:pt>
                <c:pt idx="169">
                  <c:v>6651.9824223452324</c:v>
                </c:pt>
                <c:pt idx="170">
                  <c:v>6761.2363205243391</c:v>
                </c:pt>
                <c:pt idx="171">
                  <c:v>6810.8736541981953</c:v>
                </c:pt>
                <c:pt idx="172">
                  <c:v>7136.5519254803439</c:v>
                </c:pt>
                <c:pt idx="173">
                  <c:v>7449.4844933661689</c:v>
                </c:pt>
                <c:pt idx="174">
                  <c:v>7768.516207245053</c:v>
                </c:pt>
                <c:pt idx="175">
                  <c:v>7814.1895506069623</c:v>
                </c:pt>
                <c:pt idx="176">
                  <c:v>7932.7102311752133</c:v>
                </c:pt>
                <c:pt idx="177">
                  <c:v>8013.4977312982783</c:v>
                </c:pt>
                <c:pt idx="178">
                  <c:v>8077.5706069150347</c:v>
                </c:pt>
                <c:pt idx="179">
                  <c:v>8066.9212953733777</c:v>
                </c:pt>
                <c:pt idx="180">
                  <c:v>8060.5051258226758</c:v>
                </c:pt>
                <c:pt idx="181">
                  <c:v>8131.9861077677479</c:v>
                </c:pt>
                <c:pt idx="182">
                  <c:v>8132.5993286773664</c:v>
                </c:pt>
                <c:pt idx="183">
                  <c:v>8114.3611421816095</c:v>
                </c:pt>
                <c:pt idx="184">
                  <c:v>7895.0988736583231</c:v>
                </c:pt>
                <c:pt idx="185">
                  <c:v>7804.0802733900764</c:v>
                </c:pt>
                <c:pt idx="186">
                  <c:v>7629.7803195068145</c:v>
                </c:pt>
                <c:pt idx="187">
                  <c:v>7583.895470573204</c:v>
                </c:pt>
                <c:pt idx="188">
                  <c:v>7330.0668553127653</c:v>
                </c:pt>
                <c:pt idx="189">
                  <c:v>7179.2170069781332</c:v>
                </c:pt>
                <c:pt idx="190">
                  <c:v>7205.3247580651996</c:v>
                </c:pt>
                <c:pt idx="191">
                  <c:v>7244.2474839815068</c:v>
                </c:pt>
                <c:pt idx="192">
                  <c:v>7222.9071101985182</c:v>
                </c:pt>
                <c:pt idx="193">
                  <c:v>7181.043706567958</c:v>
                </c:pt>
                <c:pt idx="194">
                  <c:v>7379.1867336761279</c:v>
                </c:pt>
                <c:pt idx="195">
                  <c:v>7407.2402988916974</c:v>
                </c:pt>
                <c:pt idx="196">
                  <c:v>7397.4441956060791</c:v>
                </c:pt>
                <c:pt idx="197">
                  <c:v>7571.6373264527529</c:v>
                </c:pt>
                <c:pt idx="198">
                  <c:v>7887.1836377549434</c:v>
                </c:pt>
                <c:pt idx="199">
                  <c:v>8434.6691573668777</c:v>
                </c:pt>
                <c:pt idx="200">
                  <c:v>8631.9764551608951</c:v>
                </c:pt>
                <c:pt idx="201">
                  <c:v>8656.2138011127263</c:v>
                </c:pt>
                <c:pt idx="202">
                  <c:v>8654.8403199473141</c:v>
                </c:pt>
                <c:pt idx="203">
                  <c:v>8628.0644375352567</c:v>
                </c:pt>
                <c:pt idx="204">
                  <c:v>8649.705284212705</c:v>
                </c:pt>
                <c:pt idx="205">
                  <c:v>8813.9123641097649</c:v>
                </c:pt>
                <c:pt idx="206">
                  <c:v>8851.3606230589594</c:v>
                </c:pt>
                <c:pt idx="207">
                  <c:v>8910.3995251892866</c:v>
                </c:pt>
                <c:pt idx="208">
                  <c:v>8782.9315921420275</c:v>
                </c:pt>
                <c:pt idx="209">
                  <c:v>8876.89535862507</c:v>
                </c:pt>
                <c:pt idx="210">
                  <c:v>9256.0846269149879</c:v>
                </c:pt>
                <c:pt idx="211">
                  <c:v>9411.3431765847126</c:v>
                </c:pt>
                <c:pt idx="212">
                  <c:v>9202.1528411722338</c:v>
                </c:pt>
                <c:pt idx="213">
                  <c:v>9092.0972105212677</c:v>
                </c:pt>
                <c:pt idx="214">
                  <c:v>8981.4081661687142</c:v>
                </c:pt>
                <c:pt idx="215">
                  <c:v>8919.2025723023871</c:v>
                </c:pt>
                <c:pt idx="216">
                  <c:v>8764.0626948738409</c:v>
                </c:pt>
                <c:pt idx="217">
                  <c:v>8378.0785793884661</c:v>
                </c:pt>
                <c:pt idx="218">
                  <c:v>8249.5440541142125</c:v>
                </c:pt>
                <c:pt idx="219">
                  <c:v>8256.4801853279005</c:v>
                </c:pt>
                <c:pt idx="220">
                  <c:v>8255.1654478228484</c:v>
                </c:pt>
                <c:pt idx="221">
                  <c:v>8158.1374442700399</c:v>
                </c:pt>
                <c:pt idx="222">
                  <c:v>8076.3186210501417</c:v>
                </c:pt>
                <c:pt idx="223">
                  <c:v>7865.253714169201</c:v>
                </c:pt>
                <c:pt idx="224">
                  <c:v>7638.1804609010742</c:v>
                </c:pt>
                <c:pt idx="225">
                  <c:v>7428.4668930083062</c:v>
                </c:pt>
                <c:pt idx="226">
                  <c:v>7637.7399489739346</c:v>
                </c:pt>
                <c:pt idx="227">
                  <c:v>7631.8091381325385</c:v>
                </c:pt>
                <c:pt idx="228">
                  <c:v>7562.8547615361576</c:v>
                </c:pt>
                <c:pt idx="229">
                  <c:v>7526.7307412975424</c:v>
                </c:pt>
                <c:pt idx="230">
                  <c:v>7528.4870664409364</c:v>
                </c:pt>
                <c:pt idx="231">
                  <c:v>7509.4302145777283</c:v>
                </c:pt>
                <c:pt idx="232">
                  <c:v>7465.4698402834319</c:v>
                </c:pt>
                <c:pt idx="233">
                  <c:v>7331.3635186854726</c:v>
                </c:pt>
                <c:pt idx="234">
                  <c:v>7265.5045529418112</c:v>
                </c:pt>
                <c:pt idx="235">
                  <c:v>7125.0881913509429</c:v>
                </c:pt>
                <c:pt idx="236">
                  <c:v>6933.0685164680654</c:v>
                </c:pt>
                <c:pt idx="237">
                  <c:v>6677.3329819566807</c:v>
                </c:pt>
                <c:pt idx="238">
                  <c:v>6481.2659354926891</c:v>
                </c:pt>
                <c:pt idx="239">
                  <c:v>6417.3058238962039</c:v>
                </c:pt>
                <c:pt idx="240">
                  <c:v>6376.5886806470007</c:v>
                </c:pt>
                <c:pt idx="241">
                  <c:v>6405.8179381391992</c:v>
                </c:pt>
                <c:pt idx="242">
                  <c:v>6474.5978147212545</c:v>
                </c:pt>
                <c:pt idx="243">
                  <c:v>6499.9644990797779</c:v>
                </c:pt>
                <c:pt idx="244">
                  <c:v>6884.8458030874463</c:v>
                </c:pt>
                <c:pt idx="245">
                  <c:v>7119.0813381025791</c:v>
                </c:pt>
                <c:pt idx="246">
                  <c:v>7206.9343059646399</c:v>
                </c:pt>
                <c:pt idx="247">
                  <c:v>7194.2887365377974</c:v>
                </c:pt>
                <c:pt idx="248">
                  <c:v>7198.4734988270629</c:v>
                </c:pt>
                <c:pt idx="249">
                  <c:v>7202.4197044111988</c:v>
                </c:pt>
                <c:pt idx="250">
                  <c:v>7259.7953822913396</c:v>
                </c:pt>
                <c:pt idx="251">
                  <c:v>7276.6238902128234</c:v>
                </c:pt>
                <c:pt idx="252">
                  <c:v>7304.6011399982772</c:v>
                </c:pt>
                <c:pt idx="253">
                  <c:v>7336.1571881186301</c:v>
                </c:pt>
                <c:pt idx="254">
                  <c:v>7254.0218928478444</c:v>
                </c:pt>
                <c:pt idx="255">
                  <c:v>7135.6950423327426</c:v>
                </c:pt>
                <c:pt idx="256">
                  <c:v>7171.1408075480676</c:v>
                </c:pt>
                <c:pt idx="257">
                  <c:v>7105.0172878351968</c:v>
                </c:pt>
                <c:pt idx="258">
                  <c:v>7176.7221214586871</c:v>
                </c:pt>
                <c:pt idx="259">
                  <c:v>7141.6492239555419</c:v>
                </c:pt>
                <c:pt idx="260">
                  <c:v>6986.278625586192</c:v>
                </c:pt>
                <c:pt idx="261">
                  <c:v>6753.4133773656504</c:v>
                </c:pt>
                <c:pt idx="262">
                  <c:v>6519.3641260438781</c:v>
                </c:pt>
                <c:pt idx="263">
                  <c:v>6483.8548884072834</c:v>
                </c:pt>
                <c:pt idx="264">
                  <c:v>6535.9292976793886</c:v>
                </c:pt>
                <c:pt idx="265">
                  <c:v>6477.765287303454</c:v>
                </c:pt>
                <c:pt idx="266">
                  <c:v>6443.8333535326092</c:v>
                </c:pt>
                <c:pt idx="267">
                  <c:v>6642.5625394960443</c:v>
                </c:pt>
                <c:pt idx="268">
                  <c:v>7217.9432654376888</c:v>
                </c:pt>
                <c:pt idx="269">
                  <c:v>7692.1280328422026</c:v>
                </c:pt>
                <c:pt idx="270">
                  <c:v>7777.5835789879175</c:v>
                </c:pt>
                <c:pt idx="271">
                  <c:v>7860.1905162850917</c:v>
                </c:pt>
                <c:pt idx="272">
                  <c:v>7812.2469199283578</c:v>
                </c:pt>
                <c:pt idx="273">
                  <c:v>7651.1692095030667</c:v>
                </c:pt>
                <c:pt idx="274">
                  <c:v>7576.9545396125886</c:v>
                </c:pt>
                <c:pt idx="275">
                  <c:v>7850.776492512643</c:v>
                </c:pt>
                <c:pt idx="276">
                  <c:v>7791.1578093477701</c:v>
                </c:pt>
                <c:pt idx="277">
                  <c:v>7744.7485266320218</c:v>
                </c:pt>
                <c:pt idx="278">
                  <c:v>7586.7227508534843</c:v>
                </c:pt>
                <c:pt idx="279">
                  <c:v>7436.6080774078764</c:v>
                </c:pt>
                <c:pt idx="280">
                  <c:v>7296.8023375462662</c:v>
                </c:pt>
                <c:pt idx="281">
                  <c:v>7378.1792181977335</c:v>
                </c:pt>
                <c:pt idx="282">
                  <c:v>7479.3947961782224</c:v>
                </c:pt>
                <c:pt idx="283">
                  <c:v>7421.5290417487913</c:v>
                </c:pt>
                <c:pt idx="284">
                  <c:v>7202.0535530684401</c:v>
                </c:pt>
                <c:pt idx="285">
                  <c:v>7056.2448478080814</c:v>
                </c:pt>
                <c:pt idx="286">
                  <c:v>6795.9601360918905</c:v>
                </c:pt>
                <c:pt idx="287">
                  <c:v>6694.9245131282078</c:v>
                </c:pt>
                <c:pt idx="288">
                  <c:v>6573.4073707562611</c:v>
                </c:pt>
                <c:pt idx="289">
                  <c:v>6747.5906782300963</c:v>
                </c:pt>
                <c:pt idx="290">
                  <c:v>6867.3564262566897</c:v>
                </c:pt>
                <c:pt idx="291">
                  <c:v>7006.6122974997652</c:v>
                </c:pt>
                <c:pt idx="292">
                  <c:v>7420.2270162014738</c:v>
                </c:pt>
                <c:pt idx="293">
                  <c:v>7924.3382002441913</c:v>
                </c:pt>
                <c:pt idx="294">
                  <c:v>8177.9608523028164</c:v>
                </c:pt>
                <c:pt idx="295">
                  <c:v>8243.5927829181637</c:v>
                </c:pt>
                <c:pt idx="296">
                  <c:v>8186.0391157878748</c:v>
                </c:pt>
                <c:pt idx="297">
                  <c:v>8413.7854748627342</c:v>
                </c:pt>
                <c:pt idx="298">
                  <c:v>8849.1199657732941</c:v>
                </c:pt>
                <c:pt idx="299">
                  <c:v>9220.9468208888193</c:v>
                </c:pt>
                <c:pt idx="300">
                  <c:v>9469.2176895967077</c:v>
                </c:pt>
                <c:pt idx="301">
                  <c:v>9620.2832152967312</c:v>
                </c:pt>
                <c:pt idx="302">
                  <c:v>9623.2071949152996</c:v>
                </c:pt>
                <c:pt idx="303">
                  <c:v>9713.0274092229211</c:v>
                </c:pt>
                <c:pt idx="304">
                  <c:v>9695.052367896933</c:v>
                </c:pt>
                <c:pt idx="305">
                  <c:v>9643.6592496655157</c:v>
                </c:pt>
                <c:pt idx="306">
                  <c:v>9482.9127654619879</c:v>
                </c:pt>
                <c:pt idx="307">
                  <c:v>9287.5447565432551</c:v>
                </c:pt>
                <c:pt idx="308">
                  <c:v>8973.092918591854</c:v>
                </c:pt>
                <c:pt idx="309">
                  <c:v>8577.3076434321756</c:v>
                </c:pt>
                <c:pt idx="310">
                  <c:v>8379.8633753856539</c:v>
                </c:pt>
                <c:pt idx="311">
                  <c:v>8236.7539353122993</c:v>
                </c:pt>
                <c:pt idx="312">
                  <c:v>8379.1669588626082</c:v>
                </c:pt>
                <c:pt idx="313">
                  <c:v>8484.6413320889678</c:v>
                </c:pt>
                <c:pt idx="314">
                  <c:v>8741.4356449048719</c:v>
                </c:pt>
                <c:pt idx="315">
                  <c:v>9136.6863134399464</c:v>
                </c:pt>
                <c:pt idx="316">
                  <c:v>9720.0122368451484</c:v>
                </c:pt>
                <c:pt idx="317">
                  <c:v>10304.462272994004</c:v>
                </c:pt>
                <c:pt idx="318">
                  <c:v>10674.118299224003</c:v>
                </c:pt>
                <c:pt idx="319">
                  <c:v>10814.277582219431</c:v>
                </c:pt>
                <c:pt idx="320">
                  <c:v>10900.953454465885</c:v>
                </c:pt>
                <c:pt idx="321">
                  <c:v>10959.077281295011</c:v>
                </c:pt>
                <c:pt idx="322">
                  <c:v>11045.523175223621</c:v>
                </c:pt>
                <c:pt idx="323">
                  <c:v>11302.358703613832</c:v>
                </c:pt>
                <c:pt idx="324">
                  <c:v>11220.406961804934</c:v>
                </c:pt>
                <c:pt idx="325">
                  <c:v>11494.454289852569</c:v>
                </c:pt>
                <c:pt idx="326">
                  <c:v>12047.247166488723</c:v>
                </c:pt>
                <c:pt idx="327">
                  <c:v>11970.552550905415</c:v>
                </c:pt>
                <c:pt idx="328">
                  <c:v>12109.073836989464</c:v>
                </c:pt>
                <c:pt idx="329">
                  <c:v>12140.619668583648</c:v>
                </c:pt>
                <c:pt idx="330">
                  <c:v>12042.78394243113</c:v>
                </c:pt>
                <c:pt idx="331">
                  <c:v>11765.900247892874</c:v>
                </c:pt>
                <c:pt idx="332">
                  <c:v>11446.026328590786</c:v>
                </c:pt>
                <c:pt idx="333">
                  <c:v>11050.230132505218</c:v>
                </c:pt>
                <c:pt idx="334">
                  <c:v>10857.879864814275</c:v>
                </c:pt>
                <c:pt idx="335">
                  <c:v>10768.350114372537</c:v>
                </c:pt>
                <c:pt idx="336">
                  <c:v>10783.808684969057</c:v>
                </c:pt>
                <c:pt idx="337">
                  <c:v>10807.212229150156</c:v>
                </c:pt>
                <c:pt idx="338">
                  <c:v>11067.402933536292</c:v>
                </c:pt>
                <c:pt idx="339">
                  <c:v>11338.628998733811</c:v>
                </c:pt>
                <c:pt idx="340">
                  <c:v>11735.187917743962</c:v>
                </c:pt>
                <c:pt idx="341">
                  <c:v>12532.319769377247</c:v>
                </c:pt>
                <c:pt idx="342">
                  <c:v>12875.053037662901</c:v>
                </c:pt>
                <c:pt idx="343">
                  <c:v>13228.177195620887</c:v>
                </c:pt>
                <c:pt idx="344">
                  <c:v>13146.099224290096</c:v>
                </c:pt>
                <c:pt idx="345">
                  <c:v>12965.910931046221</c:v>
                </c:pt>
                <c:pt idx="346">
                  <c:v>12822.895793167923</c:v>
                </c:pt>
                <c:pt idx="347">
                  <c:v>12532.080415444529</c:v>
                </c:pt>
                <c:pt idx="348">
                  <c:v>12533.935378390557</c:v>
                </c:pt>
                <c:pt idx="349">
                  <c:v>12341.215071507238</c:v>
                </c:pt>
                <c:pt idx="350">
                  <c:v>12293.942161972151</c:v>
                </c:pt>
                <c:pt idx="351">
                  <c:v>11982.911948390252</c:v>
                </c:pt>
                <c:pt idx="352">
                  <c:v>11696.84979445098</c:v>
                </c:pt>
                <c:pt idx="353">
                  <c:v>11404.25712886695</c:v>
                </c:pt>
                <c:pt idx="354">
                  <c:v>11084.156840613025</c:v>
                </c:pt>
                <c:pt idx="355">
                  <c:v>10733.844231341573</c:v>
                </c:pt>
                <c:pt idx="356">
                  <c:v>10335.186086496489</c:v>
                </c:pt>
                <c:pt idx="357">
                  <c:v>10000.984229134287</c:v>
                </c:pt>
                <c:pt idx="358">
                  <c:v>9704.4054419819931</c:v>
                </c:pt>
                <c:pt idx="359">
                  <c:v>9411.6747577365695</c:v>
                </c:pt>
                <c:pt idx="360">
                  <c:v>9358.1433440578476</c:v>
                </c:pt>
                <c:pt idx="361">
                  <c:v>9323.0017047866913</c:v>
                </c:pt>
                <c:pt idx="362">
                  <c:v>9480.7505531869865</c:v>
                </c:pt>
                <c:pt idx="363">
                  <c:v>9960.0617779388267</c:v>
                </c:pt>
                <c:pt idx="364">
                  <c:v>10285.350750975793</c:v>
                </c:pt>
                <c:pt idx="365">
                  <c:v>10709.453713943678</c:v>
                </c:pt>
                <c:pt idx="366">
                  <c:v>10912.634826266873</c:v>
                </c:pt>
                <c:pt idx="367">
                  <c:v>11121.755000190975</c:v>
                </c:pt>
                <c:pt idx="368">
                  <c:v>11534.248276315411</c:v>
                </c:pt>
                <c:pt idx="369">
                  <c:v>11594.474108355109</c:v>
                </c:pt>
                <c:pt idx="370">
                  <c:v>11480.487807137084</c:v>
                </c:pt>
                <c:pt idx="371">
                  <c:v>11211.738667996382</c:v>
                </c:pt>
                <c:pt idx="372">
                  <c:v>11166.829887735068</c:v>
                </c:pt>
                <c:pt idx="373">
                  <c:v>11341.296980928606</c:v>
                </c:pt>
                <c:pt idx="374">
                  <c:v>11300.362685989017</c:v>
                </c:pt>
                <c:pt idx="375">
                  <c:v>11509.676831938306</c:v>
                </c:pt>
                <c:pt idx="376">
                  <c:v>11424.918488622297</c:v>
                </c:pt>
                <c:pt idx="377">
                  <c:v>11426.505812437554</c:v>
                </c:pt>
                <c:pt idx="378">
                  <c:v>11472.323475835092</c:v>
                </c:pt>
                <c:pt idx="379">
                  <c:v>11119.085390778226</c:v>
                </c:pt>
                <c:pt idx="380">
                  <c:v>10859.342247776891</c:v>
                </c:pt>
                <c:pt idx="381">
                  <c:v>10838.332799890204</c:v>
                </c:pt>
                <c:pt idx="382">
                  <c:v>10649.349524637</c:v>
                </c:pt>
                <c:pt idx="383">
                  <c:v>10398.588542854281</c:v>
                </c:pt>
                <c:pt idx="384">
                  <c:v>9863.6489883646118</c:v>
                </c:pt>
                <c:pt idx="385">
                  <c:v>8955.4302758113972</c:v>
                </c:pt>
                <c:pt idx="386">
                  <c:v>9462.8460665027087</c:v>
                </c:pt>
                <c:pt idx="387">
                  <c:v>10127.011839489227</c:v>
                </c:pt>
                <c:pt idx="388">
                  <c:v>10029.67946973188</c:v>
                </c:pt>
                <c:pt idx="389">
                  <c:v>9996.6304054517896</c:v>
                </c:pt>
                <c:pt idx="390">
                  <c:v>10021.7559666876</c:v>
                </c:pt>
                <c:pt idx="391">
                  <c:v>10031.643330690413</c:v>
                </c:pt>
                <c:pt idx="392">
                  <c:v>10156.265352357825</c:v>
                </c:pt>
                <c:pt idx="393">
                  <c:v>10000.352437190193</c:v>
                </c:pt>
                <c:pt idx="394">
                  <c:v>9819.8560373246637</c:v>
                </c:pt>
                <c:pt idx="395">
                  <c:v>9576.3139950524637</c:v>
                </c:pt>
                <c:pt idx="396">
                  <c:v>9342.5404370443084</c:v>
                </c:pt>
                <c:pt idx="397">
                  <c:v>9436.4221655320671</c:v>
                </c:pt>
                <c:pt idx="398">
                  <c:v>9657.481614382501</c:v>
                </c:pt>
                <c:pt idx="399">
                  <c:v>9749.0844077393522</c:v>
                </c:pt>
                <c:pt idx="400">
                  <c:v>9646.1386110888088</c:v>
                </c:pt>
                <c:pt idx="401">
                  <c:v>9459.8256769503896</c:v>
                </c:pt>
                <c:pt idx="402">
                  <c:v>9355.2244863535216</c:v>
                </c:pt>
                <c:pt idx="403">
                  <c:v>9219.8570380756992</c:v>
                </c:pt>
                <c:pt idx="404">
                  <c:v>9185.2596868299497</c:v>
                </c:pt>
                <c:pt idx="405">
                  <c:v>9138.219054467605</c:v>
                </c:pt>
                <c:pt idx="406">
                  <c:v>9067.4131932400942</c:v>
                </c:pt>
                <c:pt idx="407">
                  <c:v>8967.5373343826304</c:v>
                </c:pt>
                <c:pt idx="408">
                  <c:v>8991.8642865313868</c:v>
                </c:pt>
                <c:pt idx="409">
                  <c:v>9012.1615098548027</c:v>
                </c:pt>
                <c:pt idx="410">
                  <c:v>9025.3477634015053</c:v>
                </c:pt>
                <c:pt idx="411">
                  <c:v>9228.2874249742126</c:v>
                </c:pt>
                <c:pt idx="412">
                  <c:v>9784.0384418851172</c:v>
                </c:pt>
                <c:pt idx="413">
                  <c:v>10291.431238566967</c:v>
                </c:pt>
                <c:pt idx="414">
                  <c:v>10317.884396698068</c:v>
                </c:pt>
                <c:pt idx="415">
                  <c:v>10239.593278261294</c:v>
                </c:pt>
                <c:pt idx="416">
                  <c:v>9974.1619109453477</c:v>
                </c:pt>
                <c:pt idx="417">
                  <c:v>9671.6417141930797</c:v>
                </c:pt>
                <c:pt idx="418">
                  <c:v>9262.0177584531375</c:v>
                </c:pt>
                <c:pt idx="419">
                  <c:v>9015.765710263322</c:v>
                </c:pt>
                <c:pt idx="420">
                  <c:v>8870.1871089114538</c:v>
                </c:pt>
                <c:pt idx="421">
                  <c:v>8785.7467065108667</c:v>
                </c:pt>
                <c:pt idx="422">
                  <c:v>8680.3484739798096</c:v>
                </c:pt>
                <c:pt idx="423">
                  <c:v>8578.9784959490953</c:v>
                </c:pt>
                <c:pt idx="424">
                  <c:v>8273.2645727087911</c:v>
                </c:pt>
                <c:pt idx="425">
                  <c:v>8118.8520890095742</c:v>
                </c:pt>
                <c:pt idx="426">
                  <c:v>8013.5455212699699</c:v>
                </c:pt>
                <c:pt idx="427">
                  <c:v>7788.8380790982019</c:v>
                </c:pt>
                <c:pt idx="428">
                  <c:v>7434.1287105241199</c:v>
                </c:pt>
                <c:pt idx="429">
                  <c:v>7260.4391763329868</c:v>
                </c:pt>
                <c:pt idx="430">
                  <c:v>6986.2049748619929</c:v>
                </c:pt>
                <c:pt idx="431">
                  <c:v>6993.5191011625666</c:v>
                </c:pt>
                <c:pt idx="432">
                  <c:v>6951.0242332156904</c:v>
                </c:pt>
                <c:pt idx="433">
                  <c:v>6939.6738637574863</c:v>
                </c:pt>
                <c:pt idx="434">
                  <c:v>6861.1494961855669</c:v>
                </c:pt>
                <c:pt idx="435">
                  <c:v>6826.8762561783624</c:v>
                </c:pt>
                <c:pt idx="436">
                  <c:v>7086.4059824459637</c:v>
                </c:pt>
                <c:pt idx="437">
                  <c:v>7316.14144619955</c:v>
                </c:pt>
                <c:pt idx="438">
                  <c:v>7491.646993854527</c:v>
                </c:pt>
                <c:pt idx="439">
                  <c:v>7538.1673260051803</c:v>
                </c:pt>
                <c:pt idx="440">
                  <c:v>7556.7058871070649</c:v>
                </c:pt>
                <c:pt idx="441">
                  <c:v>7770.1208680301561</c:v>
                </c:pt>
                <c:pt idx="442">
                  <c:v>7738.7016099670318</c:v>
                </c:pt>
                <c:pt idx="443">
                  <c:v>7672.0777862577761</c:v>
                </c:pt>
                <c:pt idx="444">
                  <c:v>7651.8976134180421</c:v>
                </c:pt>
                <c:pt idx="445">
                  <c:v>7688.6915614739582</c:v>
                </c:pt>
                <c:pt idx="446">
                  <c:v>7710.4640489920776</c:v>
                </c:pt>
                <c:pt idx="447">
                  <c:v>7628.9794115648592</c:v>
                </c:pt>
                <c:pt idx="448">
                  <c:v>7399.0308641657812</c:v>
                </c:pt>
                <c:pt idx="449">
                  <c:v>7382.9856432723291</c:v>
                </c:pt>
                <c:pt idx="450">
                  <c:v>7373.7462833280933</c:v>
                </c:pt>
                <c:pt idx="451">
                  <c:v>7332.2426914428152</c:v>
                </c:pt>
                <c:pt idx="452">
                  <c:v>7238.5552899103313</c:v>
                </c:pt>
                <c:pt idx="453">
                  <c:v>7037.5023984803056</c:v>
                </c:pt>
                <c:pt idx="454">
                  <c:v>6825.3353135353609</c:v>
                </c:pt>
                <c:pt idx="455">
                  <c:v>7070.4509028748043</c:v>
                </c:pt>
                <c:pt idx="456">
                  <c:v>7012.7745009189075</c:v>
                </c:pt>
                <c:pt idx="457">
                  <c:v>7109.8922690220643</c:v>
                </c:pt>
                <c:pt idx="458">
                  <c:v>7169.6472016583339</c:v>
                </c:pt>
                <c:pt idx="459">
                  <c:v>7334.4439678697217</c:v>
                </c:pt>
                <c:pt idx="460">
                  <c:v>8072.4030759654397</c:v>
                </c:pt>
                <c:pt idx="461">
                  <c:v>8830.6174764896223</c:v>
                </c:pt>
                <c:pt idx="462">
                  <c:v>9014.4547240963111</c:v>
                </c:pt>
                <c:pt idx="463">
                  <c:v>9186.169552849502</c:v>
                </c:pt>
                <c:pt idx="464">
                  <c:v>9106.8138407151746</c:v>
                </c:pt>
                <c:pt idx="465">
                  <c:v>8893.7023960062543</c:v>
                </c:pt>
                <c:pt idx="466">
                  <c:v>8618.8294787241539</c:v>
                </c:pt>
                <c:pt idx="467">
                  <c:v>8580.3074798019716</c:v>
                </c:pt>
                <c:pt idx="468">
                  <c:v>8761.6578633092795</c:v>
                </c:pt>
                <c:pt idx="469">
                  <c:v>8791.9743918016429</c:v>
                </c:pt>
                <c:pt idx="470">
                  <c:v>8766.5371964851129</c:v>
                </c:pt>
                <c:pt idx="471">
                  <c:v>8688.0709391598521</c:v>
                </c:pt>
                <c:pt idx="472">
                  <c:v>8522.5927726985174</c:v>
                </c:pt>
                <c:pt idx="473">
                  <c:v>8352.0200543748451</c:v>
                </c:pt>
                <c:pt idx="474">
                  <c:v>8226.6693776111642</c:v>
                </c:pt>
                <c:pt idx="475">
                  <c:v>8062.1422927436897</c:v>
                </c:pt>
                <c:pt idx="476">
                  <c:v>7836.2427659855321</c:v>
                </c:pt>
                <c:pt idx="477">
                  <c:v>7627.8937950849668</c:v>
                </c:pt>
                <c:pt idx="478">
                  <c:v>7467.9122671353671</c:v>
                </c:pt>
                <c:pt idx="479">
                  <c:v>7403.8284869741092</c:v>
                </c:pt>
                <c:pt idx="480">
                  <c:v>7296.9029847992642</c:v>
                </c:pt>
                <c:pt idx="481">
                  <c:v>7271.4426753430898</c:v>
                </c:pt>
                <c:pt idx="482">
                  <c:v>7376.5929318704384</c:v>
                </c:pt>
                <c:pt idx="483">
                  <c:v>7766.31649797101</c:v>
                </c:pt>
                <c:pt idx="484">
                  <c:v>8297.8862260426722</c:v>
                </c:pt>
                <c:pt idx="485">
                  <c:v>8803.7656772612445</c:v>
                </c:pt>
                <c:pt idx="486">
                  <c:v>9227.6369254840683</c:v>
                </c:pt>
                <c:pt idx="487">
                  <c:v>9236.7968739157004</c:v>
                </c:pt>
                <c:pt idx="488">
                  <c:v>9159.8677096070642</c:v>
                </c:pt>
                <c:pt idx="489">
                  <c:v>9041.563978692071</c:v>
                </c:pt>
                <c:pt idx="490">
                  <c:v>8994.8742411390194</c:v>
                </c:pt>
                <c:pt idx="491">
                  <c:v>8866.3956473867092</c:v>
                </c:pt>
                <c:pt idx="492">
                  <c:v>8763.9255116632812</c:v>
                </c:pt>
                <c:pt idx="493">
                  <c:v>8680.6546639789722</c:v>
                </c:pt>
                <c:pt idx="494">
                  <c:v>8670.8168536773828</c:v>
                </c:pt>
                <c:pt idx="495">
                  <c:v>8560.7068914201172</c:v>
                </c:pt>
                <c:pt idx="496">
                  <c:v>8385.5479357296317</c:v>
                </c:pt>
                <c:pt idx="497">
                  <c:v>8371.4211065197742</c:v>
                </c:pt>
                <c:pt idx="498">
                  <c:v>8261.2735653565232</c:v>
                </c:pt>
                <c:pt idx="499">
                  <c:v>8035.2190761204565</c:v>
                </c:pt>
                <c:pt idx="500">
                  <c:v>7460.1206943362959</c:v>
                </c:pt>
                <c:pt idx="501">
                  <c:v>7246.4546904711715</c:v>
                </c:pt>
                <c:pt idx="502">
                  <c:v>6847.7832767011314</c:v>
                </c:pt>
                <c:pt idx="503">
                  <c:v>6456.3057880608631</c:v>
                </c:pt>
                <c:pt idx="504">
                  <c:v>6188.1892708546229</c:v>
                </c:pt>
                <c:pt idx="505">
                  <c:v>6065.9694160458557</c:v>
                </c:pt>
                <c:pt idx="506">
                  <c:v>5953.8084711437732</c:v>
                </c:pt>
                <c:pt idx="507">
                  <c:v>6036.6201976432249</c:v>
                </c:pt>
                <c:pt idx="508">
                  <c:v>6405.702886184954</c:v>
                </c:pt>
                <c:pt idx="509">
                  <c:v>6982.6103466450168</c:v>
                </c:pt>
                <c:pt idx="510">
                  <c:v>7366.9849196914156</c:v>
                </c:pt>
                <c:pt idx="511">
                  <c:v>7511.190116324351</c:v>
                </c:pt>
                <c:pt idx="512">
                  <c:v>7462.246299667715</c:v>
                </c:pt>
                <c:pt idx="513">
                  <c:v>7377.4369720091945</c:v>
                </c:pt>
                <c:pt idx="514">
                  <c:v>7412.3062652305198</c:v>
                </c:pt>
                <c:pt idx="515">
                  <c:v>7186.3525433776358</c:v>
                </c:pt>
                <c:pt idx="516">
                  <c:v>7184.9164525440992</c:v>
                </c:pt>
                <c:pt idx="517">
                  <c:v>7260.7336427182063</c:v>
                </c:pt>
                <c:pt idx="518">
                  <c:v>7208.3143615274385</c:v>
                </c:pt>
                <c:pt idx="519">
                  <c:v>7174.1897061774225</c:v>
                </c:pt>
                <c:pt idx="520">
                  <c:v>7062.8465802710334</c:v>
                </c:pt>
                <c:pt idx="521">
                  <c:v>6965.6412864073372</c:v>
                </c:pt>
                <c:pt idx="522">
                  <c:v>6755.1655416362801</c:v>
                </c:pt>
                <c:pt idx="523">
                  <c:v>6491.6092972955521</c:v>
                </c:pt>
                <c:pt idx="524">
                  <c:v>6114.5224273695376</c:v>
                </c:pt>
                <c:pt idx="525">
                  <c:v>6104.9601520281394</c:v>
                </c:pt>
                <c:pt idx="526">
                  <c:v>6054.2110025731818</c:v>
                </c:pt>
                <c:pt idx="527">
                  <c:v>5683.7982217046001</c:v>
                </c:pt>
                <c:pt idx="528">
                  <c:v>5733.849944450868</c:v>
                </c:pt>
                <c:pt idx="529">
                  <c:v>5632.651424956618</c:v>
                </c:pt>
                <c:pt idx="530">
                  <c:v>5651.9581694460285</c:v>
                </c:pt>
                <c:pt idx="531">
                  <c:v>5626.9498661914922</c:v>
                </c:pt>
                <c:pt idx="532">
                  <c:v>5793.1204411960707</c:v>
                </c:pt>
                <c:pt idx="533">
                  <c:v>5988.146532306595</c:v>
                </c:pt>
                <c:pt idx="534">
                  <c:v>6108.0057416169493</c:v>
                </c:pt>
                <c:pt idx="535">
                  <c:v>6308.7168626712646</c:v>
                </c:pt>
                <c:pt idx="536">
                  <c:v>6482.1121598166219</c:v>
                </c:pt>
                <c:pt idx="537">
                  <c:v>6495.2439780082277</c:v>
                </c:pt>
                <c:pt idx="538">
                  <c:v>6530.2069236295183</c:v>
                </c:pt>
                <c:pt idx="539">
                  <c:v>6488.5460485695785</c:v>
                </c:pt>
                <c:pt idx="540">
                  <c:v>6490.7457633040849</c:v>
                </c:pt>
                <c:pt idx="541">
                  <c:v>6501.6025069120851</c:v>
                </c:pt>
                <c:pt idx="542">
                  <c:v>6426.3788581391427</c:v>
                </c:pt>
                <c:pt idx="543">
                  <c:v>6443.4096161476355</c:v>
                </c:pt>
                <c:pt idx="544">
                  <c:v>6455.4485226808556</c:v>
                </c:pt>
                <c:pt idx="545">
                  <c:v>6376.7585993329158</c:v>
                </c:pt>
                <c:pt idx="546">
                  <c:v>6393.9951239665534</c:v>
                </c:pt>
                <c:pt idx="547">
                  <c:v>6374.0005413413855</c:v>
                </c:pt>
                <c:pt idx="548">
                  <c:v>6207.4618874506295</c:v>
                </c:pt>
                <c:pt idx="549">
                  <c:v>6062.7090992122075</c:v>
                </c:pt>
                <c:pt idx="550">
                  <c:v>6062.5933155559269</c:v>
                </c:pt>
                <c:pt idx="551">
                  <c:v>5899.0629508316069</c:v>
                </c:pt>
                <c:pt idx="552">
                  <c:v>5929.9315430486076</c:v>
                </c:pt>
                <c:pt idx="553">
                  <c:v>6085.1874607751924</c:v>
                </c:pt>
                <c:pt idx="554">
                  <c:v>6165.2694472439462</c:v>
                </c:pt>
                <c:pt idx="555">
                  <c:v>6099.0992897170645</c:v>
                </c:pt>
                <c:pt idx="556">
                  <c:v>6111.7209040929683</c:v>
                </c:pt>
                <c:pt idx="557">
                  <c:v>6127.9665895020453</c:v>
                </c:pt>
                <c:pt idx="558">
                  <c:v>6153.2426083338351</c:v>
                </c:pt>
                <c:pt idx="559">
                  <c:v>6115.4275646281803</c:v>
                </c:pt>
                <c:pt idx="560">
                  <c:v>6099.5723241615033</c:v>
                </c:pt>
                <c:pt idx="561">
                  <c:v>6124.5544390357563</c:v>
                </c:pt>
                <c:pt idx="562">
                  <c:v>6136.692016134386</c:v>
                </c:pt>
                <c:pt idx="563">
                  <c:v>6242.2440262228938</c:v>
                </c:pt>
                <c:pt idx="564">
                  <c:v>6237.9090138352421</c:v>
                </c:pt>
                <c:pt idx="565">
                  <c:v>6245.1523561546628</c:v>
                </c:pt>
                <c:pt idx="566">
                  <c:v>6247.9934677875808</c:v>
                </c:pt>
                <c:pt idx="567">
                  <c:v>6266.5162153887759</c:v>
                </c:pt>
                <c:pt idx="568">
                  <c:v>6314.5656955824725</c:v>
                </c:pt>
                <c:pt idx="569">
                  <c:v>6346.7547478696933</c:v>
                </c:pt>
                <c:pt idx="570">
                  <c:v>6249.964372743314</c:v>
                </c:pt>
                <c:pt idx="571">
                  <c:v>6083.3066698394368</c:v>
                </c:pt>
                <c:pt idx="572">
                  <c:v>6082.248868957784</c:v>
                </c:pt>
                <c:pt idx="573">
                  <c:v>5990.7520904890034</c:v>
                </c:pt>
                <c:pt idx="574">
                  <c:v>6064.743028831248</c:v>
                </c:pt>
                <c:pt idx="575">
                  <c:v>6129.7197694187826</c:v>
                </c:pt>
                <c:pt idx="576">
                  <c:v>6103.559079143467</c:v>
                </c:pt>
                <c:pt idx="577">
                  <c:v>6053.8181604875481</c:v>
                </c:pt>
                <c:pt idx="578">
                  <c:v>5985.0078964292061</c:v>
                </c:pt>
                <c:pt idx="579">
                  <c:v>6166.1494281498035</c:v>
                </c:pt>
                <c:pt idx="580">
                  <c:v>6505.5666664983837</c:v>
                </c:pt>
                <c:pt idx="581">
                  <c:v>6873.2592959091971</c:v>
                </c:pt>
                <c:pt idx="582">
                  <c:v>7016.3646788585847</c:v>
                </c:pt>
                <c:pt idx="583">
                  <c:v>6969.3699034640504</c:v>
                </c:pt>
                <c:pt idx="584">
                  <c:v>6927.6145951579456</c:v>
                </c:pt>
                <c:pt idx="585">
                  <c:v>6913.2457800722286</c:v>
                </c:pt>
                <c:pt idx="586">
                  <c:v>6927.8286016216753</c:v>
                </c:pt>
                <c:pt idx="587">
                  <c:v>6743.8684990591937</c:v>
                </c:pt>
                <c:pt idx="588">
                  <c:v>6561.7087875760708</c:v>
                </c:pt>
                <c:pt idx="589">
                  <c:v>6547.2674411610597</c:v>
                </c:pt>
                <c:pt idx="590">
                  <c:v>6660.3659857739922</c:v>
                </c:pt>
                <c:pt idx="591">
                  <c:v>6964.415248662357</c:v>
                </c:pt>
                <c:pt idx="592">
                  <c:v>6727.2052192859555</c:v>
                </c:pt>
                <c:pt idx="593">
                  <c:v>6636.1291039615116</c:v>
                </c:pt>
                <c:pt idx="594">
                  <c:v>6622.931667386697</c:v>
                </c:pt>
                <c:pt idx="595">
                  <c:v>6576.7251261996253</c:v>
                </c:pt>
                <c:pt idx="596">
                  <c:v>6362.302274868046</c:v>
                </c:pt>
                <c:pt idx="597">
                  <c:v>6198.2187925497392</c:v>
                </c:pt>
                <c:pt idx="598">
                  <c:v>5993.2252488263921</c:v>
                </c:pt>
                <c:pt idx="599">
                  <c:v>5907.5092385982134</c:v>
                </c:pt>
                <c:pt idx="600">
                  <c:v>5860.7240849156651</c:v>
                </c:pt>
                <c:pt idx="601">
                  <c:v>5846.8427253570253</c:v>
                </c:pt>
                <c:pt idx="602">
                  <c:v>5826.6513585682551</c:v>
                </c:pt>
                <c:pt idx="603">
                  <c:v>5898.3365181437548</c:v>
                </c:pt>
                <c:pt idx="604">
                  <c:v>6270.3922704054603</c:v>
                </c:pt>
                <c:pt idx="605">
                  <c:v>6563.8321322758311</c:v>
                </c:pt>
                <c:pt idx="606">
                  <c:v>6947.5394149085323</c:v>
                </c:pt>
                <c:pt idx="607">
                  <c:v>7043.3048775215748</c:v>
                </c:pt>
                <c:pt idx="608">
                  <c:v>7085.6663081354709</c:v>
                </c:pt>
                <c:pt idx="609">
                  <c:v>7004.4614047644491</c:v>
                </c:pt>
                <c:pt idx="610">
                  <c:v>6907.6881700312524</c:v>
                </c:pt>
                <c:pt idx="611">
                  <c:v>7016.1519829059616</c:v>
                </c:pt>
                <c:pt idx="612">
                  <c:v>6931.7254118580131</c:v>
                </c:pt>
                <c:pt idx="613">
                  <c:v>6874.0980885430636</c:v>
                </c:pt>
                <c:pt idx="614">
                  <c:v>6857.1681361409928</c:v>
                </c:pt>
                <c:pt idx="615">
                  <c:v>6890.54594759267</c:v>
                </c:pt>
                <c:pt idx="616">
                  <c:v>6879.3882287276183</c:v>
                </c:pt>
                <c:pt idx="617">
                  <c:v>6905.8347742380911</c:v>
                </c:pt>
                <c:pt idx="618">
                  <c:v>6938.3128597499026</c:v>
                </c:pt>
                <c:pt idx="619">
                  <c:v>6875.6872743761814</c:v>
                </c:pt>
                <c:pt idx="620">
                  <c:v>6540.1215298819625</c:v>
                </c:pt>
                <c:pt idx="621">
                  <c:v>6399.4087907438443</c:v>
                </c:pt>
                <c:pt idx="622">
                  <c:v>6321.6682344043993</c:v>
                </c:pt>
                <c:pt idx="623">
                  <c:v>6286.576187057708</c:v>
                </c:pt>
                <c:pt idx="624">
                  <c:v>6143.6672988673881</c:v>
                </c:pt>
                <c:pt idx="625">
                  <c:v>6014.0165348370483</c:v>
                </c:pt>
                <c:pt idx="626">
                  <c:v>5946.173777445104</c:v>
                </c:pt>
                <c:pt idx="627">
                  <c:v>6010.2127326660484</c:v>
                </c:pt>
                <c:pt idx="628">
                  <c:v>6294.6967855119765</c:v>
                </c:pt>
                <c:pt idx="629">
                  <c:v>6618.5018395204743</c:v>
                </c:pt>
                <c:pt idx="630">
                  <c:v>6819.632930240331</c:v>
                </c:pt>
                <c:pt idx="631">
                  <c:v>6894.4886147968173</c:v>
                </c:pt>
                <c:pt idx="632">
                  <c:v>6947.6526867518569</c:v>
                </c:pt>
                <c:pt idx="633">
                  <c:v>6970.6206334224671</c:v>
                </c:pt>
                <c:pt idx="634">
                  <c:v>6879.0524211774436</c:v>
                </c:pt>
                <c:pt idx="635">
                  <c:v>6829.1925135734973</c:v>
                </c:pt>
                <c:pt idx="636">
                  <c:v>6771.5277260222829</c:v>
                </c:pt>
                <c:pt idx="637">
                  <c:v>6773.1361927500602</c:v>
                </c:pt>
                <c:pt idx="638">
                  <c:v>6753.9068066391874</c:v>
                </c:pt>
                <c:pt idx="639">
                  <c:v>6807.7491390779824</c:v>
                </c:pt>
                <c:pt idx="640">
                  <c:v>6817.2783513162494</c:v>
                </c:pt>
                <c:pt idx="641">
                  <c:v>6930.1014210340845</c:v>
                </c:pt>
                <c:pt idx="642">
                  <c:v>7028.3874005796361</c:v>
                </c:pt>
                <c:pt idx="643">
                  <c:v>7088.2748804934263</c:v>
                </c:pt>
                <c:pt idx="644">
                  <c:v>6936.6248231560949</c:v>
                </c:pt>
                <c:pt idx="645">
                  <c:v>6757.7947163209255</c:v>
                </c:pt>
                <c:pt idx="646">
                  <c:v>6724.0174119397498</c:v>
                </c:pt>
                <c:pt idx="647">
                  <c:v>6606.1635576458466</c:v>
                </c:pt>
                <c:pt idx="648">
                  <c:v>6587.2978165252407</c:v>
                </c:pt>
                <c:pt idx="649">
                  <c:v>6571.5811680685638</c:v>
                </c:pt>
                <c:pt idx="650">
                  <c:v>6623.3884078097099</c:v>
                </c:pt>
                <c:pt idx="651">
                  <c:v>6881.3287680489148</c:v>
                </c:pt>
                <c:pt idx="652">
                  <c:v>7342.1270521910074</c:v>
                </c:pt>
                <c:pt idx="653">
                  <c:v>7605.7137495335774</c:v>
                </c:pt>
                <c:pt idx="654">
                  <c:v>7776.3957153393849</c:v>
                </c:pt>
                <c:pt idx="655">
                  <c:v>7914.3214123486623</c:v>
                </c:pt>
                <c:pt idx="656">
                  <c:v>8086.7579996334243</c:v>
                </c:pt>
                <c:pt idx="657">
                  <c:v>8070.4007951896274</c:v>
                </c:pt>
                <c:pt idx="658">
                  <c:v>8135.0424490080959</c:v>
                </c:pt>
                <c:pt idx="659">
                  <c:v>8074.8012457652085</c:v>
                </c:pt>
                <c:pt idx="660">
                  <c:v>8031.3106460189729</c:v>
                </c:pt>
                <c:pt idx="661">
                  <c:v>8176.859984749919</c:v>
                </c:pt>
                <c:pt idx="662">
                  <c:v>8281.736191562999</c:v>
                </c:pt>
                <c:pt idx="663">
                  <c:v>8289.6871170521845</c:v>
                </c:pt>
                <c:pt idx="664">
                  <c:v>8199.7139551774817</c:v>
                </c:pt>
                <c:pt idx="665">
                  <c:v>7982.6311922153436</c:v>
                </c:pt>
                <c:pt idx="666">
                  <c:v>8243.3684780213189</c:v>
                </c:pt>
                <c:pt idx="667">
                  <c:v>8078.0161806913247</c:v>
                </c:pt>
                <c:pt idx="668">
                  <c:v>7836.8723191398194</c:v>
                </c:pt>
                <c:pt idx="669">
                  <c:v>7620.2892376812897</c:v>
                </c:pt>
                <c:pt idx="670">
                  <c:v>7415.9916736439518</c:v>
                </c:pt>
                <c:pt idx="671">
                  <c:v>7268.5455885045239</c:v>
                </c:pt>
                <c:pt idx="672">
                  <c:v>7169.1864423345942</c:v>
                </c:pt>
                <c:pt idx="673">
                  <c:v>7170.0224446718958</c:v>
                </c:pt>
                <c:pt idx="674">
                  <c:v>7191.2490660908197</c:v>
                </c:pt>
                <c:pt idx="675">
                  <c:v>7332.2188128383559</c:v>
                </c:pt>
                <c:pt idx="676">
                  <c:v>7735.3031980255118</c:v>
                </c:pt>
                <c:pt idx="677">
                  <c:v>8154.1676276441303</c:v>
                </c:pt>
                <c:pt idx="678">
                  <c:v>8100.6792751761923</c:v>
                </c:pt>
                <c:pt idx="679">
                  <c:v>8277.9365830275383</c:v>
                </c:pt>
                <c:pt idx="680">
                  <c:v>8184.0505243926646</c:v>
                </c:pt>
                <c:pt idx="681">
                  <c:v>8010.9620670415597</c:v>
                </c:pt>
                <c:pt idx="682">
                  <c:v>7780.1575265503407</c:v>
                </c:pt>
                <c:pt idx="683">
                  <c:v>7678.9679622153199</c:v>
                </c:pt>
                <c:pt idx="684">
                  <c:v>7631.616880692718</c:v>
                </c:pt>
                <c:pt idx="685">
                  <c:v>7668.3878019763952</c:v>
                </c:pt>
                <c:pt idx="686">
                  <c:v>7761.1307236147177</c:v>
                </c:pt>
                <c:pt idx="687">
                  <c:v>7856.1777421971965</c:v>
                </c:pt>
                <c:pt idx="688">
                  <c:v>7937.3643693987433</c:v>
                </c:pt>
                <c:pt idx="689">
                  <c:v>8049.6190103844947</c:v>
                </c:pt>
                <c:pt idx="690">
                  <c:v>8106.3203975374454</c:v>
                </c:pt>
                <c:pt idx="691">
                  <c:v>8056.2124211019191</c:v>
                </c:pt>
                <c:pt idx="692">
                  <c:v>7783.4634546309671</c:v>
                </c:pt>
                <c:pt idx="693">
                  <c:v>7671.5562301396103</c:v>
                </c:pt>
                <c:pt idx="694">
                  <c:v>7494.1277586167962</c:v>
                </c:pt>
                <c:pt idx="695">
                  <c:v>7457.1693960216153</c:v>
                </c:pt>
                <c:pt idx="696">
                  <c:v>7428.6802059932415</c:v>
                </c:pt>
                <c:pt idx="697">
                  <c:v>7394.06787123717</c:v>
                </c:pt>
                <c:pt idx="698">
                  <c:v>7399.670333520774</c:v>
                </c:pt>
                <c:pt idx="699">
                  <c:v>7490.8964259204595</c:v>
                </c:pt>
                <c:pt idx="700">
                  <c:v>7603.7686671071115</c:v>
                </c:pt>
                <c:pt idx="701">
                  <c:v>7748.3403427105814</c:v>
                </c:pt>
                <c:pt idx="702">
                  <c:v>8047.8047988734252</c:v>
                </c:pt>
                <c:pt idx="703">
                  <c:v>8231.5909201655613</c:v>
                </c:pt>
                <c:pt idx="704">
                  <c:v>8326.4094948202837</c:v>
                </c:pt>
                <c:pt idx="705">
                  <c:v>8372.4017838227956</c:v>
                </c:pt>
                <c:pt idx="706">
                  <c:v>8397.1928644009258</c:v>
                </c:pt>
                <c:pt idx="707">
                  <c:v>8424.9956796976094</c:v>
                </c:pt>
                <c:pt idx="708">
                  <c:v>8379.7266453935172</c:v>
                </c:pt>
                <c:pt idx="709">
                  <c:v>8333.286101527412</c:v>
                </c:pt>
                <c:pt idx="710">
                  <c:v>8422.483992333684</c:v>
                </c:pt>
                <c:pt idx="711">
                  <c:v>8562.0430339399136</c:v>
                </c:pt>
                <c:pt idx="712">
                  <c:v>8650.5453436739735</c:v>
                </c:pt>
                <c:pt idx="713">
                  <c:v>8653.0036167893741</c:v>
                </c:pt>
                <c:pt idx="714">
                  <c:v>8561.4524357282753</c:v>
                </c:pt>
                <c:pt idx="715">
                  <c:v>8428.0880163096899</c:v>
                </c:pt>
                <c:pt idx="716">
                  <c:v>8160.3737987109043</c:v>
                </c:pt>
                <c:pt idx="717">
                  <c:v>7947.9231027810729</c:v>
                </c:pt>
                <c:pt idx="718">
                  <c:v>7842.2417725486466</c:v>
                </c:pt>
                <c:pt idx="719">
                  <c:v>7752.2662572144145</c:v>
                </c:pt>
                <c:pt idx="720">
                  <c:v>7647.6262809492509</c:v>
                </c:pt>
                <c:pt idx="721">
                  <c:v>7562.3844900859704</c:v>
                </c:pt>
                <c:pt idx="722">
                  <c:v>7569.6225575981862</c:v>
                </c:pt>
                <c:pt idx="723">
                  <c:v>7609.4978175914957</c:v>
                </c:pt>
                <c:pt idx="724">
                  <c:v>7691.3396238999276</c:v>
                </c:pt>
                <c:pt idx="725">
                  <c:v>7811.9566580996043</c:v>
                </c:pt>
                <c:pt idx="726">
                  <c:v>8039.6531030826854</c:v>
                </c:pt>
                <c:pt idx="727">
                  <c:v>8182.3436328203088</c:v>
                </c:pt>
                <c:pt idx="728">
                  <c:v>8244.7367280632316</c:v>
                </c:pt>
                <c:pt idx="729">
                  <c:v>8313.476497544958</c:v>
                </c:pt>
                <c:pt idx="730">
                  <c:v>8356.7745504468367</c:v>
                </c:pt>
                <c:pt idx="731">
                  <c:v>8483.9701538256541</c:v>
                </c:pt>
                <c:pt idx="732">
                  <c:v>7988.127246457545</c:v>
                </c:pt>
                <c:pt idx="733">
                  <c:v>8127.280755862258</c:v>
                </c:pt>
                <c:pt idx="734">
                  <c:v>8569.408150043464</c:v>
                </c:pt>
                <c:pt idx="735">
                  <c:v>8774.9778654353504</c:v>
                </c:pt>
                <c:pt idx="736">
                  <c:v>8784.738634065252</c:v>
                </c:pt>
                <c:pt idx="737">
                  <c:v>8563.7805805512417</c:v>
                </c:pt>
                <c:pt idx="738">
                  <c:v>8580.4303019949875</c:v>
                </c:pt>
                <c:pt idx="739">
                  <c:v>8443.6309346773178</c:v>
                </c:pt>
                <c:pt idx="740">
                  <c:v>8389.9901588467401</c:v>
                </c:pt>
                <c:pt idx="741">
                  <c:v>8306.8814268467977</c:v>
                </c:pt>
                <c:pt idx="742">
                  <c:v>8183.3766759629698</c:v>
                </c:pt>
                <c:pt idx="743">
                  <c:v>8269.7666602114914</c:v>
                </c:pt>
                <c:pt idx="744">
                  <c:v>8365.3982923382209</c:v>
                </c:pt>
                <c:pt idx="745">
                  <c:v>8221.1126630861108</c:v>
                </c:pt>
                <c:pt idx="746">
                  <c:v>8130.3054482593789</c:v>
                </c:pt>
                <c:pt idx="747">
                  <c:v>8270.0365981971645</c:v>
                </c:pt>
                <c:pt idx="748">
                  <c:v>8790.2133706601162</c:v>
                </c:pt>
                <c:pt idx="749">
                  <c:v>9346.3252914088898</c:v>
                </c:pt>
                <c:pt idx="750">
                  <c:v>9853.5676086529093</c:v>
                </c:pt>
                <c:pt idx="751">
                  <c:v>9846.7562872407507</c:v>
                </c:pt>
                <c:pt idx="752">
                  <c:v>9626.0960965199101</c:v>
                </c:pt>
                <c:pt idx="753">
                  <c:v>9240.7790967134188</c:v>
                </c:pt>
                <c:pt idx="754">
                  <c:v>9077.3075411750124</c:v>
                </c:pt>
                <c:pt idx="755">
                  <c:v>8779.9529478289205</c:v>
                </c:pt>
                <c:pt idx="756">
                  <c:v>8681.1803809699031</c:v>
                </c:pt>
                <c:pt idx="757">
                  <c:v>8887.1131079383522</c:v>
                </c:pt>
                <c:pt idx="758">
                  <c:v>8746.7241578714675</c:v>
                </c:pt>
                <c:pt idx="759">
                  <c:v>8916.6069357811484</c:v>
                </c:pt>
                <c:pt idx="760">
                  <c:v>8959.6393480816932</c:v>
                </c:pt>
                <c:pt idx="761">
                  <c:v>8970.656137858603</c:v>
                </c:pt>
                <c:pt idx="762">
                  <c:v>8744.5437513339348</c:v>
                </c:pt>
                <c:pt idx="763">
                  <c:v>8670.6649381377974</c:v>
                </c:pt>
                <c:pt idx="764">
                  <c:v>8326.1164263135779</c:v>
                </c:pt>
                <c:pt idx="765">
                  <c:v>7848.3892982433927</c:v>
                </c:pt>
                <c:pt idx="766">
                  <c:v>7611.3461788378236</c:v>
                </c:pt>
                <c:pt idx="767">
                  <c:v>7840.4011815410904</c:v>
                </c:pt>
                <c:pt idx="768">
                  <c:v>7850.4388174841406</c:v>
                </c:pt>
                <c:pt idx="769">
                  <c:v>7865.7652776401783</c:v>
                </c:pt>
                <c:pt idx="770">
                  <c:v>7838.9600889234944</c:v>
                </c:pt>
                <c:pt idx="771">
                  <c:v>7754.5629006266518</c:v>
                </c:pt>
                <c:pt idx="772">
                  <c:v>7988.7230703322211</c:v>
                </c:pt>
                <c:pt idx="773">
                  <c:v>8571.3999904141274</c:v>
                </c:pt>
                <c:pt idx="774">
                  <c:v>8895.0216929978669</c:v>
                </c:pt>
                <c:pt idx="775">
                  <c:v>8775.0513195828826</c:v>
                </c:pt>
                <c:pt idx="776">
                  <c:v>8655.8506530245868</c:v>
                </c:pt>
                <c:pt idx="777">
                  <c:v>8459.6754675524389</c:v>
                </c:pt>
                <c:pt idx="778">
                  <c:v>8413.1876688400098</c:v>
                </c:pt>
                <c:pt idx="779">
                  <c:v>8495.5953920675693</c:v>
                </c:pt>
                <c:pt idx="780">
                  <c:v>8395.6331596072469</c:v>
                </c:pt>
                <c:pt idx="781">
                  <c:v>8283.5404049664176</c:v>
                </c:pt>
                <c:pt idx="782">
                  <c:v>8108.6778595859605</c:v>
                </c:pt>
                <c:pt idx="783">
                  <c:v>8123.4756541010765</c:v>
                </c:pt>
                <c:pt idx="784">
                  <c:v>8046.897526573769</c:v>
                </c:pt>
                <c:pt idx="785">
                  <c:v>8037.708725055938</c:v>
                </c:pt>
                <c:pt idx="786">
                  <c:v>8088.6333246457725</c:v>
                </c:pt>
                <c:pt idx="787">
                  <c:v>7937.2354533290809</c:v>
                </c:pt>
                <c:pt idx="788">
                  <c:v>7664.4673697773578</c:v>
                </c:pt>
                <c:pt idx="789">
                  <c:v>7550.3344878920461</c:v>
                </c:pt>
                <c:pt idx="790">
                  <c:v>7369.3053051965362</c:v>
                </c:pt>
                <c:pt idx="791">
                  <c:v>7285.2369842014659</c:v>
                </c:pt>
                <c:pt idx="792">
                  <c:v>7276.4867179231896</c:v>
                </c:pt>
                <c:pt idx="793">
                  <c:v>7149.2688085532436</c:v>
                </c:pt>
                <c:pt idx="794">
                  <c:v>7125.2839707893636</c:v>
                </c:pt>
                <c:pt idx="795">
                  <c:v>7423.0607289071031</c:v>
                </c:pt>
                <c:pt idx="796">
                  <c:v>7962.0495989026922</c:v>
                </c:pt>
                <c:pt idx="797">
                  <c:v>8566.0429377166474</c:v>
                </c:pt>
                <c:pt idx="798">
                  <c:v>8951.3284579542633</c:v>
                </c:pt>
                <c:pt idx="799">
                  <c:v>9327.9512049113655</c:v>
                </c:pt>
                <c:pt idx="800">
                  <c:v>9487.5206371829881</c:v>
                </c:pt>
                <c:pt idx="801">
                  <c:v>9385.4890585409648</c:v>
                </c:pt>
                <c:pt idx="802">
                  <c:v>9409.3474429039707</c:v>
                </c:pt>
                <c:pt idx="803">
                  <c:v>9372.2591049093153</c:v>
                </c:pt>
                <c:pt idx="804">
                  <c:v>9316.8542883012033</c:v>
                </c:pt>
                <c:pt idx="805">
                  <c:v>9577.6998332455223</c:v>
                </c:pt>
                <c:pt idx="806">
                  <c:v>9894.9914177141036</c:v>
                </c:pt>
                <c:pt idx="807">
                  <c:v>9912.6305149783439</c:v>
                </c:pt>
                <c:pt idx="808">
                  <c:v>9594.9679029735926</c:v>
                </c:pt>
                <c:pt idx="809">
                  <c:v>9661.0453473001362</c:v>
                </c:pt>
                <c:pt idx="810">
                  <c:v>9837.786717849689</c:v>
                </c:pt>
                <c:pt idx="811">
                  <c:v>9843.7913159268574</c:v>
                </c:pt>
                <c:pt idx="812">
                  <c:v>9422.533472571693</c:v>
                </c:pt>
                <c:pt idx="813">
                  <c:v>9190.6122674082762</c:v>
                </c:pt>
                <c:pt idx="814">
                  <c:v>8999.8977359970559</c:v>
                </c:pt>
                <c:pt idx="815">
                  <c:v>9011.2078836852106</c:v>
                </c:pt>
                <c:pt idx="816">
                  <c:v>9058.5209385438648</c:v>
                </c:pt>
                <c:pt idx="817">
                  <c:v>9489.207887470131</c:v>
                </c:pt>
                <c:pt idx="818">
                  <c:v>9567.6525978086138</c:v>
                </c:pt>
                <c:pt idx="819">
                  <c:v>9852.3514871086372</c:v>
                </c:pt>
                <c:pt idx="820">
                  <c:v>10460.036917942673</c:v>
                </c:pt>
                <c:pt idx="821">
                  <c:v>11169.792882361377</c:v>
                </c:pt>
                <c:pt idx="822">
                  <c:v>11646.117370394024</c:v>
                </c:pt>
                <c:pt idx="823">
                  <c:v>11649.335472388648</c:v>
                </c:pt>
                <c:pt idx="824">
                  <c:v>11327.739366757496</c:v>
                </c:pt>
                <c:pt idx="825">
                  <c:v>10898.932116674396</c:v>
                </c:pt>
                <c:pt idx="826">
                  <c:v>10655.002059365806</c:v>
                </c:pt>
                <c:pt idx="827">
                  <c:v>10258.901950294125</c:v>
                </c:pt>
                <c:pt idx="828">
                  <c:v>9984.6518370341109</c:v>
                </c:pt>
                <c:pt idx="829">
                  <c:v>10006.129754418214</c:v>
                </c:pt>
                <c:pt idx="830">
                  <c:v>10579.876835437444</c:v>
                </c:pt>
                <c:pt idx="831">
                  <c:v>10839.440372891599</c:v>
                </c:pt>
                <c:pt idx="832">
                  <c:v>10653.50442365442</c:v>
                </c:pt>
                <c:pt idx="833">
                  <c:v>10506.500286543887</c:v>
                </c:pt>
                <c:pt idx="834">
                  <c:v>10485.600621264704</c:v>
                </c:pt>
                <c:pt idx="835">
                  <c:v>10402.235487766729</c:v>
                </c:pt>
                <c:pt idx="836">
                  <c:v>9997.5132367193055</c:v>
                </c:pt>
                <c:pt idx="837">
                  <c:v>9727.8008773756192</c:v>
                </c:pt>
                <c:pt idx="838">
                  <c:v>9558.9179866775994</c:v>
                </c:pt>
                <c:pt idx="839">
                  <c:v>9499.002893202698</c:v>
                </c:pt>
                <c:pt idx="840">
                  <c:v>9571.4686969421655</c:v>
                </c:pt>
                <c:pt idx="841">
                  <c:v>9767.3846851592534</c:v>
                </c:pt>
                <c:pt idx="842">
                  <c:v>9902.8572910324656</c:v>
                </c:pt>
                <c:pt idx="843">
                  <c:v>10291.134451484995</c:v>
                </c:pt>
                <c:pt idx="844">
                  <c:v>10919.5791154122</c:v>
                </c:pt>
                <c:pt idx="845">
                  <c:v>11591.569704496196</c:v>
                </c:pt>
                <c:pt idx="846">
                  <c:v>11823.383136502473</c:v>
                </c:pt>
                <c:pt idx="847">
                  <c:v>11806.826128259065</c:v>
                </c:pt>
                <c:pt idx="848">
                  <c:v>11652.064846568328</c:v>
                </c:pt>
                <c:pt idx="849">
                  <c:v>11484.986606110764</c:v>
                </c:pt>
                <c:pt idx="850">
                  <c:v>11332.829512026237</c:v>
                </c:pt>
                <c:pt idx="851">
                  <c:v>11232.571284251069</c:v>
                </c:pt>
                <c:pt idx="852">
                  <c:v>11168.32732686979</c:v>
                </c:pt>
                <c:pt idx="853">
                  <c:v>11140.635162394217</c:v>
                </c:pt>
                <c:pt idx="854">
                  <c:v>11248.611153890832</c:v>
                </c:pt>
                <c:pt idx="855">
                  <c:v>11358.422778294651</c:v>
                </c:pt>
                <c:pt idx="856">
                  <c:v>11242.610585635317</c:v>
                </c:pt>
                <c:pt idx="857">
                  <c:v>11187.905685706997</c:v>
                </c:pt>
                <c:pt idx="858">
                  <c:v>11140.360577554578</c:v>
                </c:pt>
                <c:pt idx="859">
                  <c:v>10963.583238935609</c:v>
                </c:pt>
                <c:pt idx="860">
                  <c:v>10683.301389097593</c:v>
                </c:pt>
                <c:pt idx="861">
                  <c:v>10436.506483523664</c:v>
                </c:pt>
                <c:pt idx="862">
                  <c:v>10222.327032327848</c:v>
                </c:pt>
                <c:pt idx="863">
                  <c:v>10133.086358794402</c:v>
                </c:pt>
                <c:pt idx="864">
                  <c:v>10265.660376201738</c:v>
                </c:pt>
                <c:pt idx="865">
                  <c:v>10095.628429365333</c:v>
                </c:pt>
                <c:pt idx="866">
                  <c:v>9985.6595327077812</c:v>
                </c:pt>
                <c:pt idx="867">
                  <c:v>10013.640506528964</c:v>
                </c:pt>
                <c:pt idx="868">
                  <c:v>10238.623385372588</c:v>
                </c:pt>
                <c:pt idx="869">
                  <c:v>10379.077571590275</c:v>
                </c:pt>
                <c:pt idx="870">
                  <c:v>10691.417215107247</c:v>
                </c:pt>
                <c:pt idx="871">
                  <c:v>10709.541239704218</c:v>
                </c:pt>
                <c:pt idx="872">
                  <c:v>10436.026443305267</c:v>
                </c:pt>
                <c:pt idx="873">
                  <c:v>10335.20582060957</c:v>
                </c:pt>
                <c:pt idx="874">
                  <c:v>10118.631006291938</c:v>
                </c:pt>
                <c:pt idx="875">
                  <c:v>9832.3827597755135</c:v>
                </c:pt>
                <c:pt idx="876">
                  <c:v>9664.9144238451772</c:v>
                </c:pt>
                <c:pt idx="877">
                  <c:v>9804.2369946431227</c:v>
                </c:pt>
                <c:pt idx="878">
                  <c:v>10013.193709608975</c:v>
                </c:pt>
                <c:pt idx="879">
                  <c:v>10248.898409481699</c:v>
                </c:pt>
                <c:pt idx="880">
                  <c:v>10384.830229367637</c:v>
                </c:pt>
                <c:pt idx="881">
                  <c:v>10636.054831756677</c:v>
                </c:pt>
                <c:pt idx="882">
                  <c:v>10566.359852571104</c:v>
                </c:pt>
                <c:pt idx="883">
                  <c:v>10480.952609680598</c:v>
                </c:pt>
                <c:pt idx="884">
                  <c:v>10068.048291747536</c:v>
                </c:pt>
                <c:pt idx="885">
                  <c:v>9754.3850483941496</c:v>
                </c:pt>
                <c:pt idx="886">
                  <c:v>9666.4623449598221</c:v>
                </c:pt>
                <c:pt idx="887">
                  <c:v>9603.11702142582</c:v>
                </c:pt>
                <c:pt idx="888">
                  <c:v>9444.6548399882777</c:v>
                </c:pt>
                <c:pt idx="889">
                  <c:v>9315.232934880878</c:v>
                </c:pt>
                <c:pt idx="890">
                  <c:v>9320.8352497319811</c:v>
                </c:pt>
                <c:pt idx="891">
                  <c:v>9400.5864631973964</c:v>
                </c:pt>
                <c:pt idx="892">
                  <c:v>9393.2278505052127</c:v>
                </c:pt>
                <c:pt idx="893">
                  <c:v>9221.1733754963971</c:v>
                </c:pt>
                <c:pt idx="894">
                  <c:v>9165.3987053516485</c:v>
                </c:pt>
                <c:pt idx="895">
                  <c:v>9193.1320417178249</c:v>
                </c:pt>
                <c:pt idx="896">
                  <c:v>9124.986168567355</c:v>
                </c:pt>
                <c:pt idx="897">
                  <c:v>9078.7292982933195</c:v>
                </c:pt>
                <c:pt idx="898">
                  <c:v>9020.2139289687439</c:v>
                </c:pt>
                <c:pt idx="899">
                  <c:v>8736.447036944588</c:v>
                </c:pt>
                <c:pt idx="900">
                  <c:v>8773.7832089709136</c:v>
                </c:pt>
                <c:pt idx="901">
                  <c:v>8833.0007337650895</c:v>
                </c:pt>
                <c:pt idx="902">
                  <c:v>8921.9759414320142</c:v>
                </c:pt>
                <c:pt idx="903">
                  <c:v>8992.2052214562664</c:v>
                </c:pt>
                <c:pt idx="904">
                  <c:v>8988.6487236520315</c:v>
                </c:pt>
                <c:pt idx="905">
                  <c:v>8974.3024875805913</c:v>
                </c:pt>
                <c:pt idx="906">
                  <c:v>8898.725661524848</c:v>
                </c:pt>
                <c:pt idx="907">
                  <c:v>8806.8203421394683</c:v>
                </c:pt>
                <c:pt idx="908">
                  <c:v>8720.2916785135403</c:v>
                </c:pt>
                <c:pt idx="909">
                  <c:v>8389.2937587050837</c:v>
                </c:pt>
                <c:pt idx="910">
                  <c:v>8221.4487709617479</c:v>
                </c:pt>
                <c:pt idx="911">
                  <c:v>8058.1871647631024</c:v>
                </c:pt>
                <c:pt idx="912">
                  <c:v>8015.2695750773601</c:v>
                </c:pt>
                <c:pt idx="913">
                  <c:v>8006.9030701348393</c:v>
                </c:pt>
                <c:pt idx="914">
                  <c:v>8059.1701190791709</c:v>
                </c:pt>
                <c:pt idx="915">
                  <c:v>8381.8390582464635</c:v>
                </c:pt>
                <c:pt idx="916">
                  <c:v>9038.1075220294479</c:v>
                </c:pt>
                <c:pt idx="917">
                  <c:v>9557.3223574982057</c:v>
                </c:pt>
                <c:pt idx="918">
                  <c:v>9838.0272130191624</c:v>
                </c:pt>
                <c:pt idx="919">
                  <c:v>9958.3462533745551</c:v>
                </c:pt>
                <c:pt idx="920">
                  <c:v>9892.4898922717184</c:v>
                </c:pt>
                <c:pt idx="921">
                  <c:v>9727.7177363668216</c:v>
                </c:pt>
                <c:pt idx="922">
                  <c:v>9590.5616752282149</c:v>
                </c:pt>
                <c:pt idx="923">
                  <c:v>9404.8637694126483</c:v>
                </c:pt>
                <c:pt idx="924">
                  <c:v>9534.3955499554231</c:v>
                </c:pt>
                <c:pt idx="925">
                  <c:v>9654.4282927781605</c:v>
                </c:pt>
                <c:pt idx="926">
                  <c:v>9796.8312472347989</c:v>
                </c:pt>
                <c:pt idx="927">
                  <c:v>9798.529707852369</c:v>
                </c:pt>
                <c:pt idx="928">
                  <c:v>9842.2882252129875</c:v>
                </c:pt>
                <c:pt idx="929">
                  <c:v>9824.8622225151666</c:v>
                </c:pt>
                <c:pt idx="930">
                  <c:v>9966.7603244097882</c:v>
                </c:pt>
                <c:pt idx="931">
                  <c:v>9903.1012099122054</c:v>
                </c:pt>
                <c:pt idx="932">
                  <c:v>9501.5054725144309</c:v>
                </c:pt>
                <c:pt idx="933">
                  <c:v>9205.8256249953392</c:v>
                </c:pt>
                <c:pt idx="934">
                  <c:v>9025.0913018383817</c:v>
                </c:pt>
                <c:pt idx="935">
                  <c:v>8950.2088227902259</c:v>
                </c:pt>
                <c:pt idx="936">
                  <c:v>8923.6509930449374</c:v>
                </c:pt>
                <c:pt idx="937">
                  <c:v>8942.8565387745948</c:v>
                </c:pt>
                <c:pt idx="938">
                  <c:v>9035.7214689969533</c:v>
                </c:pt>
                <c:pt idx="939">
                  <c:v>9262.2450611441363</c:v>
                </c:pt>
                <c:pt idx="940">
                  <c:v>9832.9738603497426</c:v>
                </c:pt>
                <c:pt idx="941">
                  <c:v>10265.22555953745</c:v>
                </c:pt>
                <c:pt idx="942">
                  <c:v>10640.835488906638</c:v>
                </c:pt>
                <c:pt idx="943">
                  <c:v>10592.923672444242</c:v>
                </c:pt>
                <c:pt idx="944">
                  <c:v>10698.408393247881</c:v>
                </c:pt>
                <c:pt idx="945">
                  <c:v>10544.193168772541</c:v>
                </c:pt>
                <c:pt idx="946">
                  <c:v>10420.102559358911</c:v>
                </c:pt>
                <c:pt idx="947">
                  <c:v>10335.192284121931</c:v>
                </c:pt>
                <c:pt idx="948">
                  <c:v>10296.5980268936</c:v>
                </c:pt>
                <c:pt idx="949">
                  <c:v>10329.430381780803</c:v>
                </c:pt>
                <c:pt idx="950">
                  <c:v>10475.794934866619</c:v>
                </c:pt>
                <c:pt idx="951">
                  <c:v>10770.935168516589</c:v>
                </c:pt>
                <c:pt idx="952">
                  <c:v>10695.890464574808</c:v>
                </c:pt>
                <c:pt idx="953">
                  <c:v>10767.51625253671</c:v>
                </c:pt>
                <c:pt idx="954">
                  <c:v>10735.495617308094</c:v>
                </c:pt>
                <c:pt idx="955">
                  <c:v>10543.953541816676</c:v>
                </c:pt>
                <c:pt idx="956">
                  <c:v>10108.762764830359</c:v>
                </c:pt>
                <c:pt idx="957">
                  <c:v>9740.5311604245835</c:v>
                </c:pt>
                <c:pt idx="958">
                  <c:v>9556.1631667405945</c:v>
                </c:pt>
                <c:pt idx="959">
                  <c:v>9553.5829997108794</c:v>
                </c:pt>
                <c:pt idx="960">
                  <c:v>9632.830108697699</c:v>
                </c:pt>
                <c:pt idx="961">
                  <c:v>9729.3877479724488</c:v>
                </c:pt>
                <c:pt idx="962">
                  <c:v>9921.6047803675392</c:v>
                </c:pt>
                <c:pt idx="963">
                  <c:v>10150.744982674132</c:v>
                </c:pt>
                <c:pt idx="964">
                  <c:v>10478.972487463416</c:v>
                </c:pt>
                <c:pt idx="965">
                  <c:v>11178.604114708431</c:v>
                </c:pt>
                <c:pt idx="966">
                  <c:v>11508.231387331742</c:v>
                </c:pt>
                <c:pt idx="967">
                  <c:v>11444.737763084628</c:v>
                </c:pt>
                <c:pt idx="968">
                  <c:v>11166.140924743944</c:v>
                </c:pt>
                <c:pt idx="969">
                  <c:v>10924.105719063195</c:v>
                </c:pt>
                <c:pt idx="970">
                  <c:v>10608.498774780466</c:v>
                </c:pt>
                <c:pt idx="971">
                  <c:v>10370.758873000834</c:v>
                </c:pt>
                <c:pt idx="972">
                  <c:v>10190.140644746543</c:v>
                </c:pt>
                <c:pt idx="973">
                  <c:v>10220.645024085132</c:v>
                </c:pt>
                <c:pt idx="974">
                  <c:v>10504.177460211831</c:v>
                </c:pt>
                <c:pt idx="975">
                  <c:v>10725.856961011026</c:v>
                </c:pt>
                <c:pt idx="976">
                  <c:v>10738.088441690918</c:v>
                </c:pt>
                <c:pt idx="977">
                  <c:v>10781.534227417766</c:v>
                </c:pt>
                <c:pt idx="978">
                  <c:v>10772.132336793979</c:v>
                </c:pt>
                <c:pt idx="979">
                  <c:v>10393.31964387058</c:v>
                </c:pt>
                <c:pt idx="980">
                  <c:v>10385.206340594807</c:v>
                </c:pt>
                <c:pt idx="981">
                  <c:v>9884.0990336644627</c:v>
                </c:pt>
                <c:pt idx="982">
                  <c:v>9729.9838940144382</c:v>
                </c:pt>
                <c:pt idx="983">
                  <c:v>9642.1655509479097</c:v>
                </c:pt>
                <c:pt idx="984">
                  <c:v>9761.8592099427078</c:v>
                </c:pt>
                <c:pt idx="985">
                  <c:v>9858.810767014289</c:v>
                </c:pt>
                <c:pt idx="986">
                  <c:v>9670.8367491271583</c:v>
                </c:pt>
                <c:pt idx="987">
                  <c:v>10353.446573522911</c:v>
                </c:pt>
                <c:pt idx="988">
                  <c:v>11318.12613983636</c:v>
                </c:pt>
                <c:pt idx="989">
                  <c:v>12081.698619625056</c:v>
                </c:pt>
                <c:pt idx="990">
                  <c:v>12529.281387599525</c:v>
                </c:pt>
                <c:pt idx="991">
                  <c:v>12545.259412035977</c:v>
                </c:pt>
                <c:pt idx="992">
                  <c:v>12375.78974545038</c:v>
                </c:pt>
                <c:pt idx="993">
                  <c:v>11793.679048073527</c:v>
                </c:pt>
                <c:pt idx="994">
                  <c:v>11939.904736126198</c:v>
                </c:pt>
                <c:pt idx="995">
                  <c:v>11559.250147144596</c:v>
                </c:pt>
                <c:pt idx="996">
                  <c:v>11416.926019931027</c:v>
                </c:pt>
                <c:pt idx="997">
                  <c:v>11278.297419368726</c:v>
                </c:pt>
                <c:pt idx="998">
                  <c:v>11375.483792728321</c:v>
                </c:pt>
                <c:pt idx="999">
                  <c:v>11383.946134255984</c:v>
                </c:pt>
                <c:pt idx="1000">
                  <c:v>11504.377818501465</c:v>
                </c:pt>
                <c:pt idx="1001">
                  <c:v>11495.445800714071</c:v>
                </c:pt>
                <c:pt idx="1002">
                  <c:v>11518.573493228128</c:v>
                </c:pt>
                <c:pt idx="1003">
                  <c:v>11340.021149222031</c:v>
                </c:pt>
                <c:pt idx="1004">
                  <c:v>10902.822194159922</c:v>
                </c:pt>
                <c:pt idx="1005">
                  <c:v>10563.128760135136</c:v>
                </c:pt>
                <c:pt idx="1006">
                  <c:v>10330.856993250669</c:v>
                </c:pt>
                <c:pt idx="1007">
                  <c:v>10268.585983038263</c:v>
                </c:pt>
                <c:pt idx="1008">
                  <c:v>10291.994605449901</c:v>
                </c:pt>
                <c:pt idx="1009">
                  <c:v>10349.523258199439</c:v>
                </c:pt>
                <c:pt idx="1010">
                  <c:v>10190.413411252021</c:v>
                </c:pt>
                <c:pt idx="1011">
                  <c:v>10519.259439060443</c:v>
                </c:pt>
                <c:pt idx="1012">
                  <c:v>11326.873675883164</c:v>
                </c:pt>
                <c:pt idx="1013">
                  <c:v>12010.501674580981</c:v>
                </c:pt>
                <c:pt idx="1014">
                  <c:v>12417.240070519634</c:v>
                </c:pt>
                <c:pt idx="1015">
                  <c:v>12321.92056937575</c:v>
                </c:pt>
                <c:pt idx="1016">
                  <c:v>11971.331202000409</c:v>
                </c:pt>
                <c:pt idx="1017">
                  <c:v>11507.072141969504</c:v>
                </c:pt>
                <c:pt idx="1018">
                  <c:v>11209.32426424028</c:v>
                </c:pt>
                <c:pt idx="1019">
                  <c:v>11005.870352648828</c:v>
                </c:pt>
                <c:pt idx="1020">
                  <c:v>10741.644033058301</c:v>
                </c:pt>
                <c:pt idx="1021">
                  <c:v>10421.192871836936</c:v>
                </c:pt>
                <c:pt idx="1022">
                  <c:v>10477.518650125307</c:v>
                </c:pt>
                <c:pt idx="1023">
                  <c:v>10417.919351603889</c:v>
                </c:pt>
                <c:pt idx="1024">
                  <c:v>10132.460551517695</c:v>
                </c:pt>
                <c:pt idx="1025">
                  <c:v>9889.3934439310397</c:v>
                </c:pt>
                <c:pt idx="1026">
                  <c:v>9653.5852901273647</c:v>
                </c:pt>
                <c:pt idx="1027">
                  <c:v>9426.7142323416192</c:v>
                </c:pt>
                <c:pt idx="1028">
                  <c:v>9256.0415820855942</c:v>
                </c:pt>
                <c:pt idx="1029">
                  <c:v>9213.3744310723505</c:v>
                </c:pt>
                <c:pt idx="1030">
                  <c:v>9022.6764066406122</c:v>
                </c:pt>
                <c:pt idx="1031">
                  <c:v>8800.6138762076971</c:v>
                </c:pt>
                <c:pt idx="1032">
                  <c:v>8607.4637599046109</c:v>
                </c:pt>
                <c:pt idx="1033">
                  <c:v>8409.7353948920008</c:v>
                </c:pt>
                <c:pt idx="1034">
                  <c:v>8318.8524652860779</c:v>
                </c:pt>
                <c:pt idx="1035">
                  <c:v>8220.9519452802597</c:v>
                </c:pt>
                <c:pt idx="1036">
                  <c:v>8312.8056086861798</c:v>
                </c:pt>
                <c:pt idx="1037">
                  <c:v>8182.4773540973629</c:v>
                </c:pt>
                <c:pt idx="1038">
                  <c:v>8354.6974995519231</c:v>
                </c:pt>
                <c:pt idx="1039">
                  <c:v>8343.5361440185497</c:v>
                </c:pt>
                <c:pt idx="1040">
                  <c:v>8376.599629381275</c:v>
                </c:pt>
                <c:pt idx="1041">
                  <c:v>8387.9539795169676</c:v>
                </c:pt>
                <c:pt idx="1042">
                  <c:v>8371.6196271105928</c:v>
                </c:pt>
                <c:pt idx="1043">
                  <c:v>8265.89932555413</c:v>
                </c:pt>
                <c:pt idx="1044">
                  <c:v>8187.4679496661593</c:v>
                </c:pt>
                <c:pt idx="1045">
                  <c:v>8159.1872455734783</c:v>
                </c:pt>
                <c:pt idx="1046">
                  <c:v>8318.5636395590809</c:v>
                </c:pt>
                <c:pt idx="1047">
                  <c:v>8337.2175147174294</c:v>
                </c:pt>
                <c:pt idx="1048">
                  <c:v>8340.2375165768808</c:v>
                </c:pt>
                <c:pt idx="1049">
                  <c:v>8022.7845372050406</c:v>
                </c:pt>
                <c:pt idx="1050">
                  <c:v>7924.5029205693818</c:v>
                </c:pt>
                <c:pt idx="1051">
                  <c:v>7945.4770392608161</c:v>
                </c:pt>
                <c:pt idx="1052">
                  <c:v>8030.2201861084486</c:v>
                </c:pt>
                <c:pt idx="1053">
                  <c:v>7755.5183560513324</c:v>
                </c:pt>
                <c:pt idx="1054">
                  <c:v>7714.4233269245033</c:v>
                </c:pt>
                <c:pt idx="1055">
                  <c:v>7634.7333307091612</c:v>
                </c:pt>
                <c:pt idx="1056">
                  <c:v>7603.3891267092122</c:v>
                </c:pt>
                <c:pt idx="1057">
                  <c:v>7523.4703043337095</c:v>
                </c:pt>
                <c:pt idx="1058">
                  <c:v>7448.5288249834357</c:v>
                </c:pt>
                <c:pt idx="1059">
                  <c:v>7423.1499637925453</c:v>
                </c:pt>
                <c:pt idx="1060">
                  <c:v>7829.9468631311893</c:v>
                </c:pt>
                <c:pt idx="1061">
                  <c:v>8140.6510215497347</c:v>
                </c:pt>
                <c:pt idx="1062">
                  <c:v>8412.8212444741021</c:v>
                </c:pt>
                <c:pt idx="1063">
                  <c:v>8563.6921428933874</c:v>
                </c:pt>
                <c:pt idx="1064">
                  <c:v>8613.0357637259094</c:v>
                </c:pt>
                <c:pt idx="1065">
                  <c:v>8735.6518188050213</c:v>
                </c:pt>
                <c:pt idx="1066">
                  <c:v>8715.7599147250639</c:v>
                </c:pt>
                <c:pt idx="1067">
                  <c:v>8637.6522787641607</c:v>
                </c:pt>
                <c:pt idx="1068">
                  <c:v>8726.3321900554965</c:v>
                </c:pt>
                <c:pt idx="1069">
                  <c:v>8843.2961417823735</c:v>
                </c:pt>
                <c:pt idx="1070">
                  <c:v>9089.4299873308246</c:v>
                </c:pt>
                <c:pt idx="1071">
                  <c:v>9182.6105050090737</c:v>
                </c:pt>
                <c:pt idx="1072">
                  <c:v>9117.9346304693318</c:v>
                </c:pt>
                <c:pt idx="1073">
                  <c:v>9021.7741743482547</c:v>
                </c:pt>
                <c:pt idx="1074">
                  <c:v>9103.1191112914948</c:v>
                </c:pt>
                <c:pt idx="1075">
                  <c:v>9007.892874854706</c:v>
                </c:pt>
                <c:pt idx="1076">
                  <c:v>8817.5121033200576</c:v>
                </c:pt>
                <c:pt idx="1077">
                  <c:v>8717.5251295021317</c:v>
                </c:pt>
                <c:pt idx="1078">
                  <c:v>8679.3548553796099</c:v>
                </c:pt>
                <c:pt idx="1079">
                  <c:v>8685.1735902190649</c:v>
                </c:pt>
                <c:pt idx="1080">
                  <c:v>8781.0339447571605</c:v>
                </c:pt>
                <c:pt idx="1081">
                  <c:v>8937.3294308796267</c:v>
                </c:pt>
                <c:pt idx="1082">
                  <c:v>9207.6355336616089</c:v>
                </c:pt>
                <c:pt idx="1083">
                  <c:v>9408.6116400617047</c:v>
                </c:pt>
                <c:pt idx="1084">
                  <c:v>9983.1233933907897</c:v>
                </c:pt>
                <c:pt idx="1085">
                  <c:v>10348.208853782626</c:v>
                </c:pt>
                <c:pt idx="1086">
                  <c:v>10290.288734984117</c:v>
                </c:pt>
                <c:pt idx="1087">
                  <c:v>10180.661188246628</c:v>
                </c:pt>
                <c:pt idx="1088">
                  <c:v>9950.6886912570735</c:v>
                </c:pt>
                <c:pt idx="1089">
                  <c:v>9561.0896837767359</c:v>
                </c:pt>
                <c:pt idx="1090">
                  <c:v>9237.2365558524725</c:v>
                </c:pt>
                <c:pt idx="1091">
                  <c:v>8935.2614006694967</c:v>
                </c:pt>
                <c:pt idx="1092">
                  <c:v>8686.3511663554109</c:v>
                </c:pt>
                <c:pt idx="1093">
                  <c:v>8593.9328965414661</c:v>
                </c:pt>
                <c:pt idx="1094">
                  <c:v>8604.1322877783296</c:v>
                </c:pt>
                <c:pt idx="1095">
                  <c:v>8730.0523761574241</c:v>
                </c:pt>
                <c:pt idx="1096">
                  <c:v>8686.8324351779702</c:v>
                </c:pt>
                <c:pt idx="1097">
                  <c:v>8693.782829120868</c:v>
                </c:pt>
                <c:pt idx="1098">
                  <c:v>8564.7197637963454</c:v>
                </c:pt>
                <c:pt idx="1099">
                  <c:v>8392.4480115064944</c:v>
                </c:pt>
                <c:pt idx="1100">
                  <c:v>8317.6359833512524</c:v>
                </c:pt>
                <c:pt idx="1101">
                  <c:v>8132.4325115344054</c:v>
                </c:pt>
                <c:pt idx="1102">
                  <c:v>7820.8180338778802</c:v>
                </c:pt>
                <c:pt idx="1103">
                  <c:v>7786.1819679498503</c:v>
                </c:pt>
                <c:pt idx="1104">
                  <c:v>7808.6232857322175</c:v>
                </c:pt>
                <c:pt idx="1105">
                  <c:v>7753.0834755591859</c:v>
                </c:pt>
                <c:pt idx="1106">
                  <c:v>7473.9325422016509</c:v>
                </c:pt>
                <c:pt idx="1107">
                  <c:v>7531.3312413935673</c:v>
                </c:pt>
                <c:pt idx="1108">
                  <c:v>7982.4399668030192</c:v>
                </c:pt>
                <c:pt idx="1109">
                  <c:v>8271.0994008628732</c:v>
                </c:pt>
                <c:pt idx="1110">
                  <c:v>8425.5718786684629</c:v>
                </c:pt>
                <c:pt idx="1111">
                  <c:v>8569.2921916523701</c:v>
                </c:pt>
                <c:pt idx="1112">
                  <c:v>8614.3363422505481</c:v>
                </c:pt>
                <c:pt idx="1113">
                  <c:v>8545.8538643223146</c:v>
                </c:pt>
                <c:pt idx="1114">
                  <c:v>8480.3723203169284</c:v>
                </c:pt>
                <c:pt idx="1115">
                  <c:v>8535.9713000664287</c:v>
                </c:pt>
                <c:pt idx="1116">
                  <c:v>8725.6562284266438</c:v>
                </c:pt>
                <c:pt idx="1117">
                  <c:v>9099.287242340959</c:v>
                </c:pt>
                <c:pt idx="1118">
                  <c:v>9382.4792349844429</c:v>
                </c:pt>
                <c:pt idx="1119">
                  <c:v>9665.2857517068078</c:v>
                </c:pt>
                <c:pt idx="1120">
                  <c:v>9875.0074338475115</c:v>
                </c:pt>
                <c:pt idx="1121">
                  <c:v>9894.3430478045102</c:v>
                </c:pt>
                <c:pt idx="1122">
                  <c:v>10005.661497878851</c:v>
                </c:pt>
                <c:pt idx="1123">
                  <c:v>9878.8871364534443</c:v>
                </c:pt>
                <c:pt idx="1124">
                  <c:v>9525.1340478339444</c:v>
                </c:pt>
                <c:pt idx="1125">
                  <c:v>9229.0651805532816</c:v>
                </c:pt>
                <c:pt idx="1126">
                  <c:v>9127.4088340038925</c:v>
                </c:pt>
                <c:pt idx="1127">
                  <c:v>9117.8532422691405</c:v>
                </c:pt>
                <c:pt idx="1128">
                  <c:v>9185.0981881778953</c:v>
                </c:pt>
                <c:pt idx="1129">
                  <c:v>9296.4816396031292</c:v>
                </c:pt>
                <c:pt idx="1130">
                  <c:v>9545.5920544887704</c:v>
                </c:pt>
                <c:pt idx="1131">
                  <c:v>10039.409141025311</c:v>
                </c:pt>
                <c:pt idx="1132">
                  <c:v>10840.016992318098</c:v>
                </c:pt>
                <c:pt idx="1133">
                  <c:v>11522.218182969382</c:v>
                </c:pt>
                <c:pt idx="1134">
                  <c:v>11865.808492756063</c:v>
                </c:pt>
                <c:pt idx="1135">
                  <c:v>11950.796355711025</c:v>
                </c:pt>
                <c:pt idx="1136">
                  <c:v>11735.577510854142</c:v>
                </c:pt>
                <c:pt idx="1137">
                  <c:v>11279.282039125994</c:v>
                </c:pt>
                <c:pt idx="1138">
                  <c:v>11134.591238062922</c:v>
                </c:pt>
                <c:pt idx="1139">
                  <c:v>10845.913833619516</c:v>
                </c:pt>
                <c:pt idx="1140">
                  <c:v>10658.341765870209</c:v>
                </c:pt>
                <c:pt idx="1141">
                  <c:v>10652.57121961624</c:v>
                </c:pt>
                <c:pt idx="1142">
                  <c:v>10795.049899772997</c:v>
                </c:pt>
                <c:pt idx="1143">
                  <c:v>11084.98938647728</c:v>
                </c:pt>
                <c:pt idx="1144">
                  <c:v>11290.013798197653</c:v>
                </c:pt>
                <c:pt idx="1145">
                  <c:v>11446.936478554411</c:v>
                </c:pt>
                <c:pt idx="1146">
                  <c:v>11506.071452069789</c:v>
                </c:pt>
                <c:pt idx="1147">
                  <c:v>11339.888705693309</c:v>
                </c:pt>
                <c:pt idx="1148">
                  <c:v>10927.736020484588</c:v>
                </c:pt>
                <c:pt idx="1149">
                  <c:v>10625.708149992344</c:v>
                </c:pt>
                <c:pt idx="1150">
                  <c:v>10457.462386110716</c:v>
                </c:pt>
                <c:pt idx="1151">
                  <c:v>10423.801689915725</c:v>
                </c:pt>
                <c:pt idx="1152">
                  <c:v>10527.896570006968</c:v>
                </c:pt>
                <c:pt idx="1153">
                  <c:v>10583.287265857905</c:v>
                </c:pt>
                <c:pt idx="1154">
                  <c:v>10678.114528109174</c:v>
                </c:pt>
                <c:pt idx="1155">
                  <c:v>10951.491846432566</c:v>
                </c:pt>
                <c:pt idx="1156">
                  <c:v>11671.935782470577</c:v>
                </c:pt>
                <c:pt idx="1157">
                  <c:v>12167.1003310666</c:v>
                </c:pt>
                <c:pt idx="1158">
                  <c:v>12488.977934483477</c:v>
                </c:pt>
                <c:pt idx="1159">
                  <c:v>12214.472216953021</c:v>
                </c:pt>
                <c:pt idx="1160">
                  <c:v>11404.031977598348</c:v>
                </c:pt>
                <c:pt idx="1161">
                  <c:v>10498.381331688965</c:v>
                </c:pt>
                <c:pt idx="1162">
                  <c:v>10047.767373366471</c:v>
                </c:pt>
                <c:pt idx="1163">
                  <c:v>9923.8724232610766</c:v>
                </c:pt>
                <c:pt idx="1164">
                  <c:v>9877.2899018979442</c:v>
                </c:pt>
                <c:pt idx="1165">
                  <c:v>9986.2164999281449</c:v>
                </c:pt>
                <c:pt idx="1166">
                  <c:v>10106.924652872978</c:v>
                </c:pt>
                <c:pt idx="1167">
                  <c:v>10289.032981399792</c:v>
                </c:pt>
                <c:pt idx="1168">
                  <c:v>10198.547393300967</c:v>
                </c:pt>
                <c:pt idx="1169">
                  <c:v>10097.813029538409</c:v>
                </c:pt>
                <c:pt idx="1170">
                  <c:v>9880.9959071776047</c:v>
                </c:pt>
                <c:pt idx="1171">
                  <c:v>9605.5285256760999</c:v>
                </c:pt>
                <c:pt idx="1172">
                  <c:v>9262.5892395840056</c:v>
                </c:pt>
                <c:pt idx="1173">
                  <c:v>8780.9025605582483</c:v>
                </c:pt>
                <c:pt idx="1174">
                  <c:v>8565.2650893097089</c:v>
                </c:pt>
                <c:pt idx="1175">
                  <c:v>8329.0400619229804</c:v>
                </c:pt>
                <c:pt idx="1176">
                  <c:v>8231.989626788396</c:v>
                </c:pt>
                <c:pt idx="1177">
                  <c:v>7959.2944895611517</c:v>
                </c:pt>
                <c:pt idx="1178">
                  <c:v>7972.7704861926277</c:v>
                </c:pt>
                <c:pt idx="1179">
                  <c:v>8074.0829382462189</c:v>
                </c:pt>
                <c:pt idx="1180">
                  <c:v>8567.936730014675</c:v>
                </c:pt>
                <c:pt idx="1181">
                  <c:v>9118.4069113698843</c:v>
                </c:pt>
                <c:pt idx="1182">
                  <c:v>9248.4081715957182</c:v>
                </c:pt>
                <c:pt idx="1183">
                  <c:v>9262.6483927790869</c:v>
                </c:pt>
                <c:pt idx="1184">
                  <c:v>9206.2118981440472</c:v>
                </c:pt>
                <c:pt idx="1185">
                  <c:v>9159.34215096956</c:v>
                </c:pt>
                <c:pt idx="1186">
                  <c:v>9215.1181425463419</c:v>
                </c:pt>
                <c:pt idx="1187">
                  <c:v>9069.6500282016987</c:v>
                </c:pt>
                <c:pt idx="1188">
                  <c:v>9046.2102156257206</c:v>
                </c:pt>
                <c:pt idx="1189">
                  <c:v>9135.973002244551</c:v>
                </c:pt>
                <c:pt idx="1190">
                  <c:v>9202.1028997781414</c:v>
                </c:pt>
                <c:pt idx="1191">
                  <c:v>9280.8646172928802</c:v>
                </c:pt>
                <c:pt idx="1192">
                  <c:v>9120.0539835706786</c:v>
                </c:pt>
                <c:pt idx="1193">
                  <c:v>8984.3388348543886</c:v>
                </c:pt>
                <c:pt idx="1194">
                  <c:v>8796.1012404209159</c:v>
                </c:pt>
                <c:pt idx="1195">
                  <c:v>8355.2155172901003</c:v>
                </c:pt>
                <c:pt idx="1196">
                  <c:v>8292.345887445992</c:v>
                </c:pt>
                <c:pt idx="1197">
                  <c:v>7970.6630205191095</c:v>
                </c:pt>
                <c:pt idx="1198">
                  <c:v>7885.499035792328</c:v>
                </c:pt>
                <c:pt idx="1199">
                  <c:v>7643.4306250364116</c:v>
                </c:pt>
                <c:pt idx="1200">
                  <c:v>7662.1161927216917</c:v>
                </c:pt>
                <c:pt idx="1201">
                  <c:v>7548.6888845557824</c:v>
                </c:pt>
                <c:pt idx="1202">
                  <c:v>7513.1808591419622</c:v>
                </c:pt>
                <c:pt idx="1203">
                  <c:v>7593.887167641501</c:v>
                </c:pt>
                <c:pt idx="1204">
                  <c:v>7694.1081932826264</c:v>
                </c:pt>
                <c:pt idx="1205">
                  <c:v>7826.5309886291716</c:v>
                </c:pt>
                <c:pt idx="1206">
                  <c:v>8185.5347492070596</c:v>
                </c:pt>
                <c:pt idx="1207">
                  <c:v>8155.1842129514771</c:v>
                </c:pt>
                <c:pt idx="1208">
                  <c:v>8242.5278179091274</c:v>
                </c:pt>
                <c:pt idx="1209">
                  <c:v>8245.2160365795935</c:v>
                </c:pt>
                <c:pt idx="1210">
                  <c:v>8167.2635760546536</c:v>
                </c:pt>
                <c:pt idx="1211">
                  <c:v>8197.3473959977018</c:v>
                </c:pt>
                <c:pt idx="1212">
                  <c:v>8051.1352990373016</c:v>
                </c:pt>
                <c:pt idx="1213">
                  <c:v>7942.5372297601716</c:v>
                </c:pt>
                <c:pt idx="1214">
                  <c:v>7863.0414512908483</c:v>
                </c:pt>
                <c:pt idx="1215">
                  <c:v>7721.3544508936693</c:v>
                </c:pt>
                <c:pt idx="1216">
                  <c:v>7522.6788975972777</c:v>
                </c:pt>
                <c:pt idx="1217">
                  <c:v>7424.2858110710658</c:v>
                </c:pt>
                <c:pt idx="1218">
                  <c:v>7228.8543461124518</c:v>
                </c:pt>
                <c:pt idx="1219">
                  <c:v>7042.3531843558649</c:v>
                </c:pt>
                <c:pt idx="1220">
                  <c:v>6665.526849498332</c:v>
                </c:pt>
                <c:pt idx="1221">
                  <c:v>6638.8313341798939</c:v>
                </c:pt>
                <c:pt idx="1222">
                  <c:v>6367.1547043429518</c:v>
                </c:pt>
                <c:pt idx="1223">
                  <c:v>6197.4379299672546</c:v>
                </c:pt>
                <c:pt idx="1224">
                  <c:v>6142.9577826937384</c:v>
                </c:pt>
                <c:pt idx="1225">
                  <c:v>6021.2222054226131</c:v>
                </c:pt>
                <c:pt idx="1226">
                  <c:v>6000.0593021457908</c:v>
                </c:pt>
                <c:pt idx="1227">
                  <c:v>6053.4246194626603</c:v>
                </c:pt>
                <c:pt idx="1228">
                  <c:v>5969.6743540527305</c:v>
                </c:pt>
                <c:pt idx="1229">
                  <c:v>6058.7628827071467</c:v>
                </c:pt>
                <c:pt idx="1230">
                  <c:v>6103.1820778608362</c:v>
                </c:pt>
                <c:pt idx="1231">
                  <c:v>6125.1057710583591</c:v>
                </c:pt>
                <c:pt idx="1232">
                  <c:v>6190.1118288714433</c:v>
                </c:pt>
                <c:pt idx="1233">
                  <c:v>6331.438870090843</c:v>
                </c:pt>
                <c:pt idx="1234">
                  <c:v>6300.3792217358696</c:v>
                </c:pt>
                <c:pt idx="1235">
                  <c:v>6279.6935519994895</c:v>
                </c:pt>
                <c:pt idx="1236">
                  <c:v>6348.0115717047547</c:v>
                </c:pt>
                <c:pt idx="1237">
                  <c:v>6633.3109754171264</c:v>
                </c:pt>
                <c:pt idx="1238">
                  <c:v>7644.1062098933226</c:v>
                </c:pt>
                <c:pt idx="1239">
                  <c:v>7832.9457439199696</c:v>
                </c:pt>
                <c:pt idx="1240">
                  <c:v>8195.5163116561307</c:v>
                </c:pt>
                <c:pt idx="1241">
                  <c:v>8445.7407592708278</c:v>
                </c:pt>
                <c:pt idx="1242">
                  <c:v>8424.34214419007</c:v>
                </c:pt>
                <c:pt idx="1243">
                  <c:v>8129.8551457221793</c:v>
                </c:pt>
                <c:pt idx="1244">
                  <c:v>8048.5767062966806</c:v>
                </c:pt>
                <c:pt idx="1245">
                  <c:v>7820.1874869193389</c:v>
                </c:pt>
                <c:pt idx="1246">
                  <c:v>7539.1549763193825</c:v>
                </c:pt>
                <c:pt idx="1247">
                  <c:v>7447.8099495762999</c:v>
                </c:pt>
                <c:pt idx="1248">
                  <c:v>7284.3453342862958</c:v>
                </c:pt>
                <c:pt idx="1249">
                  <c:v>7156.7264303595402</c:v>
                </c:pt>
                <c:pt idx="1250">
                  <c:v>7175.6935122119376</c:v>
                </c:pt>
                <c:pt idx="1251">
                  <c:v>7508.3153791606192</c:v>
                </c:pt>
                <c:pt idx="1252">
                  <c:v>8358.824664878046</c:v>
                </c:pt>
                <c:pt idx="1253">
                  <c:v>9055.6014146630605</c:v>
                </c:pt>
                <c:pt idx="1254">
                  <c:v>9292.1714504800257</c:v>
                </c:pt>
                <c:pt idx="1255">
                  <c:v>9678.5892304720073</c:v>
                </c:pt>
                <c:pt idx="1256">
                  <c:v>9771.4847502077828</c:v>
                </c:pt>
                <c:pt idx="1257">
                  <c:v>9699.5522644236626</c:v>
                </c:pt>
                <c:pt idx="1258">
                  <c:v>9679.6817817398387</c:v>
                </c:pt>
                <c:pt idx="1259">
                  <c:v>9770.072035616111</c:v>
                </c:pt>
                <c:pt idx="1260">
                  <c:v>9749.2546704344313</c:v>
                </c:pt>
                <c:pt idx="1261">
                  <c:v>9921.0992780104298</c:v>
                </c:pt>
                <c:pt idx="1262">
                  <c:v>10103.373708359561</c:v>
                </c:pt>
                <c:pt idx="1263">
                  <c:v>9999.2856866097754</c:v>
                </c:pt>
                <c:pt idx="1264">
                  <c:v>9722.2462050637059</c:v>
                </c:pt>
                <c:pt idx="1265">
                  <c:v>9593.9365525744433</c:v>
                </c:pt>
                <c:pt idx="1266">
                  <c:v>9562.8619534719273</c:v>
                </c:pt>
                <c:pt idx="1267">
                  <c:v>9408.5966838537006</c:v>
                </c:pt>
                <c:pt idx="1268">
                  <c:v>9282.834397393246</c:v>
                </c:pt>
                <c:pt idx="1269">
                  <c:v>8939.1136480677415</c:v>
                </c:pt>
                <c:pt idx="1270">
                  <c:v>8179.1223146130114</c:v>
                </c:pt>
                <c:pt idx="1271">
                  <c:v>8151.8612045427599</c:v>
                </c:pt>
                <c:pt idx="1272">
                  <c:v>8012.6888838432014</c:v>
                </c:pt>
                <c:pt idx="1273">
                  <c:v>8073.5406760525675</c:v>
                </c:pt>
                <c:pt idx="1274">
                  <c:v>7994.4354844976806</c:v>
                </c:pt>
                <c:pt idx="1275">
                  <c:v>8395.4205619429558</c:v>
                </c:pt>
                <c:pt idx="1276">
                  <c:v>8828.3400484464892</c:v>
                </c:pt>
                <c:pt idx="1277">
                  <c:v>9076.6625239896675</c:v>
                </c:pt>
                <c:pt idx="1278">
                  <c:v>9350.9177154802201</c:v>
                </c:pt>
                <c:pt idx="1279">
                  <c:v>9270.0130447432857</c:v>
                </c:pt>
                <c:pt idx="1280">
                  <c:v>9149.2668050694137</c:v>
                </c:pt>
                <c:pt idx="1281">
                  <c:v>9126.4675484805557</c:v>
                </c:pt>
                <c:pt idx="1282">
                  <c:v>9111.3916362062755</c:v>
                </c:pt>
                <c:pt idx="1283">
                  <c:v>9026.817015626506</c:v>
                </c:pt>
                <c:pt idx="1284">
                  <c:v>8751.4681480127547</c:v>
                </c:pt>
                <c:pt idx="1285">
                  <c:v>8606.6424243707806</c:v>
                </c:pt>
                <c:pt idx="1286">
                  <c:v>8442.093666925879</c:v>
                </c:pt>
                <c:pt idx="1287">
                  <c:v>8205.1393018850122</c:v>
                </c:pt>
                <c:pt idx="1288">
                  <c:v>8014.6052114718013</c:v>
                </c:pt>
                <c:pt idx="1289">
                  <c:v>7865.4015835057444</c:v>
                </c:pt>
                <c:pt idx="1290">
                  <c:v>7918.4730296278531</c:v>
                </c:pt>
                <c:pt idx="1291">
                  <c:v>7846.4020883453077</c:v>
                </c:pt>
                <c:pt idx="1292">
                  <c:v>7565.6179742047088</c:v>
                </c:pt>
                <c:pt idx="1293">
                  <c:v>7498.7367005885335</c:v>
                </c:pt>
                <c:pt idx="1294">
                  <c:v>7209.2551337672594</c:v>
                </c:pt>
                <c:pt idx="1295">
                  <c:v>7070.2111066445868</c:v>
                </c:pt>
                <c:pt idx="1296">
                  <c:v>7023.4763639559442</c:v>
                </c:pt>
                <c:pt idx="1297">
                  <c:v>7030.2666735066923</c:v>
                </c:pt>
                <c:pt idx="1298">
                  <c:v>7000.313866451078</c:v>
                </c:pt>
                <c:pt idx="1299">
                  <c:v>7263.4687449235162</c:v>
                </c:pt>
                <c:pt idx="1300">
                  <c:v>7715.2275930511687</c:v>
                </c:pt>
                <c:pt idx="1301">
                  <c:v>8135.2999862824208</c:v>
                </c:pt>
                <c:pt idx="1302">
                  <c:v>8486.6334727850935</c:v>
                </c:pt>
                <c:pt idx="1303">
                  <c:v>8515.9306365944703</c:v>
                </c:pt>
                <c:pt idx="1304">
                  <c:v>8374.8101155441036</c:v>
                </c:pt>
                <c:pt idx="1305">
                  <c:v>8245.0611833109451</c:v>
                </c:pt>
                <c:pt idx="1306">
                  <c:v>7710.7070778163588</c:v>
                </c:pt>
                <c:pt idx="1307">
                  <c:v>7479.0607250552648</c:v>
                </c:pt>
                <c:pt idx="1308">
                  <c:v>7370.9091687540504</c:v>
                </c:pt>
                <c:pt idx="1309">
                  <c:v>7159.1450932767402</c:v>
                </c:pt>
                <c:pt idx="1310">
                  <c:v>7046.5281287327543</c:v>
                </c:pt>
                <c:pt idx="1311">
                  <c:v>6985.1633151088054</c:v>
                </c:pt>
                <c:pt idx="1312">
                  <c:v>6792.1263232165466</c:v>
                </c:pt>
                <c:pt idx="1313">
                  <c:v>6647.0621466182392</c:v>
                </c:pt>
                <c:pt idx="1314">
                  <c:v>6637.7858848654223</c:v>
                </c:pt>
                <c:pt idx="1315">
                  <c:v>6412.3783185162711</c:v>
                </c:pt>
                <c:pt idx="1316">
                  <c:v>6217.7493341129384</c:v>
                </c:pt>
                <c:pt idx="1317">
                  <c:v>5898.2139198297209</c:v>
                </c:pt>
                <c:pt idx="1318">
                  <c:v>5764.6561454182629</c:v>
                </c:pt>
                <c:pt idx="1319">
                  <c:v>5528.448307568884</c:v>
                </c:pt>
                <c:pt idx="1320">
                  <c:v>5619.2950452264085</c:v>
                </c:pt>
                <c:pt idx="1321">
                  <c:v>5432.5647395107171</c:v>
                </c:pt>
                <c:pt idx="1322">
                  <c:v>5413.0748827648258</c:v>
                </c:pt>
                <c:pt idx="1323">
                  <c:v>5638.5196042880389</c:v>
                </c:pt>
                <c:pt idx="1324">
                  <c:v>6089.0408548706573</c:v>
                </c:pt>
                <c:pt idx="1325">
                  <c:v>6409.4321530367579</c:v>
                </c:pt>
                <c:pt idx="1326">
                  <c:v>6566.3251284750986</c:v>
                </c:pt>
                <c:pt idx="1327">
                  <c:v>6395.8697991838117</c:v>
                </c:pt>
                <c:pt idx="1328">
                  <c:v>6378.8645852209747</c:v>
                </c:pt>
                <c:pt idx="1329">
                  <c:v>6357.4518766853571</c:v>
                </c:pt>
                <c:pt idx="1330">
                  <c:v>6289.1765905630982</c:v>
                </c:pt>
                <c:pt idx="1331">
                  <c:v>6255.0167752921807</c:v>
                </c:pt>
                <c:pt idx="1332">
                  <c:v>6277.5146416288035</c:v>
                </c:pt>
                <c:pt idx="1333">
                  <c:v>6212.8975598935867</c:v>
                </c:pt>
                <c:pt idx="1334">
                  <c:v>6294.4567271795377</c:v>
                </c:pt>
                <c:pt idx="1335">
                  <c:v>6402.0193561707738</c:v>
                </c:pt>
                <c:pt idx="1336">
                  <c:v>6458.4862983471912</c:v>
                </c:pt>
                <c:pt idx="1337">
                  <c:v>6372.5163329083789</c:v>
                </c:pt>
                <c:pt idx="1338">
                  <c:v>6181.0282067908547</c:v>
                </c:pt>
                <c:pt idx="1339">
                  <c:v>5996.3348241199892</c:v>
                </c:pt>
                <c:pt idx="1340">
                  <c:v>5727.0452793430377</c:v>
                </c:pt>
                <c:pt idx="1341">
                  <c:v>5572.7833242258184</c:v>
                </c:pt>
                <c:pt idx="1342">
                  <c:v>5339.3639214693776</c:v>
                </c:pt>
                <c:pt idx="1343">
                  <c:v>5211.3455557377629</c:v>
                </c:pt>
                <c:pt idx="1344">
                  <c:v>5184.463829350123</c:v>
                </c:pt>
                <c:pt idx="1345">
                  <c:v>5146.0840247053457</c:v>
                </c:pt>
                <c:pt idx="1346">
                  <c:v>5177.693039862309</c:v>
                </c:pt>
                <c:pt idx="1347">
                  <c:v>5240.535289307074</c:v>
                </c:pt>
                <c:pt idx="1348">
                  <c:v>5616.5388929364472</c:v>
                </c:pt>
                <c:pt idx="1349">
                  <c:v>5909.0628658966361</c:v>
                </c:pt>
                <c:pt idx="1350">
                  <c:v>6150.7742388224488</c:v>
                </c:pt>
                <c:pt idx="1351">
                  <c:v>6096.4854807751453</c:v>
                </c:pt>
                <c:pt idx="1352">
                  <c:v>6128.5253040705502</c:v>
                </c:pt>
                <c:pt idx="1353">
                  <c:v>6107.5197604148689</c:v>
                </c:pt>
                <c:pt idx="1354">
                  <c:v>6108.7003944104617</c:v>
                </c:pt>
                <c:pt idx="1355">
                  <c:v>6054.7671452636387</c:v>
                </c:pt>
                <c:pt idx="1356">
                  <c:v>6087.6358504526634</c:v>
                </c:pt>
                <c:pt idx="1357">
                  <c:v>6062.3472780165639</c:v>
                </c:pt>
                <c:pt idx="1358">
                  <c:v>6025.7857108821872</c:v>
                </c:pt>
                <c:pt idx="1359">
                  <c:v>6102.1117561376514</c:v>
                </c:pt>
                <c:pt idx="1360">
                  <c:v>6221.2082043001847</c:v>
                </c:pt>
                <c:pt idx="1361">
                  <c:v>6162.9361422834991</c:v>
                </c:pt>
                <c:pt idx="1362">
                  <c:v>6004.3917754181739</c:v>
                </c:pt>
                <c:pt idx="1363">
                  <c:v>5789.0698752441358</c:v>
                </c:pt>
                <c:pt idx="1364">
                  <c:v>5690.7569701558041</c:v>
                </c:pt>
                <c:pt idx="1365">
                  <c:v>5761.4349145783726</c:v>
                </c:pt>
                <c:pt idx="1366">
                  <c:v>5645.4677375992787</c:v>
                </c:pt>
                <c:pt idx="1367">
                  <c:v>5611.9101677074623</c:v>
                </c:pt>
                <c:pt idx="1368">
                  <c:v>5703.2277174010069</c:v>
                </c:pt>
                <c:pt idx="1369">
                  <c:v>5680.0592734519942</c:v>
                </c:pt>
                <c:pt idx="1370">
                  <c:v>5774.9699278933549</c:v>
                </c:pt>
                <c:pt idx="1371">
                  <c:v>5889.8103984088966</c:v>
                </c:pt>
                <c:pt idx="1372">
                  <c:v>6106.0784821415336</c:v>
                </c:pt>
                <c:pt idx="1373">
                  <c:v>6250.3639694216081</c:v>
                </c:pt>
                <c:pt idx="1374">
                  <c:v>6466.7077624729745</c:v>
                </c:pt>
                <c:pt idx="1375">
                  <c:v>6415.3073982072292</c:v>
                </c:pt>
                <c:pt idx="1376">
                  <c:v>6285.8087572140676</c:v>
                </c:pt>
                <c:pt idx="1377">
                  <c:v>6018.9768794411311</c:v>
                </c:pt>
                <c:pt idx="1378">
                  <c:v>5817.856616819292</c:v>
                </c:pt>
                <c:pt idx="1379">
                  <c:v>5680.2778339418201</c:v>
                </c:pt>
                <c:pt idx="1380">
                  <c:v>5584.6317643510629</c:v>
                </c:pt>
                <c:pt idx="1381">
                  <c:v>5512.1614830319813</c:v>
                </c:pt>
                <c:pt idx="1382">
                  <c:v>5541.0187847093102</c:v>
                </c:pt>
                <c:pt idx="1383">
                  <c:v>5927.0487626229569</c:v>
                </c:pt>
                <c:pt idx="1384">
                  <c:v>6124.1533298092245</c:v>
                </c:pt>
                <c:pt idx="1385">
                  <c:v>6146.0941688603943</c:v>
                </c:pt>
                <c:pt idx="1386">
                  <c:v>6140.8746870663444</c:v>
                </c:pt>
                <c:pt idx="1387">
                  <c:v>6199.2724926237197</c:v>
                </c:pt>
                <c:pt idx="1388">
                  <c:v>6230.3888588073014</c:v>
                </c:pt>
                <c:pt idx="1389">
                  <c:v>6024.6676210291625</c:v>
                </c:pt>
                <c:pt idx="1390">
                  <c:v>5981.4963655373231</c:v>
                </c:pt>
                <c:pt idx="1391">
                  <c:v>5884.709326753803</c:v>
                </c:pt>
                <c:pt idx="1392">
                  <c:v>5795.4116896709183</c:v>
                </c:pt>
                <c:pt idx="1393">
                  <c:v>5697.1203861739968</c:v>
                </c:pt>
                <c:pt idx="1394">
                  <c:v>5558.1428784109175</c:v>
                </c:pt>
                <c:pt idx="1395">
                  <c:v>5488.9643661920445</c:v>
                </c:pt>
                <c:pt idx="1396">
                  <c:v>5581.9483836507661</c:v>
                </c:pt>
                <c:pt idx="1397">
                  <c:v>5620.2222045321087</c:v>
                </c:pt>
                <c:pt idx="1398">
                  <c:v>5550.9154970246836</c:v>
                </c:pt>
                <c:pt idx="1399">
                  <c:v>5348.0107207115925</c:v>
                </c:pt>
                <c:pt idx="1400">
                  <c:v>5169.3769131509162</c:v>
                </c:pt>
                <c:pt idx="1401">
                  <c:v>5049.2653441771999</c:v>
                </c:pt>
                <c:pt idx="1402">
                  <c:v>4935.4002990914196</c:v>
                </c:pt>
                <c:pt idx="1403">
                  <c:v>4651.6944419378733</c:v>
                </c:pt>
                <c:pt idx="1404">
                  <c:v>4591.636712434115</c:v>
                </c:pt>
                <c:pt idx="1405">
                  <c:v>4597.0606716380098</c:v>
                </c:pt>
                <c:pt idx="1406">
                  <c:v>4638.6337752165764</c:v>
                </c:pt>
                <c:pt idx="1407">
                  <c:v>4952.5715509891561</c:v>
                </c:pt>
                <c:pt idx="1408">
                  <c:v>5309.4152578130452</c:v>
                </c:pt>
                <c:pt idx="1409">
                  <c:v>5477.668306498289</c:v>
                </c:pt>
                <c:pt idx="1410">
                  <c:v>5779.8745866963263</c:v>
                </c:pt>
                <c:pt idx="1411">
                  <c:v>5686.2059309331335</c:v>
                </c:pt>
                <c:pt idx="1412">
                  <c:v>5524.5194280336718</c:v>
                </c:pt>
                <c:pt idx="1413">
                  <c:v>5444.7433066665353</c:v>
                </c:pt>
                <c:pt idx="1414">
                  <c:v>5443.244638381605</c:v>
                </c:pt>
                <c:pt idx="1415">
                  <c:v>5415.4331294818667</c:v>
                </c:pt>
                <c:pt idx="1416">
                  <c:v>5364.6009405827235</c:v>
                </c:pt>
                <c:pt idx="1417">
                  <c:v>5345.5525715487001</c:v>
                </c:pt>
                <c:pt idx="1418">
                  <c:v>5436.5026785000009</c:v>
                </c:pt>
                <c:pt idx="1419">
                  <c:v>5567.8151602387998</c:v>
                </c:pt>
                <c:pt idx="1420">
                  <c:v>6079.5528472857695</c:v>
                </c:pt>
                <c:pt idx="1421">
                  <c:v>6581.0691319697462</c:v>
                </c:pt>
                <c:pt idx="1422">
                  <c:v>6798.739599098164</c:v>
                </c:pt>
                <c:pt idx="1423">
                  <c:v>6480.0065889237467</c:v>
                </c:pt>
                <c:pt idx="1424">
                  <c:v>6144.7203054625743</c:v>
                </c:pt>
                <c:pt idx="1425">
                  <c:v>5679.8368851776431</c:v>
                </c:pt>
                <c:pt idx="1426">
                  <c:v>5588.5386709833856</c:v>
                </c:pt>
                <c:pt idx="1427">
                  <c:v>5558.0645699118268</c:v>
                </c:pt>
                <c:pt idx="1428">
                  <c:v>5522.3383280173457</c:v>
                </c:pt>
                <c:pt idx="1429">
                  <c:v>5325.6143103225286</c:v>
                </c:pt>
                <c:pt idx="1430">
                  <c:v>5258.1770720269897</c:v>
                </c:pt>
                <c:pt idx="1431">
                  <c:v>5604.2046463439365</c:v>
                </c:pt>
                <c:pt idx="1432">
                  <c:v>5696.879847320818</c:v>
                </c:pt>
                <c:pt idx="1433">
                  <c:v>5771.2790917797547</c:v>
                </c:pt>
                <c:pt idx="1434">
                  <c:v>5818.2818449106508</c:v>
                </c:pt>
                <c:pt idx="1435">
                  <c:v>5770.8840655089443</c:v>
                </c:pt>
                <c:pt idx="1436">
                  <c:v>5592.2087791796475</c:v>
                </c:pt>
                <c:pt idx="1437">
                  <c:v>5352.6859428746457</c:v>
                </c:pt>
                <c:pt idx="1438">
                  <c:v>5311.0902318873959</c:v>
                </c:pt>
                <c:pt idx="1439">
                  <c:v>5298.1769752777072</c:v>
                </c:pt>
                <c:pt idx="1440">
                  <c:v>5196.4982506590795</c:v>
                </c:pt>
                <c:pt idx="1441">
                  <c:v>4936.1218779737601</c:v>
                </c:pt>
                <c:pt idx="1442">
                  <c:v>5018.3590485556588</c:v>
                </c:pt>
                <c:pt idx="1443">
                  <c:v>5285.0037569481465</c:v>
                </c:pt>
                <c:pt idx="1444">
                  <c:v>5937.2959547524379</c:v>
                </c:pt>
                <c:pt idx="1445">
                  <c:v>6332.8805906616772</c:v>
                </c:pt>
                <c:pt idx="1446">
                  <c:v>6484.6216739162965</c:v>
                </c:pt>
                <c:pt idx="1447">
                  <c:v>6281.4230498884372</c:v>
                </c:pt>
                <c:pt idx="1448">
                  <c:v>5802.4436083255814</c:v>
                </c:pt>
                <c:pt idx="1449">
                  <c:v>5602.8964504734904</c:v>
                </c:pt>
                <c:pt idx="1450">
                  <c:v>5420.5320557210689</c:v>
                </c:pt>
                <c:pt idx="1451">
                  <c:v>5273.0976062821319</c:v>
                </c:pt>
                <c:pt idx="1452">
                  <c:v>5146.7648707183043</c:v>
                </c:pt>
                <c:pt idx="1453">
                  <c:v>5227.2233271666437</c:v>
                </c:pt>
                <c:pt idx="1454">
                  <c:v>5246.2343384434307</c:v>
                </c:pt>
                <c:pt idx="1455">
                  <c:v>5483.4024423853416</c:v>
                </c:pt>
                <c:pt idx="1456">
                  <c:v>5828.0205478097932</c:v>
                </c:pt>
                <c:pt idx="1457">
                  <c:v>6077.1965646972503</c:v>
                </c:pt>
                <c:pt idx="1458">
                  <c:v>6209.9255882661973</c:v>
                </c:pt>
                <c:pt idx="1459">
                  <c:v>6260.3751548821565</c:v>
                </c:pt>
                <c:pt idx="1460">
                  <c:v>6263.364086707451</c:v>
                </c:pt>
                <c:pt idx="1461">
                  <c:v>6099.9497622811687</c:v>
                </c:pt>
                <c:pt idx="1462">
                  <c:v>5986.2072379708488</c:v>
                </c:pt>
                <c:pt idx="1463">
                  <c:v>5950.988868274394</c:v>
                </c:pt>
                <c:pt idx="1464">
                  <c:v>5928.4488471638379</c:v>
                </c:pt>
                <c:pt idx="1465">
                  <c:v>5909.6734548631157</c:v>
                </c:pt>
                <c:pt idx="1466">
                  <c:v>5894.1376733205552</c:v>
                </c:pt>
                <c:pt idx="1467">
                  <c:v>6186.4023234350352</c:v>
                </c:pt>
                <c:pt idx="1468">
                  <c:v>6725.9646403281549</c:v>
                </c:pt>
                <c:pt idx="1469">
                  <c:v>7120.8746469614971</c:v>
                </c:pt>
                <c:pt idx="1470">
                  <c:v>7202.8560827678884</c:v>
                </c:pt>
                <c:pt idx="1471">
                  <c:v>6607.7583568348709</c:v>
                </c:pt>
                <c:pt idx="1472">
                  <c:v>6025.8440668496769</c:v>
                </c:pt>
                <c:pt idx="1473">
                  <c:v>5644.2050601479395</c:v>
                </c:pt>
                <c:pt idx="1474">
                  <c:v>5493.6156977376222</c:v>
                </c:pt>
                <c:pt idx="1475">
                  <c:v>5231.9505662457541</c:v>
                </c:pt>
                <c:pt idx="1476">
                  <c:v>5087.4927341960793</c:v>
                </c:pt>
                <c:pt idx="1477">
                  <c:v>5004.5985295880319</c:v>
                </c:pt>
                <c:pt idx="1478">
                  <c:v>5208.7923169810583</c:v>
                </c:pt>
                <c:pt idx="1479">
                  <c:v>5365.0364845806762</c:v>
                </c:pt>
                <c:pt idx="1480">
                  <c:v>5581.1500803496356</c:v>
                </c:pt>
                <c:pt idx="1481">
                  <c:v>5792.5527168637082</c:v>
                </c:pt>
                <c:pt idx="1482">
                  <c:v>6042.9270105025334</c:v>
                </c:pt>
                <c:pt idx="1483">
                  <c:v>5923.1439801107199</c:v>
                </c:pt>
                <c:pt idx="1484">
                  <c:v>5893.6138456498056</c:v>
                </c:pt>
                <c:pt idx="1485">
                  <c:v>5820.2982027599346</c:v>
                </c:pt>
                <c:pt idx="1486">
                  <c:v>6077.5584951021519</c:v>
                </c:pt>
                <c:pt idx="1487">
                  <c:v>6030.2778044073702</c:v>
                </c:pt>
                <c:pt idx="1488">
                  <c:v>6176.0737977099934</c:v>
                </c:pt>
                <c:pt idx="1489">
                  <c:v>6241.0746025577255</c:v>
                </c:pt>
                <c:pt idx="1490">
                  <c:v>6368.4796092300085</c:v>
                </c:pt>
                <c:pt idx="1491">
                  <c:v>6709.3670826869184</c:v>
                </c:pt>
                <c:pt idx="1492">
                  <c:v>7163.7116565955648</c:v>
                </c:pt>
                <c:pt idx="1493">
                  <c:v>7659.6275102881518</c:v>
                </c:pt>
                <c:pt idx="1494">
                  <c:v>7826.7438265538312</c:v>
                </c:pt>
                <c:pt idx="1495">
                  <c:v>7689.0130025461249</c:v>
                </c:pt>
                <c:pt idx="1496">
                  <c:v>7474.2084266314696</c:v>
                </c:pt>
                <c:pt idx="1497">
                  <c:v>7191.5954014135523</c:v>
                </c:pt>
                <c:pt idx="1498">
                  <c:v>6958.3863842878627</c:v>
                </c:pt>
                <c:pt idx="1499">
                  <c:v>6543.5901251537116</c:v>
                </c:pt>
                <c:pt idx="1500">
                  <c:v>6475.5397227373678</c:v>
                </c:pt>
                <c:pt idx="1501">
                  <c:v>6385.1010290943132</c:v>
                </c:pt>
                <c:pt idx="1502">
                  <c:v>6856.3204811757687</c:v>
                </c:pt>
                <c:pt idx="1503">
                  <c:v>7308.6818750079819</c:v>
                </c:pt>
                <c:pt idx="1504">
                  <c:v>7223.868566671973</c:v>
                </c:pt>
                <c:pt idx="1505">
                  <c:v>7485.8852607877498</c:v>
                </c:pt>
                <c:pt idx="1506">
                  <c:v>7404.1032738508775</c:v>
                </c:pt>
                <c:pt idx="1507">
                  <c:v>7271.6103770810487</c:v>
                </c:pt>
                <c:pt idx="1508">
                  <c:v>7014.9300568895796</c:v>
                </c:pt>
                <c:pt idx="1509">
                  <c:v>7153.1811811089738</c:v>
                </c:pt>
                <c:pt idx="1510">
                  <c:v>7138.4330822671163</c:v>
                </c:pt>
                <c:pt idx="1511">
                  <c:v>7151.9493934965139</c:v>
                </c:pt>
                <c:pt idx="1512">
                  <c:v>7194.1833332215765</c:v>
                </c:pt>
                <c:pt idx="1513">
                  <c:v>7200.410073852262</c:v>
                </c:pt>
                <c:pt idx="1514">
                  <c:v>7352.8994971720676</c:v>
                </c:pt>
                <c:pt idx="1515">
                  <c:v>7558.124679193993</c:v>
                </c:pt>
                <c:pt idx="1516">
                  <c:v>8092.1226642162501</c:v>
                </c:pt>
                <c:pt idx="1517">
                  <c:v>8679.4557920371426</c:v>
                </c:pt>
                <c:pt idx="1518">
                  <c:v>8713.7143652408777</c:v>
                </c:pt>
                <c:pt idx="1519">
                  <c:v>8106.1935946669428</c:v>
                </c:pt>
                <c:pt idx="1520">
                  <c:v>7741.2939319872621</c:v>
                </c:pt>
                <c:pt idx="1521">
                  <c:v>7505.6421112376938</c:v>
                </c:pt>
                <c:pt idx="1522">
                  <c:v>7383.8514706582337</c:v>
                </c:pt>
                <c:pt idx="1523">
                  <c:v>7355.1955781566212</c:v>
                </c:pt>
                <c:pt idx="1524">
                  <c:v>7110.1385031380942</c:v>
                </c:pt>
                <c:pt idx="1525">
                  <c:v>7079.123171900379</c:v>
                </c:pt>
                <c:pt idx="1526">
                  <c:v>7321.2969695911297</c:v>
                </c:pt>
                <c:pt idx="1527">
                  <c:v>7535.4669851069766</c:v>
                </c:pt>
                <c:pt idx="1528">
                  <c:v>7699.683151214379</c:v>
                </c:pt>
                <c:pt idx="1529">
                  <c:v>7672.459559985019</c:v>
                </c:pt>
                <c:pt idx="1530">
                  <c:v>7823.1452831849228</c:v>
                </c:pt>
                <c:pt idx="1531">
                  <c:v>7765.2717967399622</c:v>
                </c:pt>
                <c:pt idx="1532">
                  <c:v>7684.084132050456</c:v>
                </c:pt>
                <c:pt idx="1533">
                  <c:v>7498.6576330850939</c:v>
                </c:pt>
                <c:pt idx="1534">
                  <c:v>7470.5285114437602</c:v>
                </c:pt>
                <c:pt idx="1535">
                  <c:v>7480.7858818761697</c:v>
                </c:pt>
                <c:pt idx="1536">
                  <c:v>7533.22074176772</c:v>
                </c:pt>
                <c:pt idx="1537">
                  <c:v>7626.412082083526</c:v>
                </c:pt>
                <c:pt idx="1538">
                  <c:v>7490.0002656628958</c:v>
                </c:pt>
                <c:pt idx="1539">
                  <c:v>7281.4634384556421</c:v>
                </c:pt>
                <c:pt idx="1540">
                  <c:v>7129.4486658773067</c:v>
                </c:pt>
                <c:pt idx="1541">
                  <c:v>6896.4156012490848</c:v>
                </c:pt>
                <c:pt idx="1542">
                  <c:v>6677.444025931125</c:v>
                </c:pt>
                <c:pt idx="1543">
                  <c:v>6371.8321369014056</c:v>
                </c:pt>
                <c:pt idx="1544">
                  <c:v>6472.9177121801067</c:v>
                </c:pt>
                <c:pt idx="1545">
                  <c:v>6537.8167831427145</c:v>
                </c:pt>
                <c:pt idx="1546">
                  <c:v>6537.6795507879879</c:v>
                </c:pt>
                <c:pt idx="1547">
                  <c:v>6602.2540190703849</c:v>
                </c:pt>
                <c:pt idx="1548">
                  <c:v>6600.1112515039295</c:v>
                </c:pt>
                <c:pt idx="1549">
                  <c:v>6425.9189834104018</c:v>
                </c:pt>
                <c:pt idx="1550">
                  <c:v>6372.0391321307134</c:v>
                </c:pt>
                <c:pt idx="1551">
                  <c:v>6339.8907111482649</c:v>
                </c:pt>
                <c:pt idx="1552">
                  <c:v>6446.1452207155371</c:v>
                </c:pt>
                <c:pt idx="1553">
                  <c:v>6485.2254536854834</c:v>
                </c:pt>
                <c:pt idx="1554">
                  <c:v>6511.8108260058634</c:v>
                </c:pt>
                <c:pt idx="1555">
                  <c:v>6379.4580883988992</c:v>
                </c:pt>
                <c:pt idx="1556">
                  <c:v>6495.0565803804284</c:v>
                </c:pt>
                <c:pt idx="1557">
                  <c:v>6610.073658648992</c:v>
                </c:pt>
                <c:pt idx="1558">
                  <c:v>6932.2905424704768</c:v>
                </c:pt>
                <c:pt idx="1559">
                  <c:v>6947.2746698231203</c:v>
                </c:pt>
                <c:pt idx="1560">
                  <c:v>7046.283783936904</c:v>
                </c:pt>
                <c:pt idx="1561">
                  <c:v>7204.9429952588825</c:v>
                </c:pt>
                <c:pt idx="1562">
                  <c:v>7327.2845255634475</c:v>
                </c:pt>
                <c:pt idx="1563">
                  <c:v>7450.6702165132283</c:v>
                </c:pt>
                <c:pt idx="1564">
                  <c:v>7571.6576830586109</c:v>
                </c:pt>
                <c:pt idx="1565">
                  <c:v>7660.4813574183554</c:v>
                </c:pt>
                <c:pt idx="1566">
                  <c:v>7503.91037455894</c:v>
                </c:pt>
                <c:pt idx="1567">
                  <c:v>7330.3636860784418</c:v>
                </c:pt>
                <c:pt idx="1568">
                  <c:v>7290.8769052608714</c:v>
                </c:pt>
                <c:pt idx="1569">
                  <c:v>7381.3859132852649</c:v>
                </c:pt>
                <c:pt idx="1570">
                  <c:v>7287.3912023587163</c:v>
                </c:pt>
                <c:pt idx="1571">
                  <c:v>7272.5315134961202</c:v>
                </c:pt>
                <c:pt idx="1572">
                  <c:v>7385.2685918435018</c:v>
                </c:pt>
                <c:pt idx="1573">
                  <c:v>7573.5776964996985</c:v>
                </c:pt>
                <c:pt idx="1574">
                  <c:v>7761.3460242081646</c:v>
                </c:pt>
                <c:pt idx="1575">
                  <c:v>7994.04008691539</c:v>
                </c:pt>
                <c:pt idx="1576">
                  <c:v>8066.8817343193432</c:v>
                </c:pt>
                <c:pt idx="1577">
                  <c:v>8302.0350803276124</c:v>
                </c:pt>
                <c:pt idx="1578">
                  <c:v>8193.2339145917176</c:v>
                </c:pt>
                <c:pt idx="1579">
                  <c:v>8134.3801767598443</c:v>
                </c:pt>
                <c:pt idx="1580">
                  <c:v>7957.882342857627</c:v>
                </c:pt>
                <c:pt idx="1581">
                  <c:v>7772.9108915717643</c:v>
                </c:pt>
                <c:pt idx="1582">
                  <c:v>7389.8578597672495</c:v>
                </c:pt>
                <c:pt idx="1583">
                  <c:v>7319.6731808043305</c:v>
                </c:pt>
                <c:pt idx="1584">
                  <c:v>7377.4398442127031</c:v>
                </c:pt>
                <c:pt idx="1585">
                  <c:v>7434.8348958153729</c:v>
                </c:pt>
                <c:pt idx="1586">
                  <c:v>7686.0811926236938</c:v>
                </c:pt>
                <c:pt idx="1587">
                  <c:v>7958.9576336020918</c:v>
                </c:pt>
                <c:pt idx="1588">
                  <c:v>8807.1172220493117</c:v>
                </c:pt>
                <c:pt idx="1589">
                  <c:v>9434.255126207825</c:v>
                </c:pt>
                <c:pt idx="1590">
                  <c:v>9600.1340578865238</c:v>
                </c:pt>
                <c:pt idx="1591">
                  <c:v>9445.0624963098799</c:v>
                </c:pt>
                <c:pt idx="1592">
                  <c:v>8894.5024138927492</c:v>
                </c:pt>
                <c:pt idx="1593">
                  <c:v>8725.3601512048554</c:v>
                </c:pt>
                <c:pt idx="1594">
                  <c:v>8402.1937420214472</c:v>
                </c:pt>
                <c:pt idx="1595">
                  <c:v>8061.7307376515455</c:v>
                </c:pt>
                <c:pt idx="1596">
                  <c:v>7768.8336731001964</c:v>
                </c:pt>
                <c:pt idx="1597">
                  <c:v>7676.2141797662762</c:v>
                </c:pt>
                <c:pt idx="1598">
                  <c:v>7693.6038703855147</c:v>
                </c:pt>
                <c:pt idx="1599">
                  <c:v>7858.8606150744399</c:v>
                </c:pt>
                <c:pt idx="1600">
                  <c:v>8129.3083895675236</c:v>
                </c:pt>
                <c:pt idx="1601">
                  <c:v>8420.3414814089883</c:v>
                </c:pt>
                <c:pt idx="1602">
                  <c:v>8581.7578606670359</c:v>
                </c:pt>
                <c:pt idx="1603">
                  <c:v>8626.10079499524</c:v>
                </c:pt>
                <c:pt idx="1604">
                  <c:v>8521.9196286685437</c:v>
                </c:pt>
                <c:pt idx="1605">
                  <c:v>8228.5016304918026</c:v>
                </c:pt>
                <c:pt idx="1606">
                  <c:v>8039.2571266913228</c:v>
                </c:pt>
                <c:pt idx="1607">
                  <c:v>7831.9339201363127</c:v>
                </c:pt>
                <c:pt idx="1608">
                  <c:v>7777.6995209976239</c:v>
                </c:pt>
                <c:pt idx="1609">
                  <c:v>7606.3362313883508</c:v>
                </c:pt>
                <c:pt idx="1610">
                  <c:v>7673.88454969739</c:v>
                </c:pt>
                <c:pt idx="1611">
                  <c:v>7796.2876740239717</c:v>
                </c:pt>
                <c:pt idx="1612">
                  <c:v>8081.0974216427012</c:v>
                </c:pt>
                <c:pt idx="1613">
                  <c:v>8437.5726711703301</c:v>
                </c:pt>
                <c:pt idx="1614">
                  <c:v>8355.7303843411573</c:v>
                </c:pt>
                <c:pt idx="1615">
                  <c:v>8263.5896534773055</c:v>
                </c:pt>
                <c:pt idx="1616">
                  <c:v>8306.6857893804154</c:v>
                </c:pt>
                <c:pt idx="1617">
                  <c:v>8285.5140619954745</c:v>
                </c:pt>
                <c:pt idx="1618">
                  <c:v>8456.6867432247345</c:v>
                </c:pt>
                <c:pt idx="1619">
                  <c:v>8640.8989171381327</c:v>
                </c:pt>
                <c:pt idx="1620">
                  <c:v>8867.0777793386897</c:v>
                </c:pt>
                <c:pt idx="1621">
                  <c:v>9096.3419232332035</c:v>
                </c:pt>
                <c:pt idx="1622">
                  <c:v>9355.4880410580117</c:v>
                </c:pt>
                <c:pt idx="1623">
                  <c:v>9512.1619208811571</c:v>
                </c:pt>
                <c:pt idx="1624">
                  <c:v>9555.358026939859</c:v>
                </c:pt>
                <c:pt idx="1625">
                  <c:v>9703.0581055131588</c:v>
                </c:pt>
                <c:pt idx="1626">
                  <c:v>10085.672722208305</c:v>
                </c:pt>
                <c:pt idx="1627">
                  <c:v>9832.3458470460064</c:v>
                </c:pt>
                <c:pt idx="1628">
                  <c:v>9583.0848871969811</c:v>
                </c:pt>
                <c:pt idx="1629">
                  <c:v>9485.1515388879379</c:v>
                </c:pt>
                <c:pt idx="1630">
                  <c:v>9386.927912368752</c:v>
                </c:pt>
                <c:pt idx="1631">
                  <c:v>9446.2933010390079</c:v>
                </c:pt>
                <c:pt idx="1632">
                  <c:v>9491.0487842636121</c:v>
                </c:pt>
                <c:pt idx="1633">
                  <c:v>9593.6812759317763</c:v>
                </c:pt>
                <c:pt idx="1634">
                  <c:v>9609.8582523356217</c:v>
                </c:pt>
                <c:pt idx="1635">
                  <c:v>9928.5422712364998</c:v>
                </c:pt>
                <c:pt idx="1636">
                  <c:v>10541.600262482776</c:v>
                </c:pt>
                <c:pt idx="1637">
                  <c:v>10967.237386198685</c:v>
                </c:pt>
                <c:pt idx="1638">
                  <c:v>10936.16879906587</c:v>
                </c:pt>
                <c:pt idx="1639">
                  <c:v>10551.651593266892</c:v>
                </c:pt>
                <c:pt idx="1640">
                  <c:v>9986.3607926614586</c:v>
                </c:pt>
                <c:pt idx="1641">
                  <c:v>9511.8858617165242</c:v>
                </c:pt>
                <c:pt idx="1642">
                  <c:v>9453.8784301155283</c:v>
                </c:pt>
                <c:pt idx="1643">
                  <c:v>9300.1284480040067</c:v>
                </c:pt>
                <c:pt idx="1644">
                  <c:v>9134.1633993642045</c:v>
                </c:pt>
                <c:pt idx="1645">
                  <c:v>9040.4679054256394</c:v>
                </c:pt>
                <c:pt idx="1646">
                  <c:v>8990.8274046832757</c:v>
                </c:pt>
                <c:pt idx="1647">
                  <c:v>9237.0154234845995</c:v>
                </c:pt>
                <c:pt idx="1648">
                  <c:v>9512.0327044860333</c:v>
                </c:pt>
                <c:pt idx="1649">
                  <c:v>9441.043453610524</c:v>
                </c:pt>
                <c:pt idx="1650">
                  <c:v>9474.7150379686263</c:v>
                </c:pt>
                <c:pt idx="1651">
                  <c:v>9284.9161060630522</c:v>
                </c:pt>
                <c:pt idx="1652">
                  <c:v>8896.2676668930562</c:v>
                </c:pt>
                <c:pt idx="1653">
                  <c:v>8725.0087212701947</c:v>
                </c:pt>
                <c:pt idx="1654">
                  <c:v>8418.7649966126774</c:v>
                </c:pt>
                <c:pt idx="1655">
                  <c:v>8261.345894648688</c:v>
                </c:pt>
                <c:pt idx="1656">
                  <c:v>8113.8648843882665</c:v>
                </c:pt>
                <c:pt idx="1657">
                  <c:v>7934.8171835652129</c:v>
                </c:pt>
                <c:pt idx="1658">
                  <c:v>7976.1977785226627</c:v>
                </c:pt>
                <c:pt idx="1659">
                  <c:v>7985.0302411496459</c:v>
                </c:pt>
                <c:pt idx="1660">
                  <c:v>8418.7081804957379</c:v>
                </c:pt>
                <c:pt idx="1661">
                  <c:v>8836.5317257469087</c:v>
                </c:pt>
                <c:pt idx="1662">
                  <c:v>8569.8299544245547</c:v>
                </c:pt>
                <c:pt idx="1663">
                  <c:v>8523.8590813577139</c:v>
                </c:pt>
                <c:pt idx="1664">
                  <c:v>8463.8425324812997</c:v>
                </c:pt>
                <c:pt idx="1665">
                  <c:v>7973.1881242404916</c:v>
                </c:pt>
                <c:pt idx="1666">
                  <c:v>7668.5288621156469</c:v>
                </c:pt>
                <c:pt idx="1667">
                  <c:v>7833.8551676420248</c:v>
                </c:pt>
                <c:pt idx="1668">
                  <c:v>7543.1897396915565</c:v>
                </c:pt>
                <c:pt idx="1669">
                  <c:v>7549.301455670311</c:v>
                </c:pt>
                <c:pt idx="1670">
                  <c:v>7570.4519800776388</c:v>
                </c:pt>
                <c:pt idx="1671">
                  <c:v>7791.5543427063531</c:v>
                </c:pt>
                <c:pt idx="1672">
                  <c:v>7840.7787234095513</c:v>
                </c:pt>
                <c:pt idx="1673">
                  <c:v>7853.2257121804823</c:v>
                </c:pt>
                <c:pt idx="1674">
                  <c:v>7877.863965321716</c:v>
                </c:pt>
                <c:pt idx="1675">
                  <c:v>7776.0054997364296</c:v>
                </c:pt>
                <c:pt idx="1676">
                  <c:v>7464.4028330612546</c:v>
                </c:pt>
                <c:pt idx="1677">
                  <c:v>7357.7244222951203</c:v>
                </c:pt>
                <c:pt idx="1678">
                  <c:v>7009.9278796788776</c:v>
                </c:pt>
                <c:pt idx="1679">
                  <c:v>6850.6928516184516</c:v>
                </c:pt>
                <c:pt idx="1680">
                  <c:v>6990.8610788521846</c:v>
                </c:pt>
                <c:pt idx="1681">
                  <c:v>6937.7297860562003</c:v>
                </c:pt>
                <c:pt idx="1682">
                  <c:v>6838.1400117733374</c:v>
                </c:pt>
                <c:pt idx="1683">
                  <c:v>6992.8759623764745</c:v>
                </c:pt>
                <c:pt idx="1684">
                  <c:v>7280.7288478361515</c:v>
                </c:pt>
                <c:pt idx="1685">
                  <c:v>7606.2848429715777</c:v>
                </c:pt>
                <c:pt idx="1686">
                  <c:v>7791.422368777442</c:v>
                </c:pt>
                <c:pt idx="1687">
                  <c:v>7811.1427760976931</c:v>
                </c:pt>
                <c:pt idx="1688">
                  <c:v>7747.6785455226072</c:v>
                </c:pt>
                <c:pt idx="1689">
                  <c:v>7739.1183688803621</c:v>
                </c:pt>
                <c:pt idx="1690">
                  <c:v>7753.0287125763134</c:v>
                </c:pt>
                <c:pt idx="1691">
                  <c:v>7538.5783732742711</c:v>
                </c:pt>
                <c:pt idx="1692">
                  <c:v>7576.9096109234779</c:v>
                </c:pt>
                <c:pt idx="1693">
                  <c:v>7687.8986694916048</c:v>
                </c:pt>
                <c:pt idx="1694">
                  <c:v>7548.3944345519521</c:v>
                </c:pt>
                <c:pt idx="1695">
                  <c:v>7373.18356624025</c:v>
                </c:pt>
                <c:pt idx="1696">
                  <c:v>7401.8861839232814</c:v>
                </c:pt>
                <c:pt idx="1697">
                  <c:v>7361.8469571486667</c:v>
                </c:pt>
                <c:pt idx="1698">
                  <c:v>7135.860499820431</c:v>
                </c:pt>
                <c:pt idx="1699">
                  <c:v>6929.7464308775843</c:v>
                </c:pt>
                <c:pt idx="1700">
                  <c:v>6711.8865512105403</c:v>
                </c:pt>
                <c:pt idx="1701">
                  <c:v>6598.4778796046621</c:v>
                </c:pt>
                <c:pt idx="1702">
                  <c:v>6379.7745276870091</c:v>
                </c:pt>
                <c:pt idx="1703">
                  <c:v>6268.4156647264135</c:v>
                </c:pt>
                <c:pt idx="1704">
                  <c:v>6300.1793906339435</c:v>
                </c:pt>
                <c:pt idx="1705">
                  <c:v>6202.194135164149</c:v>
                </c:pt>
                <c:pt idx="1706">
                  <c:v>5940.5959909935473</c:v>
                </c:pt>
                <c:pt idx="1707">
                  <c:v>5766.1100701237765</c:v>
                </c:pt>
                <c:pt idx="1708">
                  <c:v>5891.7180493618762</c:v>
                </c:pt>
                <c:pt idx="1709">
                  <c:v>6004.7439315944057</c:v>
                </c:pt>
                <c:pt idx="1710">
                  <c:v>5987.5543833234797</c:v>
                </c:pt>
                <c:pt idx="1711">
                  <c:v>6007.199348887686</c:v>
                </c:pt>
                <c:pt idx="1712">
                  <c:v>6039.4883276467954</c:v>
                </c:pt>
                <c:pt idx="1713">
                  <c:v>6070.192106710736</c:v>
                </c:pt>
                <c:pt idx="1714">
                  <c:v>6098.8766448009565</c:v>
                </c:pt>
                <c:pt idx="1715">
                  <c:v>6289.0258053393418</c:v>
                </c:pt>
                <c:pt idx="1716">
                  <c:v>6064.9674320164249</c:v>
                </c:pt>
                <c:pt idx="1717">
                  <c:v>5949.5273043812194</c:v>
                </c:pt>
                <c:pt idx="1718">
                  <c:v>6089.6904697658019</c:v>
                </c:pt>
                <c:pt idx="1719">
                  <c:v>6295.9506060924186</c:v>
                </c:pt>
                <c:pt idx="1720">
                  <c:v>6438.7831297084576</c:v>
                </c:pt>
                <c:pt idx="1721">
                  <c:v>6673.7292511479754</c:v>
                </c:pt>
                <c:pt idx="1722">
                  <c:v>6535.0056712932146</c:v>
                </c:pt>
                <c:pt idx="1723">
                  <c:v>6277.6965897145856</c:v>
                </c:pt>
                <c:pt idx="1724">
                  <c:v>6042.1379681465569</c:v>
                </c:pt>
                <c:pt idx="1725">
                  <c:v>5868.1451434620849</c:v>
                </c:pt>
                <c:pt idx="1726">
                  <c:v>5761.8847966599251</c:v>
                </c:pt>
                <c:pt idx="1727">
                  <c:v>5723.5999183411186</c:v>
                </c:pt>
                <c:pt idx="1728">
                  <c:v>5810.4085672045367</c:v>
                </c:pt>
                <c:pt idx="1729">
                  <c:v>5633.769678623531</c:v>
                </c:pt>
                <c:pt idx="1730">
                  <c:v>5568.464523952649</c:v>
                </c:pt>
                <c:pt idx="1731">
                  <c:v>5682.0859406553182</c:v>
                </c:pt>
                <c:pt idx="1732">
                  <c:v>5745.9413151120607</c:v>
                </c:pt>
                <c:pt idx="1733">
                  <c:v>5832.6122292581613</c:v>
                </c:pt>
                <c:pt idx="1734">
                  <c:v>5900.252321567913</c:v>
                </c:pt>
                <c:pt idx="1735">
                  <c:v>6033.2441899811665</c:v>
                </c:pt>
                <c:pt idx="1736">
                  <c:v>6371.3131690426753</c:v>
                </c:pt>
                <c:pt idx="1737">
                  <c:v>6746.5988615826682</c:v>
                </c:pt>
                <c:pt idx="1738">
                  <c:v>6685.3027460430276</c:v>
                </c:pt>
                <c:pt idx="1739">
                  <c:v>6834.2570601919542</c:v>
                </c:pt>
                <c:pt idx="1740">
                  <c:v>6742.3341635763554</c:v>
                </c:pt>
                <c:pt idx="1741">
                  <c:v>6537.6107598758099</c:v>
                </c:pt>
                <c:pt idx="1742">
                  <c:v>6547.3603290962119</c:v>
                </c:pt>
                <c:pt idx="1743">
                  <c:v>6597.6979343799521</c:v>
                </c:pt>
                <c:pt idx="1744">
                  <c:v>6710.5639560993095</c:v>
                </c:pt>
                <c:pt idx="1745">
                  <c:v>6728.3724205427061</c:v>
                </c:pt>
                <c:pt idx="1746">
                  <c:v>6748.0659241620288</c:v>
                </c:pt>
                <c:pt idx="1747">
                  <c:v>6644.2118013424806</c:v>
                </c:pt>
                <c:pt idx="1748">
                  <c:v>6353.0378240965802</c:v>
                </c:pt>
                <c:pt idx="1749">
                  <c:v>6262.8429128216922</c:v>
                </c:pt>
                <c:pt idx="1750">
                  <c:v>6031.250307397363</c:v>
                </c:pt>
                <c:pt idx="1751">
                  <c:v>5923.04010026366</c:v>
                </c:pt>
                <c:pt idx="1752">
                  <c:v>5777.307748656659</c:v>
                </c:pt>
                <c:pt idx="1753">
                  <c:v>5772.0116347256417</c:v>
                </c:pt>
                <c:pt idx="1754">
                  <c:v>5805.6647517980646</c:v>
                </c:pt>
                <c:pt idx="1755">
                  <c:v>6004.7599416717585</c:v>
                </c:pt>
                <c:pt idx="1756">
                  <c:v>6406.4882263470527</c:v>
                </c:pt>
                <c:pt idx="1757">
                  <c:v>6601.4584514611897</c:v>
                </c:pt>
                <c:pt idx="1758">
                  <c:v>6817.2264004717936</c:v>
                </c:pt>
                <c:pt idx="1759">
                  <c:v>6662.6182574643417</c:v>
                </c:pt>
                <c:pt idx="1760">
                  <c:v>6476.8396569273782</c:v>
                </c:pt>
                <c:pt idx="1761">
                  <c:v>6537.127061147241</c:v>
                </c:pt>
                <c:pt idx="1762">
                  <c:v>6611.5416986512173</c:v>
                </c:pt>
                <c:pt idx="1763">
                  <c:v>6600.5746809940483</c:v>
                </c:pt>
                <c:pt idx="1764">
                  <c:v>6643.7414752876621</c:v>
                </c:pt>
                <c:pt idx="1765">
                  <c:v>6597.8037963750612</c:v>
                </c:pt>
                <c:pt idx="1766">
                  <c:v>6642.372089469457</c:v>
                </c:pt>
                <c:pt idx="1767">
                  <c:v>6635.3630665359215</c:v>
                </c:pt>
                <c:pt idx="1768">
                  <c:v>6588.8208379288571</c:v>
                </c:pt>
                <c:pt idx="1769">
                  <c:v>6689.1388577732714</c:v>
                </c:pt>
                <c:pt idx="1770">
                  <c:v>6685.3668191152201</c:v>
                </c:pt>
                <c:pt idx="1771">
                  <c:v>6541.2287807160419</c:v>
                </c:pt>
                <c:pt idx="1772">
                  <c:v>6361.4204592466403</c:v>
                </c:pt>
                <c:pt idx="1773">
                  <c:v>6270.8049721948237</c:v>
                </c:pt>
                <c:pt idx="1774">
                  <c:v>6222.4976707827291</c:v>
                </c:pt>
                <c:pt idx="1775">
                  <c:v>5971.9350512374021</c:v>
                </c:pt>
                <c:pt idx="1776">
                  <c:v>6243.9103356346441</c:v>
                </c:pt>
                <c:pt idx="1777">
                  <c:v>6250.7976339282168</c:v>
                </c:pt>
                <c:pt idx="1778">
                  <c:v>6191.1774600569588</c:v>
                </c:pt>
                <c:pt idx="1779">
                  <c:v>6311.7094803090476</c:v>
                </c:pt>
                <c:pt idx="1780">
                  <c:v>6513.3349121997544</c:v>
                </c:pt>
                <c:pt idx="1781">
                  <c:v>6994.5395579381411</c:v>
                </c:pt>
                <c:pt idx="1782">
                  <c:v>7139.7393014499767</c:v>
                </c:pt>
                <c:pt idx="1783">
                  <c:v>6928.5285947479488</c:v>
                </c:pt>
                <c:pt idx="1784">
                  <c:v>6879.148017502217</c:v>
                </c:pt>
                <c:pt idx="1785">
                  <c:v>6843.8816667178653</c:v>
                </c:pt>
                <c:pt idx="1786">
                  <c:v>6561.5436085719921</c:v>
                </c:pt>
                <c:pt idx="1787">
                  <c:v>6475.3371450225814</c:v>
                </c:pt>
                <c:pt idx="1788">
                  <c:v>6397.9390907608822</c:v>
                </c:pt>
                <c:pt idx="1789">
                  <c:v>6426.3698101520431</c:v>
                </c:pt>
                <c:pt idx="1790">
                  <c:v>6566.2896463868838</c:v>
                </c:pt>
                <c:pt idx="1791">
                  <c:v>6457.3024099156819</c:v>
                </c:pt>
                <c:pt idx="1792">
                  <c:v>6764.3848944442861</c:v>
                </c:pt>
                <c:pt idx="1793">
                  <c:v>6750.6055254125286</c:v>
                </c:pt>
                <c:pt idx="1794">
                  <c:v>7049.357565895898</c:v>
                </c:pt>
                <c:pt idx="1795">
                  <c:v>6929.4045458321534</c:v>
                </c:pt>
                <c:pt idx="1796">
                  <c:v>6493.4956087593455</c:v>
                </c:pt>
                <c:pt idx="1797">
                  <c:v>6396.3689455620524</c:v>
                </c:pt>
                <c:pt idx="1798">
                  <c:v>6187.8969449708775</c:v>
                </c:pt>
                <c:pt idx="1799">
                  <c:v>6367.3361664475315</c:v>
                </c:pt>
                <c:pt idx="1800">
                  <c:v>6421.3784337370462</c:v>
                </c:pt>
                <c:pt idx="1801">
                  <c:v>6359.3150630885784</c:v>
                </c:pt>
                <c:pt idx="1802">
                  <c:v>6300.6778216915391</c:v>
                </c:pt>
                <c:pt idx="1803">
                  <c:v>6402.2308890447903</c:v>
                </c:pt>
                <c:pt idx="1804">
                  <c:v>6681.1432875390483</c:v>
                </c:pt>
                <c:pt idx="1805">
                  <c:v>6892.1648765674481</c:v>
                </c:pt>
                <c:pt idx="1806">
                  <c:v>6890.665804754306</c:v>
                </c:pt>
                <c:pt idx="1807">
                  <c:v>6697.1738197871773</c:v>
                </c:pt>
                <c:pt idx="1808">
                  <c:v>6616.5110147959185</c:v>
                </c:pt>
                <c:pt idx="1809">
                  <c:v>6718.1232462651751</c:v>
                </c:pt>
                <c:pt idx="1810">
                  <c:v>6508.8508946992661</c:v>
                </c:pt>
                <c:pt idx="1811">
                  <c:v>6472.9793553462896</c:v>
                </c:pt>
                <c:pt idx="1812">
                  <c:v>6341.4873723551555</c:v>
                </c:pt>
                <c:pt idx="1813">
                  <c:v>6381.7202326062525</c:v>
                </c:pt>
                <c:pt idx="1814">
                  <c:v>6545.4151811441907</c:v>
                </c:pt>
                <c:pt idx="1815">
                  <c:v>6780.5998374469855</c:v>
                </c:pt>
                <c:pt idx="1816">
                  <c:v>6988.7606735572544</c:v>
                </c:pt>
                <c:pt idx="1817">
                  <c:v>6964.1970540235488</c:v>
                </c:pt>
                <c:pt idx="1818">
                  <c:v>6894.2986835142101</c:v>
                </c:pt>
                <c:pt idx="1819">
                  <c:v>6899.8341513779469</c:v>
                </c:pt>
                <c:pt idx="1820">
                  <c:v>6894.457370027847</c:v>
                </c:pt>
                <c:pt idx="1821">
                  <c:v>6762.6945589955794</c:v>
                </c:pt>
                <c:pt idx="1822">
                  <c:v>6720.4956699821596</c:v>
                </c:pt>
                <c:pt idx="1823">
                  <c:v>6675.3956806899096</c:v>
                </c:pt>
                <c:pt idx="1824">
                  <c:v>6688.2289426095504</c:v>
                </c:pt>
                <c:pt idx="1825">
                  <c:v>6723.1672724638856</c:v>
                </c:pt>
                <c:pt idx="1826">
                  <c:v>6850.1718797698204</c:v>
                </c:pt>
                <c:pt idx="1827">
                  <c:v>7051.976906286779</c:v>
                </c:pt>
                <c:pt idx="1828">
                  <c:v>7458.0191205022966</c:v>
                </c:pt>
                <c:pt idx="1829">
                  <c:v>7803.1143830207084</c:v>
                </c:pt>
                <c:pt idx="1830">
                  <c:v>7654.0999983189276</c:v>
                </c:pt>
                <c:pt idx="1831">
                  <c:v>7400.4256465971403</c:v>
                </c:pt>
                <c:pt idx="1832">
                  <c:v>7309.6219701503978</c:v>
                </c:pt>
                <c:pt idx="1833">
                  <c:v>7285.4443671236431</c:v>
                </c:pt>
                <c:pt idx="1834">
                  <c:v>7324.3493410749161</c:v>
                </c:pt>
                <c:pt idx="1835">
                  <c:v>7200.9844763308056</c:v>
                </c:pt>
                <c:pt idx="1836">
                  <c:v>7107.6409747545822</c:v>
                </c:pt>
                <c:pt idx="1837">
                  <c:v>7051.3624403916101</c:v>
                </c:pt>
                <c:pt idx="1838">
                  <c:v>7179.5066790768869</c:v>
                </c:pt>
                <c:pt idx="1839">
                  <c:v>7274.5264881725134</c:v>
                </c:pt>
                <c:pt idx="1840">
                  <c:v>7707.0290191860486</c:v>
                </c:pt>
                <c:pt idx="1841">
                  <c:v>7838.7022404027821</c:v>
                </c:pt>
                <c:pt idx="1842">
                  <c:v>7965.3122255121652</c:v>
                </c:pt>
                <c:pt idx="1843">
                  <c:v>7880.5709679847123</c:v>
                </c:pt>
                <c:pt idx="1844">
                  <c:v>7777.8598347292182</c:v>
                </c:pt>
                <c:pt idx="1845">
                  <c:v>7622.1148069552846</c:v>
                </c:pt>
                <c:pt idx="1846">
                  <c:v>7561.3732997160132</c:v>
                </c:pt>
                <c:pt idx="1847">
                  <c:v>7581.5884905046123</c:v>
                </c:pt>
                <c:pt idx="1848">
                  <c:v>7676.0747577659085</c:v>
                </c:pt>
                <c:pt idx="1849">
                  <c:v>7734.6147210155887</c:v>
                </c:pt>
                <c:pt idx="1850">
                  <c:v>7712.2897056334805</c:v>
                </c:pt>
                <c:pt idx="1851">
                  <c:v>7953.8547709151526</c:v>
                </c:pt>
                <c:pt idx="1852">
                  <c:v>8601.6295774154842</c:v>
                </c:pt>
                <c:pt idx="1853">
                  <c:v>8858.9698327770639</c:v>
                </c:pt>
                <c:pt idx="1854">
                  <c:v>8664.8721514182544</c:v>
                </c:pt>
                <c:pt idx="1855">
                  <c:v>8423.2539066879635</c:v>
                </c:pt>
                <c:pt idx="1856">
                  <c:v>8340.8995758670771</c:v>
                </c:pt>
                <c:pt idx="1857">
                  <c:v>8182.0938275615135</c:v>
                </c:pt>
                <c:pt idx="1858">
                  <c:v>8008.8971329139204</c:v>
                </c:pt>
                <c:pt idx="1859">
                  <c:v>7766.0575737390964</c:v>
                </c:pt>
                <c:pt idx="1860">
                  <c:v>7580.6170850676708</c:v>
                </c:pt>
                <c:pt idx="1861">
                  <c:v>7547.1952513637343</c:v>
                </c:pt>
                <c:pt idx="1862">
                  <c:v>7579.7125593808778</c:v>
                </c:pt>
                <c:pt idx="1863">
                  <c:v>7571.3259981579595</c:v>
                </c:pt>
                <c:pt idx="1864">
                  <c:v>8092.7550950345085</c:v>
                </c:pt>
                <c:pt idx="1865">
                  <c:v>8158.5497419851445</c:v>
                </c:pt>
                <c:pt idx="1866">
                  <c:v>8208.8765410127162</c:v>
                </c:pt>
                <c:pt idx="1867">
                  <c:v>8233.4417659225273</c:v>
                </c:pt>
                <c:pt idx="1868">
                  <c:v>8160.8281201488317</c:v>
                </c:pt>
                <c:pt idx="1869">
                  <c:v>8037.318045313632</c:v>
                </c:pt>
                <c:pt idx="1870">
                  <c:v>7910.4578945548992</c:v>
                </c:pt>
                <c:pt idx="1871">
                  <c:v>7816.7868907926395</c:v>
                </c:pt>
                <c:pt idx="1872">
                  <c:v>7458.0432885112896</c:v>
                </c:pt>
                <c:pt idx="1873">
                  <c:v>7337.7231451423822</c:v>
                </c:pt>
                <c:pt idx="1874">
                  <c:v>7157.2621290767329</c:v>
                </c:pt>
                <c:pt idx="1875">
                  <c:v>6868.526821884263</c:v>
                </c:pt>
                <c:pt idx="1876">
                  <c:v>6914.414848807306</c:v>
                </c:pt>
                <c:pt idx="1877">
                  <c:v>6890.928447561485</c:v>
                </c:pt>
                <c:pt idx="1878">
                  <c:v>6963.4427019886607</c:v>
                </c:pt>
                <c:pt idx="1879">
                  <c:v>7098.6751512410992</c:v>
                </c:pt>
                <c:pt idx="1880">
                  <c:v>7262.7133772425204</c:v>
                </c:pt>
                <c:pt idx="1881">
                  <c:v>7130.4460631178654</c:v>
                </c:pt>
                <c:pt idx="1882">
                  <c:v>6909.1229394327574</c:v>
                </c:pt>
                <c:pt idx="1883">
                  <c:v>6873.5061415970767</c:v>
                </c:pt>
                <c:pt idx="1884">
                  <c:v>6897.1267992453213</c:v>
                </c:pt>
                <c:pt idx="1885">
                  <c:v>6877.444664309849</c:v>
                </c:pt>
                <c:pt idx="1886">
                  <c:v>6834.5642767581494</c:v>
                </c:pt>
                <c:pt idx="1887">
                  <c:v>6876.9408601567175</c:v>
                </c:pt>
                <c:pt idx="1888">
                  <c:v>6912.1503620613503</c:v>
                </c:pt>
                <c:pt idx="1889">
                  <c:v>6893.4696487276278</c:v>
                </c:pt>
                <c:pt idx="1890">
                  <c:v>6792.4347629264421</c:v>
                </c:pt>
                <c:pt idx="1891">
                  <c:v>6570.1353630714475</c:v>
                </c:pt>
                <c:pt idx="1892">
                  <c:v>6252.432294496738</c:v>
                </c:pt>
                <c:pt idx="1893">
                  <c:v>5829.5612556528877</c:v>
                </c:pt>
                <c:pt idx="1894">
                  <c:v>5846.7683538517185</c:v>
                </c:pt>
                <c:pt idx="1895">
                  <c:v>5714.0741625758947</c:v>
                </c:pt>
                <c:pt idx="1896">
                  <c:v>5637.8834931177553</c:v>
                </c:pt>
                <c:pt idx="1897">
                  <c:v>5541.8776117817197</c:v>
                </c:pt>
                <c:pt idx="1898">
                  <c:v>5480.9214155208501</c:v>
                </c:pt>
                <c:pt idx="1899">
                  <c:v>5516.5838082221189</c:v>
                </c:pt>
                <c:pt idx="1900">
                  <c:v>5956.4082849191645</c:v>
                </c:pt>
                <c:pt idx="1901">
                  <c:v>6142.2655707271615</c:v>
                </c:pt>
                <c:pt idx="1902">
                  <c:v>5812.3968418928971</c:v>
                </c:pt>
                <c:pt idx="1903">
                  <c:v>5662.8953893569087</c:v>
                </c:pt>
                <c:pt idx="1904">
                  <c:v>5583.2140916590388</c:v>
                </c:pt>
                <c:pt idx="1905">
                  <c:v>5701.6810194300615</c:v>
                </c:pt>
                <c:pt idx="1906">
                  <c:v>5804.184813447082</c:v>
                </c:pt>
                <c:pt idx="1907">
                  <c:v>5789.4434637374252</c:v>
                </c:pt>
                <c:pt idx="1908">
                  <c:v>5787.8502480826528</c:v>
                </c:pt>
                <c:pt idx="1909">
                  <c:v>6138.8022884858583</c:v>
                </c:pt>
                <c:pt idx="1910">
                  <c:v>6230.4353273469605</c:v>
                </c:pt>
                <c:pt idx="1911">
                  <c:v>6407.9110537160977</c:v>
                </c:pt>
                <c:pt idx="1912">
                  <c:v>6599.7253278248481</c:v>
                </c:pt>
                <c:pt idx="1913">
                  <c:v>6760.921229970576</c:v>
                </c:pt>
                <c:pt idx="1914">
                  <c:v>6980.1836077031212</c:v>
                </c:pt>
                <c:pt idx="1915">
                  <c:v>6894.422488590556</c:v>
                </c:pt>
                <c:pt idx="1916">
                  <c:v>6738.0949713924574</c:v>
                </c:pt>
                <c:pt idx="1917">
                  <c:v>6594.6902840876819</c:v>
                </c:pt>
                <c:pt idx="1918">
                  <c:v>6512.6130171566092</c:v>
                </c:pt>
                <c:pt idx="1919">
                  <c:v>6390.3547097677856</c:v>
                </c:pt>
                <c:pt idx="1920">
                  <c:v>6609.5692866077125</c:v>
                </c:pt>
                <c:pt idx="1921">
                  <c:v>6605.0743809441137</c:v>
                </c:pt>
                <c:pt idx="1922">
                  <c:v>6604.8108153186968</c:v>
                </c:pt>
                <c:pt idx="1923">
                  <c:v>6962.3855399811728</c:v>
                </c:pt>
                <c:pt idx="1924">
                  <c:v>7642.3075443202551</c:v>
                </c:pt>
                <c:pt idx="1925">
                  <c:v>7953.9627679512723</c:v>
                </c:pt>
                <c:pt idx="1926">
                  <c:v>7854.3540513224543</c:v>
                </c:pt>
                <c:pt idx="1927">
                  <c:v>7332.9632541330002</c:v>
                </c:pt>
                <c:pt idx="1928">
                  <c:v>6837.969869208443</c:v>
                </c:pt>
                <c:pt idx="1929">
                  <c:v>6588.0698222368292</c:v>
                </c:pt>
                <c:pt idx="1930">
                  <c:v>6272.0781719582565</c:v>
                </c:pt>
                <c:pt idx="1931">
                  <c:v>6216.8926311606147</c:v>
                </c:pt>
                <c:pt idx="1932">
                  <c:v>6098.018161737712</c:v>
                </c:pt>
                <c:pt idx="1933">
                  <c:v>6003.0081268707581</c:v>
                </c:pt>
                <c:pt idx="1934">
                  <c:v>6093.1112969077112</c:v>
                </c:pt>
                <c:pt idx="1935">
                  <c:v>6186.0184146667807</c:v>
                </c:pt>
                <c:pt idx="1936">
                  <c:v>6494.1323315014779</c:v>
                </c:pt>
                <c:pt idx="1937">
                  <c:v>7011.6401115839926</c:v>
                </c:pt>
                <c:pt idx="1938">
                  <c:v>7083.0566000012232</c:v>
                </c:pt>
                <c:pt idx="1939">
                  <c:v>7076.5974183839062</c:v>
                </c:pt>
                <c:pt idx="1940">
                  <c:v>7046.7031529515225</c:v>
                </c:pt>
                <c:pt idx="1941">
                  <c:v>6940.2762238063078</c:v>
                </c:pt>
                <c:pt idx="1942">
                  <c:v>6737.2132267570687</c:v>
                </c:pt>
                <c:pt idx="1943">
                  <c:v>6718.7350256125774</c:v>
                </c:pt>
                <c:pt idx="1944">
                  <c:v>6662.0153349878365</c:v>
                </c:pt>
                <c:pt idx="1945">
                  <c:v>6615.5938972815738</c:v>
                </c:pt>
                <c:pt idx="1946">
                  <c:v>6589.7151416290199</c:v>
                </c:pt>
                <c:pt idx="1947">
                  <c:v>6642.7195714894087</c:v>
                </c:pt>
                <c:pt idx="1948">
                  <c:v>6877.5497891424611</c:v>
                </c:pt>
                <c:pt idx="1949">
                  <c:v>7040.115999924632</c:v>
                </c:pt>
                <c:pt idx="1950">
                  <c:v>6820.1050254851425</c:v>
                </c:pt>
                <c:pt idx="1951">
                  <c:v>6681.9063490123326</c:v>
                </c:pt>
                <c:pt idx="1952">
                  <c:v>6424.3914079806873</c:v>
                </c:pt>
                <c:pt idx="1953">
                  <c:v>6128.7340357270741</c:v>
                </c:pt>
                <c:pt idx="1954">
                  <c:v>5906.0604958720332</c:v>
                </c:pt>
                <c:pt idx="1955">
                  <c:v>5632.9740291073922</c:v>
                </c:pt>
                <c:pt idx="1956">
                  <c:v>5421.6747733540678</c:v>
                </c:pt>
                <c:pt idx="1957">
                  <c:v>5263.3697920921477</c:v>
                </c:pt>
                <c:pt idx="1958">
                  <c:v>5241.7874843076979</c:v>
                </c:pt>
                <c:pt idx="1959">
                  <c:v>5319.0679742561506</c:v>
                </c:pt>
                <c:pt idx="1960">
                  <c:v>5384.5568025191051</c:v>
                </c:pt>
                <c:pt idx="1961">
                  <c:v>5666.0624196416102</c:v>
                </c:pt>
                <c:pt idx="1962">
                  <c:v>5836.0536150430571</c:v>
                </c:pt>
                <c:pt idx="1963">
                  <c:v>5699.9834488679535</c:v>
                </c:pt>
                <c:pt idx="1964">
                  <c:v>5550.0559164083879</c:v>
                </c:pt>
                <c:pt idx="1965">
                  <c:v>5565.7936695543476</c:v>
                </c:pt>
                <c:pt idx="1966">
                  <c:v>5619.5010957956292</c:v>
                </c:pt>
                <c:pt idx="1967">
                  <c:v>5675.8264372469639</c:v>
                </c:pt>
                <c:pt idx="1968">
                  <c:v>5629.2333553484968</c:v>
                </c:pt>
                <c:pt idx="1969">
                  <c:v>5542.1268928360723</c:v>
                </c:pt>
                <c:pt idx="1970">
                  <c:v>5581.135140523018</c:v>
                </c:pt>
                <c:pt idx="1971">
                  <c:v>5708.3620214335833</c:v>
                </c:pt>
                <c:pt idx="1972">
                  <c:v>5888.2199566693007</c:v>
                </c:pt>
                <c:pt idx="1973">
                  <c:v>5979.3756145574616</c:v>
                </c:pt>
                <c:pt idx="1974">
                  <c:v>5914.1598804277619</c:v>
                </c:pt>
                <c:pt idx="1975">
                  <c:v>5717.8403967618351</c:v>
                </c:pt>
                <c:pt idx="1976">
                  <c:v>6045.9266448352009</c:v>
                </c:pt>
                <c:pt idx="1977">
                  <c:v>6202.7302980206905</c:v>
                </c:pt>
                <c:pt idx="1978">
                  <c:v>6223.339297396863</c:v>
                </c:pt>
                <c:pt idx="1979">
                  <c:v>6209.5112865611918</c:v>
                </c:pt>
                <c:pt idx="1980">
                  <c:v>6330.7660100049425</c:v>
                </c:pt>
                <c:pt idx="1981">
                  <c:v>6492.2502300546157</c:v>
                </c:pt>
                <c:pt idx="1982">
                  <c:v>6504.5288563715712</c:v>
                </c:pt>
                <c:pt idx="1983">
                  <c:v>6478.5692694860463</c:v>
                </c:pt>
                <c:pt idx="1984">
                  <c:v>6350.5855847927323</c:v>
                </c:pt>
                <c:pt idx="1985">
                  <c:v>6320.5899895494831</c:v>
                </c:pt>
                <c:pt idx="1986">
                  <c:v>6357.6229038452484</c:v>
                </c:pt>
                <c:pt idx="1987">
                  <c:v>6033.4687569802318</c:v>
                </c:pt>
                <c:pt idx="1988">
                  <c:v>5849.394525281743</c:v>
                </c:pt>
                <c:pt idx="1989">
                  <c:v>5644.1847417653225</c:v>
                </c:pt>
                <c:pt idx="1990">
                  <c:v>5406.9566775719068</c:v>
                </c:pt>
                <c:pt idx="1991">
                  <c:v>5420.494482821593</c:v>
                </c:pt>
                <c:pt idx="1992">
                  <c:v>5415.3926259519285</c:v>
                </c:pt>
                <c:pt idx="1993">
                  <c:v>5369.2799435703191</c:v>
                </c:pt>
                <c:pt idx="1994">
                  <c:v>5380.1704765230224</c:v>
                </c:pt>
                <c:pt idx="1995">
                  <c:v>5384.7328074370171</c:v>
                </c:pt>
                <c:pt idx="1996">
                  <c:v>5818.2882336522953</c:v>
                </c:pt>
                <c:pt idx="1997">
                  <c:v>6033.8404561533425</c:v>
                </c:pt>
                <c:pt idx="1998">
                  <c:v>6176.4719364446819</c:v>
                </c:pt>
                <c:pt idx="1999">
                  <c:v>5779.4493367631167</c:v>
                </c:pt>
                <c:pt idx="2000">
                  <c:v>5448.77277666593</c:v>
                </c:pt>
                <c:pt idx="2001">
                  <c:v>5206.8623005179024</c:v>
                </c:pt>
                <c:pt idx="2002">
                  <c:v>5231.4857558045569</c:v>
                </c:pt>
                <c:pt idx="2003">
                  <c:v>4845.8898502940974</c:v>
                </c:pt>
                <c:pt idx="2004">
                  <c:v>4956.374405769835</c:v>
                </c:pt>
                <c:pt idx="2005">
                  <c:v>5012.9529505260562</c:v>
                </c:pt>
                <c:pt idx="2006">
                  <c:v>5059.9191868110083</c:v>
                </c:pt>
                <c:pt idx="2007">
                  <c:v>5182.3577500881474</c:v>
                </c:pt>
                <c:pt idx="2008">
                  <c:v>5612.6978394872376</c:v>
                </c:pt>
                <c:pt idx="2009">
                  <c:v>5885.6137213894854</c:v>
                </c:pt>
                <c:pt idx="2010">
                  <c:v>6056.6383640078529</c:v>
                </c:pt>
                <c:pt idx="2011">
                  <c:v>6066.665139090107</c:v>
                </c:pt>
                <c:pt idx="2012">
                  <c:v>5963.6425028050053</c:v>
                </c:pt>
                <c:pt idx="2013">
                  <c:v>5879.3903771667519</c:v>
                </c:pt>
                <c:pt idx="2014">
                  <c:v>5596.3210374419323</c:v>
                </c:pt>
                <c:pt idx="2015">
                  <c:v>5436.9098575771413</c:v>
                </c:pt>
                <c:pt idx="2016">
                  <c:v>5329.5850989108412</c:v>
                </c:pt>
                <c:pt idx="2017">
                  <c:v>5294.7704933180012</c:v>
                </c:pt>
                <c:pt idx="2018">
                  <c:v>5339.836483583771</c:v>
                </c:pt>
                <c:pt idx="2019">
                  <c:v>5402.414245676975</c:v>
                </c:pt>
                <c:pt idx="2020">
                  <c:v>5944.2785872685636</c:v>
                </c:pt>
                <c:pt idx="2021">
                  <c:v>6123.2085823523803</c:v>
                </c:pt>
                <c:pt idx="2022">
                  <c:v>6240.4746178102841</c:v>
                </c:pt>
                <c:pt idx="2023">
                  <c:v>6152.1589630810658</c:v>
                </c:pt>
                <c:pt idx="2024">
                  <c:v>5846.5886554766703</c:v>
                </c:pt>
                <c:pt idx="2025">
                  <c:v>5528.4541557246976</c:v>
                </c:pt>
                <c:pt idx="2026">
                  <c:v>5362.8288232344476</c:v>
                </c:pt>
                <c:pt idx="2027">
                  <c:v>5252.1972835632105</c:v>
                </c:pt>
                <c:pt idx="2028">
                  <c:v>5049.5933137788643</c:v>
                </c:pt>
                <c:pt idx="2029">
                  <c:v>5009.7505293428712</c:v>
                </c:pt>
                <c:pt idx="2030">
                  <c:v>5110.1938438779216</c:v>
                </c:pt>
                <c:pt idx="2031">
                  <c:v>5357.9803864500473</c:v>
                </c:pt>
                <c:pt idx="2032">
                  <c:v>6005.927585226008</c:v>
                </c:pt>
                <c:pt idx="2033">
                  <c:v>6132.1093280684881</c:v>
                </c:pt>
                <c:pt idx="2034">
                  <c:v>6011.7966109291856</c:v>
                </c:pt>
                <c:pt idx="2035">
                  <c:v>6076.1174079450211</c:v>
                </c:pt>
                <c:pt idx="2036">
                  <c:v>5803.2411908456043</c:v>
                </c:pt>
                <c:pt idx="2037">
                  <c:v>5303.7029108112802</c:v>
                </c:pt>
                <c:pt idx="2038">
                  <c:v>5522.4632088048911</c:v>
                </c:pt>
                <c:pt idx="2039">
                  <c:v>5379.0205538091686</c:v>
                </c:pt>
                <c:pt idx="2040">
                  <c:v>5567.5332365369632</c:v>
                </c:pt>
                <c:pt idx="2041">
                  <c:v>5548.9932720961033</c:v>
                </c:pt>
                <c:pt idx="2042">
                  <c:v>5586.6661144257505</c:v>
                </c:pt>
                <c:pt idx="2043">
                  <c:v>5422.385819549434</c:v>
                </c:pt>
                <c:pt idx="2044">
                  <c:v>5421.472695271641</c:v>
                </c:pt>
                <c:pt idx="2045">
                  <c:v>5509.768582578954</c:v>
                </c:pt>
                <c:pt idx="2046">
                  <c:v>5325.5690343479764</c:v>
                </c:pt>
                <c:pt idx="2047">
                  <c:v>4894.7343280246578</c:v>
                </c:pt>
                <c:pt idx="2048">
                  <c:v>4879.2180796501434</c:v>
                </c:pt>
                <c:pt idx="2049">
                  <c:v>4820.6816586027762</c:v>
                </c:pt>
                <c:pt idx="2050">
                  <c:v>4700.8274920299509</c:v>
                </c:pt>
                <c:pt idx="2051">
                  <c:v>4470.4481949193851</c:v>
                </c:pt>
                <c:pt idx="2052">
                  <c:v>4133.6421002607613</c:v>
                </c:pt>
                <c:pt idx="2053">
                  <c:v>4016.8285973931233</c:v>
                </c:pt>
                <c:pt idx="2054">
                  <c:v>4316.490591809501</c:v>
                </c:pt>
                <c:pt idx="2055">
                  <c:v>4591.6110630015246</c:v>
                </c:pt>
                <c:pt idx="2056">
                  <c:v>4920.174303262871</c:v>
                </c:pt>
                <c:pt idx="2057">
                  <c:v>5010.3993530169355</c:v>
                </c:pt>
                <c:pt idx="2058">
                  <c:v>5032.7232129650847</c:v>
                </c:pt>
                <c:pt idx="2059">
                  <c:v>4847.1845440778206</c:v>
                </c:pt>
                <c:pt idx="2060">
                  <c:v>4822.0159806042275</c:v>
                </c:pt>
                <c:pt idx="2061">
                  <c:v>4775.2809550636048</c:v>
                </c:pt>
                <c:pt idx="2062">
                  <c:v>4507.7380758710979</c:v>
                </c:pt>
                <c:pt idx="2063">
                  <c:v>4627.6153773333281</c:v>
                </c:pt>
                <c:pt idx="2064">
                  <c:v>4706.0709905781705</c:v>
                </c:pt>
                <c:pt idx="2065">
                  <c:v>4798.7618685441666</c:v>
                </c:pt>
                <c:pt idx="2066">
                  <c:v>4875.6167361558373</c:v>
                </c:pt>
                <c:pt idx="2067">
                  <c:v>5111.1669284072177</c:v>
                </c:pt>
                <c:pt idx="2068">
                  <c:v>5087.3734771393201</c:v>
                </c:pt>
                <c:pt idx="2069">
                  <c:v>4979.0368777619269</c:v>
                </c:pt>
                <c:pt idx="2070">
                  <c:v>4930.083482907241</c:v>
                </c:pt>
                <c:pt idx="2071">
                  <c:v>5278.282418504853</c:v>
                </c:pt>
                <c:pt idx="2072">
                  <c:v>5540.5269280491011</c:v>
                </c:pt>
                <c:pt idx="2073">
                  <c:v>5464.169801838555</c:v>
                </c:pt>
                <c:pt idx="2074">
                  <c:v>5219.0079181482188</c:v>
                </c:pt>
                <c:pt idx="2075">
                  <c:v>4871.9053910894636</c:v>
                </c:pt>
                <c:pt idx="2076">
                  <c:v>4784.7497478254354</c:v>
                </c:pt>
                <c:pt idx="2077">
                  <c:v>4659.1437474591066</c:v>
                </c:pt>
                <c:pt idx="2078">
                  <c:v>4625.7783492778426</c:v>
                </c:pt>
                <c:pt idx="2079">
                  <c:v>4948.9998676374735</c:v>
                </c:pt>
                <c:pt idx="2080">
                  <c:v>5303.7448340615847</c:v>
                </c:pt>
                <c:pt idx="2081">
                  <c:v>5525.8158074623052</c:v>
                </c:pt>
                <c:pt idx="2082">
                  <c:v>5392.5477297216858</c:v>
                </c:pt>
                <c:pt idx="2083">
                  <c:v>5402.1904649845746</c:v>
                </c:pt>
                <c:pt idx="2084">
                  <c:v>5447.8543366274598</c:v>
                </c:pt>
                <c:pt idx="2085">
                  <c:v>5451.4767656994272</c:v>
                </c:pt>
                <c:pt idx="2086">
                  <c:v>5254.2619058984174</c:v>
                </c:pt>
                <c:pt idx="2087">
                  <c:v>5155.7148796390056</c:v>
                </c:pt>
                <c:pt idx="2088">
                  <c:v>5066.4583653025584</c:v>
                </c:pt>
                <c:pt idx="2089">
                  <c:v>5085.5147109808513</c:v>
                </c:pt>
                <c:pt idx="2090">
                  <c:v>5152.0247845102285</c:v>
                </c:pt>
                <c:pt idx="2091">
                  <c:v>5601.1267198935684</c:v>
                </c:pt>
                <c:pt idx="2092">
                  <c:v>5969.1845887498293</c:v>
                </c:pt>
                <c:pt idx="2093">
                  <c:v>6099.3712153112483</c:v>
                </c:pt>
                <c:pt idx="2094">
                  <c:v>6103.7503864627361</c:v>
                </c:pt>
                <c:pt idx="2095">
                  <c:v>6098.9948092190798</c:v>
                </c:pt>
                <c:pt idx="2096">
                  <c:v>6033.9510687512147</c:v>
                </c:pt>
                <c:pt idx="2097">
                  <c:v>6017.3299928960751</c:v>
                </c:pt>
                <c:pt idx="2098">
                  <c:v>5884.157880061477</c:v>
                </c:pt>
                <c:pt idx="2099">
                  <c:v>5726.1993608050298</c:v>
                </c:pt>
                <c:pt idx="2100">
                  <c:v>5627.1088912538316</c:v>
                </c:pt>
                <c:pt idx="2101">
                  <c:v>5681.2910337621397</c:v>
                </c:pt>
                <c:pt idx="2102">
                  <c:v>5709.0330413434713</c:v>
                </c:pt>
                <c:pt idx="2103">
                  <c:v>5744.4353303528305</c:v>
                </c:pt>
                <c:pt idx="2104">
                  <c:v>5704.6934476274082</c:v>
                </c:pt>
                <c:pt idx="2105">
                  <c:v>5670.0614224419578</c:v>
                </c:pt>
                <c:pt idx="2106">
                  <c:v>5421.7675460734526</c:v>
                </c:pt>
                <c:pt idx="2107">
                  <c:v>5249.4479486612345</c:v>
                </c:pt>
                <c:pt idx="2108">
                  <c:v>5091.6356120043265</c:v>
                </c:pt>
                <c:pt idx="2109">
                  <c:v>5013.6856862262848</c:v>
                </c:pt>
                <c:pt idx="2110">
                  <c:v>4884.9516241690599</c:v>
                </c:pt>
                <c:pt idx="2111">
                  <c:v>4792.6303960644318</c:v>
                </c:pt>
                <c:pt idx="2112">
                  <c:v>4716.4640409556923</c:v>
                </c:pt>
                <c:pt idx="2113">
                  <c:v>4744.7803461746807</c:v>
                </c:pt>
                <c:pt idx="2114">
                  <c:v>4762.8812276915532</c:v>
                </c:pt>
                <c:pt idx="2115">
                  <c:v>5070.4970432806167</c:v>
                </c:pt>
                <c:pt idx="2116">
                  <c:v>5448.5860386620534</c:v>
                </c:pt>
                <c:pt idx="2117">
                  <c:v>5369.8237445224286</c:v>
                </c:pt>
                <c:pt idx="2118">
                  <c:v>5267.2548284782833</c:v>
                </c:pt>
                <c:pt idx="2119">
                  <c:v>5080.9931227650723</c:v>
                </c:pt>
                <c:pt idx="2120">
                  <c:v>4889.0861900606133</c:v>
                </c:pt>
                <c:pt idx="2121">
                  <c:v>5221.5414069564986</c:v>
                </c:pt>
                <c:pt idx="2122">
                  <c:v>4955.8148016919167</c:v>
                </c:pt>
                <c:pt idx="2123">
                  <c:v>5035.06590664552</c:v>
                </c:pt>
                <c:pt idx="2124">
                  <c:v>5056.587346649525</c:v>
                </c:pt>
                <c:pt idx="2125">
                  <c:v>4997.7804033469502</c:v>
                </c:pt>
                <c:pt idx="2126">
                  <c:v>4869.6354520712584</c:v>
                </c:pt>
                <c:pt idx="2127">
                  <c:v>4866.5089629936901</c:v>
                </c:pt>
                <c:pt idx="2128">
                  <c:v>5124.760771111828</c:v>
                </c:pt>
                <c:pt idx="2129">
                  <c:v>5375.1645337770733</c:v>
                </c:pt>
                <c:pt idx="2130">
                  <c:v>5343.4938033758172</c:v>
                </c:pt>
                <c:pt idx="2131">
                  <c:v>5127.9352740400691</c:v>
                </c:pt>
                <c:pt idx="2132">
                  <c:v>5084.191213255096</c:v>
                </c:pt>
                <c:pt idx="2133">
                  <c:v>4960.3982897156375</c:v>
                </c:pt>
                <c:pt idx="2134">
                  <c:v>4983.1515795813793</c:v>
                </c:pt>
                <c:pt idx="2135">
                  <c:v>4908.5099648299938</c:v>
                </c:pt>
                <c:pt idx="2136">
                  <c:v>4807.8310689960736</c:v>
                </c:pt>
                <c:pt idx="2137">
                  <c:v>4797.5520909657444</c:v>
                </c:pt>
                <c:pt idx="2138">
                  <c:v>4901.1461363036051</c:v>
                </c:pt>
                <c:pt idx="2139">
                  <c:v>5098.5047187655982</c:v>
                </c:pt>
                <c:pt idx="2140">
                  <c:v>5775.1987704349049</c:v>
                </c:pt>
                <c:pt idx="2141">
                  <c:v>5906.9817305754377</c:v>
                </c:pt>
                <c:pt idx="2142">
                  <c:v>5680.3021220809978</c:v>
                </c:pt>
                <c:pt idx="2143">
                  <c:v>5088.4466912697262</c:v>
                </c:pt>
                <c:pt idx="2144">
                  <c:v>4862.6706982029064</c:v>
                </c:pt>
                <c:pt idx="2145">
                  <c:v>4498.7199864444474</c:v>
                </c:pt>
                <c:pt idx="2146">
                  <c:v>4198.7065124031969</c:v>
                </c:pt>
                <c:pt idx="2147">
                  <c:v>3857.1095167661297</c:v>
                </c:pt>
                <c:pt idx="2148">
                  <c:v>3871.0720761389898</c:v>
                </c:pt>
                <c:pt idx="2149">
                  <c:v>3963.1829857765615</c:v>
                </c:pt>
                <c:pt idx="2150">
                  <c:v>3957.3323094130642</c:v>
                </c:pt>
                <c:pt idx="2151">
                  <c:v>4155.1563854201695</c:v>
                </c:pt>
                <c:pt idx="2152">
                  <c:v>4438.2392987637768</c:v>
                </c:pt>
                <c:pt idx="2153">
                  <c:v>4874.4324884258667</c:v>
                </c:pt>
                <c:pt idx="2154">
                  <c:v>5037.3559221478354</c:v>
                </c:pt>
                <c:pt idx="2155">
                  <c:v>5138.0251868172136</c:v>
                </c:pt>
                <c:pt idx="2156">
                  <c:v>5157.2755203560346</c:v>
                </c:pt>
                <c:pt idx="2157">
                  <c:v>5087.1650927682376</c:v>
                </c:pt>
                <c:pt idx="2158">
                  <c:v>5211.7386047749415</c:v>
                </c:pt>
                <c:pt idx="2159">
                  <c:v>5226.8488671834675</c:v>
                </c:pt>
                <c:pt idx="2160">
                  <c:v>5320.213058453789</c:v>
                </c:pt>
                <c:pt idx="2161">
                  <c:v>5363.9421564782015</c:v>
                </c:pt>
                <c:pt idx="2162">
                  <c:v>5542.3734327380262</c:v>
                </c:pt>
                <c:pt idx="2163">
                  <c:v>6106.7579876108393</c:v>
                </c:pt>
                <c:pt idx="2164">
                  <c:v>6518.7607940326516</c:v>
                </c:pt>
                <c:pt idx="2165">
                  <c:v>6265.7078702962899</c:v>
                </c:pt>
                <c:pt idx="2166">
                  <c:v>5700.932826797376</c:v>
                </c:pt>
                <c:pt idx="2167">
                  <c:v>5403.4624470647705</c:v>
                </c:pt>
                <c:pt idx="2168">
                  <c:v>4849.1503161983846</c:v>
                </c:pt>
                <c:pt idx="2169">
                  <c:v>4580.3154527038687</c:v>
                </c:pt>
                <c:pt idx="2170">
                  <c:v>4323.422491164406</c:v>
                </c:pt>
                <c:pt idx="2171">
                  <c:v>4180.2743211194775</c:v>
                </c:pt>
                <c:pt idx="2172">
                  <c:v>3999.5243493678126</c:v>
                </c:pt>
                <c:pt idx="2173">
                  <c:v>3874.0204793162166</c:v>
                </c:pt>
                <c:pt idx="2174">
                  <c:v>3939.8527417579407</c:v>
                </c:pt>
                <c:pt idx="2175">
                  <c:v>4212.3848404825812</c:v>
                </c:pt>
                <c:pt idx="2176">
                  <c:v>4638.7601079412188</c:v>
                </c:pt>
                <c:pt idx="2177">
                  <c:v>4870.2100795208753</c:v>
                </c:pt>
                <c:pt idx="2178">
                  <c:v>4866.5698116625144</c:v>
                </c:pt>
                <c:pt idx="2179">
                  <c:v>4935.6369064112778</c:v>
                </c:pt>
                <c:pt idx="2180">
                  <c:v>5077.4953402267911</c:v>
                </c:pt>
                <c:pt idx="2181">
                  <c:v>5011.1747283802079</c:v>
                </c:pt>
                <c:pt idx="2182">
                  <c:v>5122.4467863613709</c:v>
                </c:pt>
                <c:pt idx="2183">
                  <c:v>5033.8254669295247</c:v>
                </c:pt>
                <c:pt idx="2184">
                  <c:v>4985.5213456910487</c:v>
                </c:pt>
                <c:pt idx="2185">
                  <c:v>5020.043560420635</c:v>
                </c:pt>
                <c:pt idx="2186">
                  <c:v>5185.7491431505987</c:v>
                </c:pt>
                <c:pt idx="2187">
                  <c:v>5408.0118721745957</c:v>
                </c:pt>
                <c:pt idx="2188">
                  <c:v>5745.5041613696321</c:v>
                </c:pt>
                <c:pt idx="2189">
                  <c:v>5739.7264455278155</c:v>
                </c:pt>
                <c:pt idx="2190">
                  <c:v>5324.4338838245267</c:v>
                </c:pt>
                <c:pt idx="2191">
                  <c:v>5283.1719398124496</c:v>
                </c:pt>
                <c:pt idx="2192">
                  <c:v>5479.2783622207817</c:v>
                </c:pt>
                <c:pt idx="2193">
                  <c:v>4976.7089082198227</c:v>
                </c:pt>
                <c:pt idx="2194">
                  <c:v>4645.5301455232848</c:v>
                </c:pt>
                <c:pt idx="2195">
                  <c:v>4966.6547483698532</c:v>
                </c:pt>
                <c:pt idx="2196">
                  <c:v>5032.9034137027238</c:v>
                </c:pt>
                <c:pt idx="2197">
                  <c:v>4776.0507640309506</c:v>
                </c:pt>
                <c:pt idx="2198">
                  <c:v>5068.5164492794356</c:v>
                </c:pt>
                <c:pt idx="2199">
                  <c:v>5107.4068634523119</c:v>
                </c:pt>
                <c:pt idx="2200">
                  <c:v>5439.1907355407648</c:v>
                </c:pt>
                <c:pt idx="2201">
                  <c:v>5628.5264984203013</c:v>
                </c:pt>
                <c:pt idx="2202">
                  <c:v>5288.2913498862963</c:v>
                </c:pt>
                <c:pt idx="2203">
                  <c:v>5402.4524492599221</c:v>
                </c:pt>
                <c:pt idx="2204">
                  <c:v>5329.6683043531011</c:v>
                </c:pt>
                <c:pt idx="2205">
                  <c:v>5339.9363865756695</c:v>
                </c:pt>
                <c:pt idx="2206">
                  <c:v>5265.4584721349956</c:v>
                </c:pt>
                <c:pt idx="2207">
                  <c:v>5129.9037709316426</c:v>
                </c:pt>
                <c:pt idx="2208">
                  <c:v>5072.8298671742796</c:v>
                </c:pt>
                <c:pt idx="2209">
                  <c:v>5093.1002910916104</c:v>
                </c:pt>
                <c:pt idx="2210">
                  <c:v>5195.283746503932</c:v>
                </c:pt>
                <c:pt idx="2211">
                  <c:v>5457.7240540521743</c:v>
                </c:pt>
                <c:pt idx="2212">
                  <c:v>5461.8855209144249</c:v>
                </c:pt>
                <c:pt idx="2213">
                  <c:v>5445.6075892874724</c:v>
                </c:pt>
                <c:pt idx="2214">
                  <c:v>5396.6757081107426</c:v>
                </c:pt>
                <c:pt idx="2215">
                  <c:v>5082.9584056281574</c:v>
                </c:pt>
                <c:pt idx="2216">
                  <c:v>4925.7171252781009</c:v>
                </c:pt>
                <c:pt idx="2217">
                  <c:v>4838.8638742612566</c:v>
                </c:pt>
                <c:pt idx="2218">
                  <c:v>4723.0144729153253</c:v>
                </c:pt>
                <c:pt idx="2219">
                  <c:v>4489.7196495288754</c:v>
                </c:pt>
                <c:pt idx="2220">
                  <c:v>4591.1838265518963</c:v>
                </c:pt>
                <c:pt idx="2221">
                  <c:v>4375.8651404063467</c:v>
                </c:pt>
                <c:pt idx="2222">
                  <c:v>4470.4833624849343</c:v>
                </c:pt>
                <c:pt idx="2223">
                  <c:v>4551.3236019433043</c:v>
                </c:pt>
                <c:pt idx="2224">
                  <c:v>5056.4227317112691</c:v>
                </c:pt>
                <c:pt idx="2225">
                  <c:v>5194.8763413636261</c:v>
                </c:pt>
                <c:pt idx="2226">
                  <c:v>5164.6793456814012</c:v>
                </c:pt>
                <c:pt idx="2227">
                  <c:v>5268.354863310582</c:v>
                </c:pt>
                <c:pt idx="2228">
                  <c:v>5461.1464581757818</c:v>
                </c:pt>
                <c:pt idx="2229">
                  <c:v>5446.0109285670706</c:v>
                </c:pt>
                <c:pt idx="2230">
                  <c:v>5588.0252400340823</c:v>
                </c:pt>
                <c:pt idx="2231">
                  <c:v>5550.7504654531049</c:v>
                </c:pt>
                <c:pt idx="2232">
                  <c:v>5257.0765342860541</c:v>
                </c:pt>
                <c:pt idx="2233">
                  <c:v>5039.2844500887932</c:v>
                </c:pt>
                <c:pt idx="2234">
                  <c:v>5049.3274542129648</c:v>
                </c:pt>
                <c:pt idx="2235">
                  <c:v>5083.9448644693448</c:v>
                </c:pt>
                <c:pt idx="2236">
                  <c:v>5124.7268490778761</c:v>
                </c:pt>
                <c:pt idx="2237">
                  <c:v>5084.5762288591895</c:v>
                </c:pt>
                <c:pt idx="2238">
                  <c:v>4804.2639833541898</c:v>
                </c:pt>
                <c:pt idx="2239">
                  <c:v>4671.229272148671</c:v>
                </c:pt>
                <c:pt idx="2240">
                  <c:v>4383.7534971808818</c:v>
                </c:pt>
                <c:pt idx="2241">
                  <c:v>4293.5500703140315</c:v>
                </c:pt>
                <c:pt idx="2242">
                  <c:v>4422.0887215140856</c:v>
                </c:pt>
                <c:pt idx="2243">
                  <c:v>4590.7319645064799</c:v>
                </c:pt>
                <c:pt idx="2244">
                  <c:v>4500.8301818033906</c:v>
                </c:pt>
                <c:pt idx="2245">
                  <c:v>4418.7647881029452</c:v>
                </c:pt>
                <c:pt idx="2246">
                  <c:v>4554.7107069042049</c:v>
                </c:pt>
                <c:pt idx="2247">
                  <c:v>4777.200028759019</c:v>
                </c:pt>
                <c:pt idx="2248">
                  <c:v>4977.1326565257223</c:v>
                </c:pt>
                <c:pt idx="2249">
                  <c:v>5174.281676794777</c:v>
                </c:pt>
                <c:pt idx="2250">
                  <c:v>5247.03218197358</c:v>
                </c:pt>
                <c:pt idx="2251">
                  <c:v>5273.0349087005543</c:v>
                </c:pt>
                <c:pt idx="2252">
                  <c:v>5022.4746791998587</c:v>
                </c:pt>
                <c:pt idx="2253">
                  <c:v>4944.3465162666525</c:v>
                </c:pt>
                <c:pt idx="2254">
                  <c:v>4864.9702236474868</c:v>
                </c:pt>
                <c:pt idx="2255">
                  <c:v>4767.8614674923738</c:v>
                </c:pt>
                <c:pt idx="2256">
                  <c:v>4706.0411300365577</c:v>
                </c:pt>
                <c:pt idx="2257">
                  <c:v>4757.8814984063893</c:v>
                </c:pt>
                <c:pt idx="2258">
                  <c:v>4901.3332357901281</c:v>
                </c:pt>
                <c:pt idx="2259">
                  <c:v>5102.6438987483398</c:v>
                </c:pt>
                <c:pt idx="2260">
                  <c:v>5308.8994788646751</c:v>
                </c:pt>
                <c:pt idx="2261">
                  <c:v>5399.8358516595772</c:v>
                </c:pt>
                <c:pt idx="2262">
                  <c:v>5546.9187384746056</c:v>
                </c:pt>
                <c:pt idx="2263">
                  <c:v>5711.5979463792573</c:v>
                </c:pt>
                <c:pt idx="2264">
                  <c:v>5789.9931576211447</c:v>
                </c:pt>
                <c:pt idx="2265">
                  <c:v>5830.0245813942111</c:v>
                </c:pt>
                <c:pt idx="2266">
                  <c:v>5987.5456192804531</c:v>
                </c:pt>
                <c:pt idx="2267">
                  <c:v>6237.3874467961505</c:v>
                </c:pt>
                <c:pt idx="2268">
                  <c:v>6309.0375501995459</c:v>
                </c:pt>
                <c:pt idx="2269">
                  <c:v>5961.3470443132264</c:v>
                </c:pt>
                <c:pt idx="2270">
                  <c:v>6014.080427713965</c:v>
                </c:pt>
                <c:pt idx="2271">
                  <c:v>6100.026465404153</c:v>
                </c:pt>
                <c:pt idx="2272">
                  <c:v>6124.752419040743</c:v>
                </c:pt>
                <c:pt idx="2273">
                  <c:v>6385.81248919277</c:v>
                </c:pt>
                <c:pt idx="2274">
                  <c:v>6412.2707856195011</c:v>
                </c:pt>
                <c:pt idx="2275">
                  <c:v>6196.0671899542394</c:v>
                </c:pt>
                <c:pt idx="2276">
                  <c:v>6170.9522766211712</c:v>
                </c:pt>
                <c:pt idx="2277">
                  <c:v>5855.2277794921692</c:v>
                </c:pt>
                <c:pt idx="2278">
                  <c:v>5700.6963505286276</c:v>
                </c:pt>
                <c:pt idx="2279">
                  <c:v>5632.1756548202438</c:v>
                </c:pt>
                <c:pt idx="2280">
                  <c:v>5612.3894653028974</c:v>
                </c:pt>
                <c:pt idx="2281">
                  <c:v>5653.8085619845706</c:v>
                </c:pt>
                <c:pt idx="2282">
                  <c:v>5770.0157918356408</c:v>
                </c:pt>
                <c:pt idx="2283">
                  <c:v>6240.199994747406</c:v>
                </c:pt>
                <c:pt idx="2284">
                  <c:v>6336.7005721843816</c:v>
                </c:pt>
                <c:pt idx="2285">
                  <c:v>6639.8720711148444</c:v>
                </c:pt>
                <c:pt idx="2286">
                  <c:v>6693.6711676080422</c:v>
                </c:pt>
                <c:pt idx="2287">
                  <c:v>5941.9953875160954</c:v>
                </c:pt>
                <c:pt idx="2288">
                  <c:v>5558.4349967970711</c:v>
                </c:pt>
                <c:pt idx="2289">
                  <c:v>5437.3443946657262</c:v>
                </c:pt>
                <c:pt idx="2290">
                  <c:v>5347.2114301587626</c:v>
                </c:pt>
                <c:pt idx="2291">
                  <c:v>5388.0274460105047</c:v>
                </c:pt>
                <c:pt idx="2292">
                  <c:v>5347.5716683661976</c:v>
                </c:pt>
                <c:pt idx="2293">
                  <c:v>5481.7964547077427</c:v>
                </c:pt>
                <c:pt idx="2294">
                  <c:v>5475.271190567868</c:v>
                </c:pt>
                <c:pt idx="2295">
                  <c:v>5593.7016206045691</c:v>
                </c:pt>
                <c:pt idx="2296">
                  <c:v>5853.1379074302595</c:v>
                </c:pt>
                <c:pt idx="2297">
                  <c:v>5887.0624477342772</c:v>
                </c:pt>
                <c:pt idx="2298">
                  <c:v>5945.8797533573825</c:v>
                </c:pt>
                <c:pt idx="2299">
                  <c:v>5612.4582562150754</c:v>
                </c:pt>
                <c:pt idx="2300">
                  <c:v>5504.9629055877813</c:v>
                </c:pt>
                <c:pt idx="2301">
                  <c:v>5345.2373384768553</c:v>
                </c:pt>
                <c:pt idx="2302">
                  <c:v>5407.046442668302</c:v>
                </c:pt>
                <c:pt idx="2303">
                  <c:v>5360.8495206327516</c:v>
                </c:pt>
                <c:pt idx="2304">
                  <c:v>5274.6986697142474</c:v>
                </c:pt>
                <c:pt idx="2305">
                  <c:v>5328.7927202120063</c:v>
                </c:pt>
                <c:pt idx="2306">
                  <c:v>5493.0037764181834</c:v>
                </c:pt>
                <c:pt idx="2307">
                  <c:v>5763.120657777743</c:v>
                </c:pt>
                <c:pt idx="2308">
                  <c:v>6051.1577737967118</c:v>
                </c:pt>
                <c:pt idx="2309">
                  <c:v>6131.6377570281184</c:v>
                </c:pt>
                <c:pt idx="2310">
                  <c:v>5956.0690536587244</c:v>
                </c:pt>
                <c:pt idx="2311">
                  <c:v>5625.0645485319565</c:v>
                </c:pt>
                <c:pt idx="2312">
                  <c:v>5567.4095242884878</c:v>
                </c:pt>
                <c:pt idx="2313">
                  <c:v>5542.9427406046434</c:v>
                </c:pt>
                <c:pt idx="2314">
                  <c:v>5418.8863469978714</c:v>
                </c:pt>
                <c:pt idx="2315">
                  <c:v>5047.458162466125</c:v>
                </c:pt>
                <c:pt idx="2316">
                  <c:v>4745.4837340707663</c:v>
                </c:pt>
                <c:pt idx="2317">
                  <c:v>4882.2318762395043</c:v>
                </c:pt>
                <c:pt idx="2318">
                  <c:v>4984.6304738918489</c:v>
                </c:pt>
                <c:pt idx="2319">
                  <c:v>5118.3011783216507</c:v>
                </c:pt>
                <c:pt idx="2320">
                  <c:v>5210.4452378837141</c:v>
                </c:pt>
                <c:pt idx="2321">
                  <c:v>5892.0866306106464</c:v>
                </c:pt>
                <c:pt idx="2322">
                  <c:v>5821.7808385796134</c:v>
                </c:pt>
                <c:pt idx="2323">
                  <c:v>5576.6571076899181</c:v>
                </c:pt>
                <c:pt idx="2324">
                  <c:v>5512.7770956243694</c:v>
                </c:pt>
                <c:pt idx="2325">
                  <c:v>5343.701268750985</c:v>
                </c:pt>
                <c:pt idx="2326">
                  <c:v>5238.0162046539963</c:v>
                </c:pt>
                <c:pt idx="2327">
                  <c:v>5187.6247471926035</c:v>
                </c:pt>
                <c:pt idx="2328">
                  <c:v>5219.8707570227543</c:v>
                </c:pt>
                <c:pt idx="2329">
                  <c:v>5172.8065802362862</c:v>
                </c:pt>
                <c:pt idx="2330">
                  <c:v>5297.4597882457138</c:v>
                </c:pt>
                <c:pt idx="2331">
                  <c:v>5814.1145397214204</c:v>
                </c:pt>
                <c:pt idx="2332">
                  <c:v>6228.9521618623776</c:v>
                </c:pt>
                <c:pt idx="2333">
                  <c:v>6173.5245314400809</c:v>
                </c:pt>
                <c:pt idx="2334">
                  <c:v>5763.4605661355881</c:v>
                </c:pt>
                <c:pt idx="2335">
                  <c:v>5228.7645684969684</c:v>
                </c:pt>
                <c:pt idx="2336">
                  <c:v>4996.7762307639705</c:v>
                </c:pt>
                <c:pt idx="2337">
                  <c:v>4758.2432688197277</c:v>
                </c:pt>
                <c:pt idx="2338">
                  <c:v>4684.3180902866798</c:v>
                </c:pt>
                <c:pt idx="2339">
                  <c:v>4633.9176323442152</c:v>
                </c:pt>
                <c:pt idx="2340">
                  <c:v>4516.8789006694042</c:v>
                </c:pt>
                <c:pt idx="2341">
                  <c:v>4572.3324448106969</c:v>
                </c:pt>
                <c:pt idx="2342">
                  <c:v>4482.3400184227257</c:v>
                </c:pt>
                <c:pt idx="2343">
                  <c:v>4791.0892251740779</c:v>
                </c:pt>
                <c:pt idx="2344">
                  <c:v>4912.0801350873944</c:v>
                </c:pt>
                <c:pt idx="2345">
                  <c:v>5427.9519937804926</c:v>
                </c:pt>
                <c:pt idx="2346">
                  <c:v>5582.1055084720001</c:v>
                </c:pt>
                <c:pt idx="2347">
                  <c:v>5587.2066183503339</c:v>
                </c:pt>
                <c:pt idx="2348">
                  <c:v>5804.6604033881786</c:v>
                </c:pt>
                <c:pt idx="2349">
                  <c:v>5675.0988797037453</c:v>
                </c:pt>
                <c:pt idx="2350">
                  <c:v>5630.5369808114574</c:v>
                </c:pt>
                <c:pt idx="2351">
                  <c:v>5491.7676477376826</c:v>
                </c:pt>
                <c:pt idx="2352">
                  <c:v>5099.8700278021679</c:v>
                </c:pt>
                <c:pt idx="2353">
                  <c:v>5126.0789781950371</c:v>
                </c:pt>
                <c:pt idx="2354">
                  <c:v>5215.1816396196464</c:v>
                </c:pt>
                <c:pt idx="2355">
                  <c:v>5692.136266714253</c:v>
                </c:pt>
                <c:pt idx="2356">
                  <c:v>5924.1090841734231</c:v>
                </c:pt>
                <c:pt idx="2357">
                  <c:v>6021.2643438151572</c:v>
                </c:pt>
                <c:pt idx="2358">
                  <c:v>5774.8593535187238</c:v>
                </c:pt>
                <c:pt idx="2359">
                  <c:v>6074.3608916854246</c:v>
                </c:pt>
                <c:pt idx="2360">
                  <c:v>6178.3268502465426</c:v>
                </c:pt>
                <c:pt idx="2361">
                  <c:v>6120.9344251265493</c:v>
                </c:pt>
                <c:pt idx="2362">
                  <c:v>6017.7516007005006</c:v>
                </c:pt>
                <c:pt idx="2363">
                  <c:v>6043.9746385417193</c:v>
                </c:pt>
                <c:pt idx="2364">
                  <c:v>6019.595429762584</c:v>
                </c:pt>
                <c:pt idx="2365">
                  <c:v>6084.8669206794111</c:v>
                </c:pt>
                <c:pt idx="2366">
                  <c:v>6189.4109729920256</c:v>
                </c:pt>
                <c:pt idx="2367">
                  <c:v>6199.7064902185675</c:v>
                </c:pt>
                <c:pt idx="2368">
                  <c:v>5966.7495826670356</c:v>
                </c:pt>
                <c:pt idx="2369">
                  <c:v>5869.5747691074966</c:v>
                </c:pt>
                <c:pt idx="2370">
                  <c:v>5884.6832421223162</c:v>
                </c:pt>
                <c:pt idx="2371">
                  <c:v>5530.9810395569993</c:v>
                </c:pt>
                <c:pt idx="2372">
                  <c:v>5341.1512178125477</c:v>
                </c:pt>
                <c:pt idx="2373">
                  <c:v>5124.9104413090499</c:v>
                </c:pt>
                <c:pt idx="2374">
                  <c:v>4956.1424726062578</c:v>
                </c:pt>
                <c:pt idx="2375">
                  <c:v>4921.232684045689</c:v>
                </c:pt>
                <c:pt idx="2376">
                  <c:v>4983.311493607086</c:v>
                </c:pt>
                <c:pt idx="2377">
                  <c:v>4982.1470291343649</c:v>
                </c:pt>
                <c:pt idx="2378">
                  <c:v>4999.5243223185335</c:v>
                </c:pt>
                <c:pt idx="2379">
                  <c:v>5096.79731773205</c:v>
                </c:pt>
                <c:pt idx="2380">
                  <c:v>5337.5829254083537</c:v>
                </c:pt>
                <c:pt idx="2381">
                  <c:v>5435.1884198775479</c:v>
                </c:pt>
                <c:pt idx="2382">
                  <c:v>5518.6119115271977</c:v>
                </c:pt>
                <c:pt idx="2383">
                  <c:v>5511.3514561169077</c:v>
                </c:pt>
                <c:pt idx="2384">
                  <c:v>5959.0997962487872</c:v>
                </c:pt>
                <c:pt idx="2385">
                  <c:v>5837.9772105478369</c:v>
                </c:pt>
                <c:pt idx="2386">
                  <c:v>5213.7812198063411</c:v>
                </c:pt>
                <c:pt idx="2387">
                  <c:v>5593.6820339239866</c:v>
                </c:pt>
                <c:pt idx="2388">
                  <c:v>5416.4949427116908</c:v>
                </c:pt>
                <c:pt idx="2389">
                  <c:v>5192.6296917659256</c:v>
                </c:pt>
                <c:pt idx="2390">
                  <c:v>5261.6415583003727</c:v>
                </c:pt>
                <c:pt idx="2391">
                  <c:v>5325.3110908152075</c:v>
                </c:pt>
                <c:pt idx="2392">
                  <c:v>5517.6081637682355</c:v>
                </c:pt>
                <c:pt idx="2393">
                  <c:v>5633.3490100187337</c:v>
                </c:pt>
                <c:pt idx="2394">
                  <c:v>5720.716193255379</c:v>
                </c:pt>
                <c:pt idx="2395">
                  <c:v>5793.7901232925378</c:v>
                </c:pt>
                <c:pt idx="2396">
                  <c:v>5594.1991616067035</c:v>
                </c:pt>
                <c:pt idx="2397">
                  <c:v>5433.2867230133616</c:v>
                </c:pt>
                <c:pt idx="2398">
                  <c:v>5322.321159725193</c:v>
                </c:pt>
                <c:pt idx="2399">
                  <c:v>5270.4661895314011</c:v>
                </c:pt>
                <c:pt idx="2400">
                  <c:v>5206.4671612155089</c:v>
                </c:pt>
                <c:pt idx="2401">
                  <c:v>5174.186748830668</c:v>
                </c:pt>
                <c:pt idx="2402">
                  <c:v>5209.0415112140508</c:v>
                </c:pt>
                <c:pt idx="2403">
                  <c:v>5234.6286339156059</c:v>
                </c:pt>
                <c:pt idx="2404">
                  <c:v>5206.8103709692514</c:v>
                </c:pt>
                <c:pt idx="2405">
                  <c:v>5095.4733624194996</c:v>
                </c:pt>
                <c:pt idx="2406">
                  <c:v>5085.6978953154439</c:v>
                </c:pt>
                <c:pt idx="2407">
                  <c:v>4931.3292121736913</c:v>
                </c:pt>
                <c:pt idx="2408">
                  <c:v>4858.7147948365809</c:v>
                </c:pt>
                <c:pt idx="2409">
                  <c:v>4752.7669000924889</c:v>
                </c:pt>
                <c:pt idx="2410">
                  <c:v>4632.4226504178187</c:v>
                </c:pt>
                <c:pt idx="2411">
                  <c:v>4517.579426190815</c:v>
                </c:pt>
                <c:pt idx="2412">
                  <c:v>4239.1494312033155</c:v>
                </c:pt>
                <c:pt idx="2413">
                  <c:v>4084.1633389768663</c:v>
                </c:pt>
                <c:pt idx="2414">
                  <c:v>3949.7354053942504</c:v>
                </c:pt>
                <c:pt idx="2415">
                  <c:v>4025.4178269745125</c:v>
                </c:pt>
                <c:pt idx="2416">
                  <c:v>4526.5818697529894</c:v>
                </c:pt>
                <c:pt idx="2417">
                  <c:v>5336.0501254076953</c:v>
                </c:pt>
                <c:pt idx="2418">
                  <c:v>5333.3949206961915</c:v>
                </c:pt>
                <c:pt idx="2419">
                  <c:v>4929.6913785301522</c:v>
                </c:pt>
                <c:pt idx="2420">
                  <c:v>4629.9233888833696</c:v>
                </c:pt>
                <c:pt idx="2421">
                  <c:v>4326.1089002374529</c:v>
                </c:pt>
                <c:pt idx="2422">
                  <c:v>4623.4376535807987</c:v>
                </c:pt>
                <c:pt idx="2423">
                  <c:v>4475.887271414942</c:v>
                </c:pt>
                <c:pt idx="2424">
                  <c:v>4432.8171098419689</c:v>
                </c:pt>
                <c:pt idx="2425">
                  <c:v>4351.9868652149726</c:v>
                </c:pt>
                <c:pt idx="2426">
                  <c:v>4578.7779643497261</c:v>
                </c:pt>
                <c:pt idx="2427">
                  <c:v>5062.0273279437915</c:v>
                </c:pt>
                <c:pt idx="2428">
                  <c:v>5224.801936748202</c:v>
                </c:pt>
                <c:pt idx="2429">
                  <c:v>4835.2857393726053</c:v>
                </c:pt>
                <c:pt idx="2430">
                  <c:v>4549.3270005949998</c:v>
                </c:pt>
                <c:pt idx="2431">
                  <c:v>3991.2471109814192</c:v>
                </c:pt>
                <c:pt idx="2432">
                  <c:v>4027.2997487721441</c:v>
                </c:pt>
                <c:pt idx="2433">
                  <c:v>3905.7840965605342</c:v>
                </c:pt>
                <c:pt idx="2434">
                  <c:v>3567.0015289121129</c:v>
                </c:pt>
                <c:pt idx="2435">
                  <c:v>3342.8656585148992</c:v>
                </c:pt>
                <c:pt idx="2436">
                  <c:v>3268.8937777343785</c:v>
                </c:pt>
                <c:pt idx="2437">
                  <c:v>3281.6867698318943</c:v>
                </c:pt>
                <c:pt idx="2438">
                  <c:v>3390.9938829526291</c:v>
                </c:pt>
                <c:pt idx="2439">
                  <c:v>3563.4263803506456</c:v>
                </c:pt>
                <c:pt idx="2440">
                  <c:v>3757.0484046046645</c:v>
                </c:pt>
                <c:pt idx="2441">
                  <c:v>4050.0698546795711</c:v>
                </c:pt>
                <c:pt idx="2442">
                  <c:v>4221.9889031087559</c:v>
                </c:pt>
                <c:pt idx="2443">
                  <c:v>3957.2032082337078</c:v>
                </c:pt>
                <c:pt idx="2444">
                  <c:v>3872.9668327547724</c:v>
                </c:pt>
                <c:pt idx="2445">
                  <c:v>3805.7634797383134</c:v>
                </c:pt>
                <c:pt idx="2446">
                  <c:v>3759.9326555329853</c:v>
                </c:pt>
                <c:pt idx="2447">
                  <c:v>3787.6271232318277</c:v>
                </c:pt>
                <c:pt idx="2448">
                  <c:v>3922.1553354861921</c:v>
                </c:pt>
                <c:pt idx="2449">
                  <c:v>4009.8891025342623</c:v>
                </c:pt>
                <c:pt idx="2450">
                  <c:v>4180.8825986719921</c:v>
                </c:pt>
                <c:pt idx="2451">
                  <c:v>4466.5266990221662</c:v>
                </c:pt>
                <c:pt idx="2452">
                  <c:v>4981.0854184877153</c:v>
                </c:pt>
                <c:pt idx="2453">
                  <c:v>5092.7785131088795</c:v>
                </c:pt>
                <c:pt idx="2454">
                  <c:v>4874.9937666817232</c:v>
                </c:pt>
                <c:pt idx="2455">
                  <c:v>4888.2989747755382</c:v>
                </c:pt>
                <c:pt idx="2456">
                  <c:v>4875.9348539902567</c:v>
                </c:pt>
                <c:pt idx="2457">
                  <c:v>4431.5694382888487</c:v>
                </c:pt>
                <c:pt idx="2458">
                  <c:v>4244.9683254882893</c:v>
                </c:pt>
                <c:pt idx="2459">
                  <c:v>4327.955738014618</c:v>
                </c:pt>
                <c:pt idx="2460">
                  <c:v>4378.6972930577131</c:v>
                </c:pt>
                <c:pt idx="2461">
                  <c:v>4488.9420954408897</c:v>
                </c:pt>
                <c:pt idx="2462">
                  <c:v>4534.5813185540419</c:v>
                </c:pt>
                <c:pt idx="2463">
                  <c:v>4754.0400933033661</c:v>
                </c:pt>
                <c:pt idx="2464">
                  <c:v>5097.6987582572801</c:v>
                </c:pt>
                <c:pt idx="2465">
                  <c:v>5163.5193271176086</c:v>
                </c:pt>
                <c:pt idx="2466">
                  <c:v>5183.4137681286484</c:v>
                </c:pt>
                <c:pt idx="2467">
                  <c:v>5071.6546221095659</c:v>
                </c:pt>
                <c:pt idx="2468">
                  <c:v>4850.7221530486358</c:v>
                </c:pt>
                <c:pt idx="2469">
                  <c:v>4784.6046644170865</c:v>
                </c:pt>
                <c:pt idx="2470">
                  <c:v>4872.8802295194582</c:v>
                </c:pt>
                <c:pt idx="2471">
                  <c:v>4913.9669134207688</c:v>
                </c:pt>
                <c:pt idx="2472">
                  <c:v>5059.435888334373</c:v>
                </c:pt>
                <c:pt idx="2473">
                  <c:v>5159.3556116367172</c:v>
                </c:pt>
                <c:pt idx="2474">
                  <c:v>5316.9625147567194</c:v>
                </c:pt>
                <c:pt idx="2475">
                  <c:v>5696.5498770055319</c:v>
                </c:pt>
                <c:pt idx="2476">
                  <c:v>6170.3196983704138</c:v>
                </c:pt>
                <c:pt idx="2477">
                  <c:v>6083.9739820949853</c:v>
                </c:pt>
                <c:pt idx="2478">
                  <c:v>5971.0396226818748</c:v>
                </c:pt>
                <c:pt idx="2479">
                  <c:v>5792.0503215100152</c:v>
                </c:pt>
                <c:pt idx="2480">
                  <c:v>5449.2132378107644</c:v>
                </c:pt>
                <c:pt idx="2481">
                  <c:v>4864.1415721854019</c:v>
                </c:pt>
                <c:pt idx="2482">
                  <c:v>4390.8570172480004</c:v>
                </c:pt>
                <c:pt idx="2483">
                  <c:v>4569.0303647183082</c:v>
                </c:pt>
                <c:pt idx="2484">
                  <c:v>4690.7580718241907</c:v>
                </c:pt>
                <c:pt idx="2485">
                  <c:v>4618.060015484064</c:v>
                </c:pt>
                <c:pt idx="2486">
                  <c:v>4516.3018176495998</c:v>
                </c:pt>
                <c:pt idx="2487">
                  <c:v>4348.2833657417577</c:v>
                </c:pt>
                <c:pt idx="2488">
                  <c:v>4530.0341682730805</c:v>
                </c:pt>
                <c:pt idx="2489">
                  <c:v>4782.7781417462602</c:v>
                </c:pt>
                <c:pt idx="2490">
                  <c:v>4906.2065089441867</c:v>
                </c:pt>
                <c:pt idx="2491">
                  <c:v>4899.1792125714055</c:v>
                </c:pt>
                <c:pt idx="2492">
                  <c:v>4975.2537068580714</c:v>
                </c:pt>
                <c:pt idx="2493">
                  <c:v>4988.6679134369106</c:v>
                </c:pt>
                <c:pt idx="2494">
                  <c:v>4929.4670572519199</c:v>
                </c:pt>
                <c:pt idx="2495">
                  <c:v>4985.466654240241</c:v>
                </c:pt>
                <c:pt idx="2496">
                  <c:v>5152.1762266276755</c:v>
                </c:pt>
                <c:pt idx="2497">
                  <c:v>5331.4656714280791</c:v>
                </c:pt>
                <c:pt idx="2498">
                  <c:v>5537.6628333276476</c:v>
                </c:pt>
                <c:pt idx="2499">
                  <c:v>6030.1119537663499</c:v>
                </c:pt>
                <c:pt idx="2500">
                  <c:v>6027.6046293123172</c:v>
                </c:pt>
                <c:pt idx="2501">
                  <c:v>5876.3506630360698</c:v>
                </c:pt>
                <c:pt idx="2502">
                  <c:v>5292.9964511565368</c:v>
                </c:pt>
                <c:pt idx="2503">
                  <c:v>4725.6883376668493</c:v>
                </c:pt>
                <c:pt idx="2504">
                  <c:v>4595.9845913106037</c:v>
                </c:pt>
                <c:pt idx="2505">
                  <c:v>4302.58281070881</c:v>
                </c:pt>
                <c:pt idx="2506">
                  <c:v>4155.0675600694476</c:v>
                </c:pt>
                <c:pt idx="2507">
                  <c:v>3980.5109453161635</c:v>
                </c:pt>
                <c:pt idx="2508">
                  <c:v>4101.3513577721214</c:v>
                </c:pt>
                <c:pt idx="2509">
                  <c:v>4089.6902841500378</c:v>
                </c:pt>
                <c:pt idx="2510">
                  <c:v>4104.7287682271099</c:v>
                </c:pt>
                <c:pt idx="2511">
                  <c:v>4136.3435114097028</c:v>
                </c:pt>
                <c:pt idx="2512">
                  <c:v>4303.2882304431578</c:v>
                </c:pt>
                <c:pt idx="2513">
                  <c:v>4711.6881147508284</c:v>
                </c:pt>
                <c:pt idx="2514">
                  <c:v>4933.912746670906</c:v>
                </c:pt>
                <c:pt idx="2515">
                  <c:v>4940.3390077031763</c:v>
                </c:pt>
                <c:pt idx="2516">
                  <c:v>4805.2638612830633</c:v>
                </c:pt>
                <c:pt idx="2517">
                  <c:v>4761.7694463113676</c:v>
                </c:pt>
                <c:pt idx="2518">
                  <c:v>4692.1521558623408</c:v>
                </c:pt>
                <c:pt idx="2519">
                  <c:v>4714.3623196891931</c:v>
                </c:pt>
                <c:pt idx="2520">
                  <c:v>4769.0116086247463</c:v>
                </c:pt>
                <c:pt idx="2521">
                  <c:v>4846.6580134779124</c:v>
                </c:pt>
                <c:pt idx="2522">
                  <c:v>5123.9271713782227</c:v>
                </c:pt>
                <c:pt idx="2523">
                  <c:v>5482.3923768707527</c:v>
                </c:pt>
                <c:pt idx="2524">
                  <c:v>5728.0768536211672</c:v>
                </c:pt>
                <c:pt idx="2525">
                  <c:v>5174.3917105835753</c:v>
                </c:pt>
                <c:pt idx="2526">
                  <c:v>4720.7188888328992</c:v>
                </c:pt>
                <c:pt idx="2527">
                  <c:v>4074.9276916013864</c:v>
                </c:pt>
                <c:pt idx="2528">
                  <c:v>3952.8820233763713</c:v>
                </c:pt>
                <c:pt idx="2529">
                  <c:v>3736.5464423152275</c:v>
                </c:pt>
                <c:pt idx="2530">
                  <c:v>3447.9524404367935</c:v>
                </c:pt>
                <c:pt idx="2531">
                  <c:v>3209.8502609668162</c:v>
                </c:pt>
                <c:pt idx="2532">
                  <c:v>3149.0998908501388</c:v>
                </c:pt>
                <c:pt idx="2533">
                  <c:v>3055.0231615859748</c:v>
                </c:pt>
                <c:pt idx="2534">
                  <c:v>3009.2863436186103</c:v>
                </c:pt>
                <c:pt idx="2535">
                  <c:v>3191.9497374865427</c:v>
                </c:pt>
                <c:pt idx="2536">
                  <c:v>3459.136027698999</c:v>
                </c:pt>
                <c:pt idx="2537">
                  <c:v>3654.3695044619326</c:v>
                </c:pt>
                <c:pt idx="2538">
                  <c:v>3931.7187635313185</c:v>
                </c:pt>
                <c:pt idx="2539">
                  <c:v>3767.8497884011931</c:v>
                </c:pt>
                <c:pt idx="2540">
                  <c:v>3921.7917958828607</c:v>
                </c:pt>
                <c:pt idx="2541">
                  <c:v>3818.3917935562035</c:v>
                </c:pt>
                <c:pt idx="2542">
                  <c:v>3898.8020903595093</c:v>
                </c:pt>
                <c:pt idx="2543">
                  <c:v>3988.9509972340875</c:v>
                </c:pt>
                <c:pt idx="2544">
                  <c:v>4033.8279315294621</c:v>
                </c:pt>
                <c:pt idx="2545">
                  <c:v>4200.8198316929911</c:v>
                </c:pt>
                <c:pt idx="2546">
                  <c:v>4417.4843914493513</c:v>
                </c:pt>
                <c:pt idx="2547">
                  <c:v>4594.5190352729705</c:v>
                </c:pt>
                <c:pt idx="2548">
                  <c:v>4436.5324459607091</c:v>
                </c:pt>
                <c:pt idx="2549">
                  <c:v>4135.1190086008564</c:v>
                </c:pt>
                <c:pt idx="2550">
                  <c:v>3557.6153092709328</c:v>
                </c:pt>
                <c:pt idx="2551">
                  <c:v>3348.612859651641</c:v>
                </c:pt>
                <c:pt idx="2552">
                  <c:v>3005.0182967103738</c:v>
                </c:pt>
                <c:pt idx="2553">
                  <c:v>2930.2402714039335</c:v>
                </c:pt>
                <c:pt idx="2554">
                  <c:v>2829.5761139055471</c:v>
                </c:pt>
                <c:pt idx="2555">
                  <c:v>2648.6692930860268</c:v>
                </c:pt>
                <c:pt idx="2556">
                  <c:v>2579.4787896905282</c:v>
                </c:pt>
                <c:pt idx="2557">
                  <c:v>2519.0917019893786</c:v>
                </c:pt>
                <c:pt idx="2558">
                  <c:v>2599.8625979367207</c:v>
                </c:pt>
                <c:pt idx="2559">
                  <c:v>2716.8589809911641</c:v>
                </c:pt>
                <c:pt idx="2560">
                  <c:v>2954.8190677483485</c:v>
                </c:pt>
                <c:pt idx="2561">
                  <c:v>3296.4396738811424</c:v>
                </c:pt>
                <c:pt idx="2562">
                  <c:v>3470.7570411807346</c:v>
                </c:pt>
                <c:pt idx="2563">
                  <c:v>3470.2624946964788</c:v>
                </c:pt>
                <c:pt idx="2564">
                  <c:v>3673.4629862026663</c:v>
                </c:pt>
                <c:pt idx="2565">
                  <c:v>3616.1351829313921</c:v>
                </c:pt>
                <c:pt idx="2566">
                  <c:v>3706.593503116409</c:v>
                </c:pt>
                <c:pt idx="2567">
                  <c:v>3777.8204195494959</c:v>
                </c:pt>
                <c:pt idx="2568">
                  <c:v>3875.3316839017452</c:v>
                </c:pt>
                <c:pt idx="2569">
                  <c:v>3998.8565358417654</c:v>
                </c:pt>
                <c:pt idx="2570">
                  <c:v>4065.9051453448801</c:v>
                </c:pt>
                <c:pt idx="2571">
                  <c:v>4141.7618425144401</c:v>
                </c:pt>
                <c:pt idx="2572">
                  <c:v>3966.6891457570928</c:v>
                </c:pt>
                <c:pt idx="2573">
                  <c:v>3676.9581138638641</c:v>
                </c:pt>
                <c:pt idx="2574">
                  <c:v>3370.5448161677373</c:v>
                </c:pt>
                <c:pt idx="2575">
                  <c:v>3041.2263638485888</c:v>
                </c:pt>
                <c:pt idx="2576">
                  <c:v>2926.8486828569089</c:v>
                </c:pt>
                <c:pt idx="2577">
                  <c:v>2801.1147383833222</c:v>
                </c:pt>
                <c:pt idx="2578">
                  <c:v>2709.7882515500746</c:v>
                </c:pt>
                <c:pt idx="2579">
                  <c:v>2664.2280014743524</c:v>
                </c:pt>
                <c:pt idx="2580">
                  <c:v>2654.712191396336</c:v>
                </c:pt>
                <c:pt idx="2581">
                  <c:v>2658.6231567907653</c:v>
                </c:pt>
                <c:pt idx="2582">
                  <c:v>2710.9314922954236</c:v>
                </c:pt>
                <c:pt idx="2583">
                  <c:v>2875.38828899178</c:v>
                </c:pt>
                <c:pt idx="2584">
                  <c:v>2971.7291118485682</c:v>
                </c:pt>
                <c:pt idx="2585">
                  <c:v>3320.3154880418679</c:v>
                </c:pt>
                <c:pt idx="2586">
                  <c:v>3612.3169067112644</c:v>
                </c:pt>
                <c:pt idx="2587">
                  <c:v>3658.986184455709</c:v>
                </c:pt>
                <c:pt idx="2588">
                  <c:v>3536.6238721752229</c:v>
                </c:pt>
                <c:pt idx="2589">
                  <c:v>3605.0556458826904</c:v>
                </c:pt>
                <c:pt idx="2590">
                  <c:v>3655.7645233313378</c:v>
                </c:pt>
                <c:pt idx="2591">
                  <c:v>3598.4204385977018</c:v>
                </c:pt>
                <c:pt idx="2592">
                  <c:v>3851.8083972287313</c:v>
                </c:pt>
                <c:pt idx="2593">
                  <c:v>4027.1017594843702</c:v>
                </c:pt>
                <c:pt idx="2594">
                  <c:v>4284.3847804575489</c:v>
                </c:pt>
                <c:pt idx="2595">
                  <c:v>4436.05075995878</c:v>
                </c:pt>
                <c:pt idx="2596">
                  <c:v>4682.5665272130209</c:v>
                </c:pt>
                <c:pt idx="2597">
                  <c:v>4348.5817931467982</c:v>
                </c:pt>
                <c:pt idx="2598">
                  <c:v>3839.1771871812957</c:v>
                </c:pt>
                <c:pt idx="2599">
                  <c:v>3435.08403060927</c:v>
                </c:pt>
                <c:pt idx="2600">
                  <c:v>3144.3540638091176</c:v>
                </c:pt>
                <c:pt idx="2601">
                  <c:v>3304.5079813041139</c:v>
                </c:pt>
                <c:pt idx="2602">
                  <c:v>3239.4667968789518</c:v>
                </c:pt>
                <c:pt idx="2603">
                  <c:v>3158.8645096524633</c:v>
                </c:pt>
                <c:pt idx="2604">
                  <c:v>3120.2036615324769</c:v>
                </c:pt>
                <c:pt idx="2605">
                  <c:v>3219.0918132869242</c:v>
                </c:pt>
                <c:pt idx="2606">
                  <c:v>3095.5714296437318</c:v>
                </c:pt>
                <c:pt idx="2607">
                  <c:v>3125.9229935584408</c:v>
                </c:pt>
                <c:pt idx="2608">
                  <c:v>3335.4771284922881</c:v>
                </c:pt>
                <c:pt idx="2609">
                  <c:v>3675.7149493768579</c:v>
                </c:pt>
                <c:pt idx="2610">
                  <c:v>3897.0932974539564</c:v>
                </c:pt>
                <c:pt idx="2611">
                  <c:v>3679.5107694431258</c:v>
                </c:pt>
                <c:pt idx="2612">
                  <c:v>3779.7097937869544</c:v>
                </c:pt>
                <c:pt idx="2613">
                  <c:v>3743.5272963585708</c:v>
                </c:pt>
                <c:pt idx="2614">
                  <c:v>3842.5230356144179</c:v>
                </c:pt>
                <c:pt idx="2615">
                  <c:v>3907.1396188093681</c:v>
                </c:pt>
                <c:pt idx="2616">
                  <c:v>3982.2016602670451</c:v>
                </c:pt>
                <c:pt idx="2617">
                  <c:v>4162.7020473626171</c:v>
                </c:pt>
                <c:pt idx="2618">
                  <c:v>4674.1235981771706</c:v>
                </c:pt>
                <c:pt idx="2619">
                  <c:v>5063.0676848305211</c:v>
                </c:pt>
                <c:pt idx="2620">
                  <c:v>5034.7513899864134</c:v>
                </c:pt>
                <c:pt idx="2621">
                  <c:v>4785.9091859420168</c:v>
                </c:pt>
                <c:pt idx="2622">
                  <c:v>4304.2450165826567</c:v>
                </c:pt>
                <c:pt idx="2623">
                  <c:v>3943.8178121494575</c:v>
                </c:pt>
                <c:pt idx="2624">
                  <c:v>3838.0771938485154</c:v>
                </c:pt>
                <c:pt idx="2625">
                  <c:v>3674.0463476627638</c:v>
                </c:pt>
                <c:pt idx="2626">
                  <c:v>3574.9145019996495</c:v>
                </c:pt>
                <c:pt idx="2627">
                  <c:v>3308.7229241181203</c:v>
                </c:pt>
                <c:pt idx="2628">
                  <c:v>3265.0215674296533</c:v>
                </c:pt>
                <c:pt idx="2629">
                  <c:v>3197.3366894949218</c:v>
                </c:pt>
                <c:pt idx="2630">
                  <c:v>3318.4466784539054</c:v>
                </c:pt>
                <c:pt idx="2631">
                  <c:v>3363.2190645415553</c:v>
                </c:pt>
                <c:pt idx="2632">
                  <c:v>3619.7607392104874</c:v>
                </c:pt>
                <c:pt idx="2633">
                  <c:v>3794.4478901527891</c:v>
                </c:pt>
                <c:pt idx="2634">
                  <c:v>3833.4051076293322</c:v>
                </c:pt>
                <c:pt idx="2635">
                  <c:v>3833.0057899806934</c:v>
                </c:pt>
                <c:pt idx="2636">
                  <c:v>3703.2249058486132</c:v>
                </c:pt>
                <c:pt idx="2637">
                  <c:v>3687.2935143117538</c:v>
                </c:pt>
                <c:pt idx="2638">
                  <c:v>3741.8808712226337</c:v>
                </c:pt>
                <c:pt idx="2639">
                  <c:v>3757.1196319754081</c:v>
                </c:pt>
                <c:pt idx="2640">
                  <c:v>3905.0390305889296</c:v>
                </c:pt>
                <c:pt idx="2641">
                  <c:v>4035.5262316094199</c:v>
                </c:pt>
                <c:pt idx="2642">
                  <c:v>4268.1235092490879</c:v>
                </c:pt>
                <c:pt idx="2643">
                  <c:v>4488.916293661383</c:v>
                </c:pt>
                <c:pt idx="2644">
                  <c:v>4563.4779273738795</c:v>
                </c:pt>
                <c:pt idx="2645">
                  <c:v>4177.0642842286243</c:v>
                </c:pt>
                <c:pt idx="2646">
                  <c:v>3853.8832830500896</c:v>
                </c:pt>
                <c:pt idx="2647">
                  <c:v>3649.9788161020033</c:v>
                </c:pt>
                <c:pt idx="2648">
                  <c:v>3443.9825309830148</c:v>
                </c:pt>
                <c:pt idx="2649">
                  <c:v>3282.0121091285578</c:v>
                </c:pt>
                <c:pt idx="2650">
                  <c:v>3161.1556794966446</c:v>
                </c:pt>
                <c:pt idx="2651">
                  <c:v>3002.5012460797434</c:v>
                </c:pt>
                <c:pt idx="2652">
                  <c:v>2973.041368665306</c:v>
                </c:pt>
                <c:pt idx="2653">
                  <c:v>3017.9867880869333</c:v>
                </c:pt>
                <c:pt idx="2654">
                  <c:v>3214.8874812445115</c:v>
                </c:pt>
                <c:pt idx="2655">
                  <c:v>3390.6570286317078</c:v>
                </c:pt>
                <c:pt idx="2656">
                  <c:v>3846.4885270076279</c:v>
                </c:pt>
                <c:pt idx="2657">
                  <c:v>4328.6007688511218</c:v>
                </c:pt>
                <c:pt idx="2658">
                  <c:v>4419.1166712560298</c:v>
                </c:pt>
                <c:pt idx="2659">
                  <c:v>4276.3334949357159</c:v>
                </c:pt>
                <c:pt idx="2660">
                  <c:v>4141.2074815730412</c:v>
                </c:pt>
                <c:pt idx="2661">
                  <c:v>4055.7851978373542</c:v>
                </c:pt>
                <c:pt idx="2662">
                  <c:v>4070.3546527195576</c:v>
                </c:pt>
                <c:pt idx="2663">
                  <c:v>4127.4814241331042</c:v>
                </c:pt>
                <c:pt idx="2664">
                  <c:v>4167.2290840283222</c:v>
                </c:pt>
                <c:pt idx="2665">
                  <c:v>4310.4250314858782</c:v>
                </c:pt>
                <c:pt idx="2666">
                  <c:v>4493.0075908445624</c:v>
                </c:pt>
                <c:pt idx="2667">
                  <c:v>4623.3868647228574</c:v>
                </c:pt>
                <c:pt idx="2668">
                  <c:v>4705.1925386019375</c:v>
                </c:pt>
                <c:pt idx="2669">
                  <c:v>4585.8119749077441</c:v>
                </c:pt>
                <c:pt idx="2670">
                  <c:v>4114.1248068727582</c:v>
                </c:pt>
                <c:pt idx="2671">
                  <c:v>4165.514427131614</c:v>
                </c:pt>
                <c:pt idx="2672">
                  <c:v>4040.4360882270689</c:v>
                </c:pt>
                <c:pt idx="2673">
                  <c:v>3823.6648288405841</c:v>
                </c:pt>
                <c:pt idx="2674">
                  <c:v>3481.3581734196914</c:v>
                </c:pt>
                <c:pt idx="2675">
                  <c:v>3248.5781406378192</c:v>
                </c:pt>
                <c:pt idx="2676">
                  <c:v>3169.2288112386273</c:v>
                </c:pt>
                <c:pt idx="2677">
                  <c:v>3249.6038394578195</c:v>
                </c:pt>
                <c:pt idx="2678">
                  <c:v>3277.6680722337974</c:v>
                </c:pt>
                <c:pt idx="2679">
                  <c:v>3443.7432627795638</c:v>
                </c:pt>
                <c:pt idx="2680">
                  <c:v>3678.5578564099933</c:v>
                </c:pt>
                <c:pt idx="2681">
                  <c:v>4139.2370888087335</c:v>
                </c:pt>
                <c:pt idx="2682">
                  <c:v>4221.7093355966799</c:v>
                </c:pt>
                <c:pt idx="2683">
                  <c:v>4077.2558784699168</c:v>
                </c:pt>
                <c:pt idx="2684">
                  <c:v>3912.2174086886043</c:v>
                </c:pt>
                <c:pt idx="2685">
                  <c:v>3735.9522139878227</c:v>
                </c:pt>
                <c:pt idx="2686">
                  <c:v>3746.3229299798081</c:v>
                </c:pt>
                <c:pt idx="2687">
                  <c:v>3947.4491330392834</c:v>
                </c:pt>
                <c:pt idx="2688">
                  <c:v>3998.04245398691</c:v>
                </c:pt>
                <c:pt idx="2689">
                  <c:v>3984.3593436340793</c:v>
                </c:pt>
                <c:pt idx="2690">
                  <c:v>4185.1230669660808</c:v>
                </c:pt>
                <c:pt idx="2691">
                  <c:v>5040.8661714690661</c:v>
                </c:pt>
                <c:pt idx="2692">
                  <c:v>5712.7140213214552</c:v>
                </c:pt>
                <c:pt idx="2693">
                  <c:v>5404.4525704226407</c:v>
                </c:pt>
                <c:pt idx="2694">
                  <c:v>5322.6272612648563</c:v>
                </c:pt>
                <c:pt idx="2695">
                  <c:v>5323.3617628788015</c:v>
                </c:pt>
                <c:pt idx="2696">
                  <c:v>5194.834571006284</c:v>
                </c:pt>
                <c:pt idx="2697">
                  <c:v>5137.6102904677937</c:v>
                </c:pt>
                <c:pt idx="2698">
                  <c:v>4636.1775426761769</c:v>
                </c:pt>
                <c:pt idx="2699">
                  <c:v>4627.5941388627043</c:v>
                </c:pt>
                <c:pt idx="2700">
                  <c:v>4815.1938927972797</c:v>
                </c:pt>
                <c:pt idx="2701">
                  <c:v>5282.8039357346133</c:v>
                </c:pt>
                <c:pt idx="2702">
                  <c:v>5282.7516064800748</c:v>
                </c:pt>
                <c:pt idx="2703">
                  <c:v>4993.0077648868237</c:v>
                </c:pt>
                <c:pt idx="2704">
                  <c:v>5180.8407570356212</c:v>
                </c:pt>
                <c:pt idx="2705">
                  <c:v>5332.9005806174355</c:v>
                </c:pt>
                <c:pt idx="2706">
                  <c:v>5299.419316326901</c:v>
                </c:pt>
                <c:pt idx="2707">
                  <c:v>5338.2075526790168</c:v>
                </c:pt>
                <c:pt idx="2708">
                  <c:v>5173.4312708483203</c:v>
                </c:pt>
                <c:pt idx="2709">
                  <c:v>4978.5669279330059</c:v>
                </c:pt>
                <c:pt idx="2710">
                  <c:v>4920.4906710189161</c:v>
                </c:pt>
                <c:pt idx="2711">
                  <c:v>4955.8716997158017</c:v>
                </c:pt>
                <c:pt idx="2712">
                  <c:v>4869.2582547580087</c:v>
                </c:pt>
                <c:pt idx="2713">
                  <c:v>4790.1567610286274</c:v>
                </c:pt>
                <c:pt idx="2714">
                  <c:v>4834.1973773719437</c:v>
                </c:pt>
                <c:pt idx="2715">
                  <c:v>4939.7335362825679</c:v>
                </c:pt>
                <c:pt idx="2716">
                  <c:v>5037.9532591167945</c:v>
                </c:pt>
                <c:pt idx="2717">
                  <c:v>5360.1576499451085</c:v>
                </c:pt>
                <c:pt idx="2718">
                  <c:v>5602.6073735651971</c:v>
                </c:pt>
                <c:pt idx="2719">
                  <c:v>5541.3598343039112</c:v>
                </c:pt>
                <c:pt idx="2720">
                  <c:v>5302.7522016209923</c:v>
                </c:pt>
                <c:pt idx="2721">
                  <c:v>5081.2047730390423</c:v>
                </c:pt>
                <c:pt idx="2722">
                  <c:v>4844.6805849070997</c:v>
                </c:pt>
                <c:pt idx="2723">
                  <c:v>4683.3215345034614</c:v>
                </c:pt>
                <c:pt idx="2724">
                  <c:v>4952.6933231351477</c:v>
                </c:pt>
                <c:pt idx="2725">
                  <c:v>4758.5268563246236</c:v>
                </c:pt>
                <c:pt idx="2726">
                  <c:v>5355.5603130952677</c:v>
                </c:pt>
                <c:pt idx="2727">
                  <c:v>5335.5709774289426</c:v>
                </c:pt>
                <c:pt idx="2728">
                  <c:v>5313.4066181494563</c:v>
                </c:pt>
                <c:pt idx="2729">
                  <c:v>5348.3433682918612</c:v>
                </c:pt>
                <c:pt idx="2730">
                  <c:v>5394.113774112845</c:v>
                </c:pt>
                <c:pt idx="2731">
                  <c:v>5128.8026986113846</c:v>
                </c:pt>
                <c:pt idx="2732">
                  <c:v>5002.4483079436104</c:v>
                </c:pt>
                <c:pt idx="2733">
                  <c:v>4804.3895456075115</c:v>
                </c:pt>
                <c:pt idx="2734">
                  <c:v>4763.2659669962213</c:v>
                </c:pt>
                <c:pt idx="2735">
                  <c:v>4717.8166757117215</c:v>
                </c:pt>
                <c:pt idx="2736">
                  <c:v>4676.8039920042374</c:v>
                </c:pt>
                <c:pt idx="2737">
                  <c:v>4680.0273535167689</c:v>
                </c:pt>
                <c:pt idx="2738">
                  <c:v>4716.944540399023</c:v>
                </c:pt>
                <c:pt idx="2739">
                  <c:v>4848.9020977501214</c:v>
                </c:pt>
                <c:pt idx="2740">
                  <c:v>4996.0559771359867</c:v>
                </c:pt>
                <c:pt idx="2741">
                  <c:v>4951.6397814145921</c:v>
                </c:pt>
                <c:pt idx="2742">
                  <c:v>4985.5944492768604</c:v>
                </c:pt>
                <c:pt idx="2743">
                  <c:v>4958.9027715717802</c:v>
                </c:pt>
                <c:pt idx="2744">
                  <c:v>4835.382543005735</c:v>
                </c:pt>
                <c:pt idx="2745">
                  <c:v>4589.069188560301</c:v>
                </c:pt>
                <c:pt idx="2746">
                  <c:v>4598.2928988177373</c:v>
                </c:pt>
                <c:pt idx="2747">
                  <c:v>4222.7887539050844</c:v>
                </c:pt>
                <c:pt idx="2748">
                  <c:v>4295.6228221864703</c:v>
                </c:pt>
                <c:pt idx="2749">
                  <c:v>4478.1431906945381</c:v>
                </c:pt>
                <c:pt idx="2750">
                  <c:v>4604.5111702703962</c:v>
                </c:pt>
                <c:pt idx="2751">
                  <c:v>5017.9198285740513</c:v>
                </c:pt>
                <c:pt idx="2752">
                  <c:v>5348.5099315232965</c:v>
                </c:pt>
                <c:pt idx="2753">
                  <c:v>5574.0941902626437</c:v>
                </c:pt>
                <c:pt idx="2754">
                  <c:v>5702.3909615198199</c:v>
                </c:pt>
                <c:pt idx="2755">
                  <c:v>5751.4414373991549</c:v>
                </c:pt>
                <c:pt idx="2756">
                  <c:v>5654.0548943889335</c:v>
                </c:pt>
                <c:pt idx="2757">
                  <c:v>5422.3386766426001</c:v>
                </c:pt>
                <c:pt idx="2758">
                  <c:v>5217.0300909636117</c:v>
                </c:pt>
                <c:pt idx="2759">
                  <c:v>5203.4321589183028</c:v>
                </c:pt>
                <c:pt idx="2760">
                  <c:v>5171.2924053286852</c:v>
                </c:pt>
                <c:pt idx="2761">
                  <c:v>5091.0810801504367</c:v>
                </c:pt>
                <c:pt idx="2762">
                  <c:v>5101.403550222074</c:v>
                </c:pt>
                <c:pt idx="2763">
                  <c:v>5371.1905912253642</c:v>
                </c:pt>
                <c:pt idx="2764">
                  <c:v>5572.8120244190559</c:v>
                </c:pt>
                <c:pt idx="2765">
                  <c:v>5593.425299337714</c:v>
                </c:pt>
                <c:pt idx="2766">
                  <c:v>5633.5774812488035</c:v>
                </c:pt>
                <c:pt idx="2767">
                  <c:v>5502.0414159403163</c:v>
                </c:pt>
                <c:pt idx="2768">
                  <c:v>5261.4115919955484</c:v>
                </c:pt>
                <c:pt idx="2769">
                  <c:v>5216.739865719961</c:v>
                </c:pt>
                <c:pt idx="2770">
                  <c:v>5242.1583283723112</c:v>
                </c:pt>
                <c:pt idx="2771">
                  <c:v>5072.0872584110002</c:v>
                </c:pt>
                <c:pt idx="2772">
                  <c:v>5029.9473134569298</c:v>
                </c:pt>
                <c:pt idx="2773">
                  <c:v>5219.3962837463296</c:v>
                </c:pt>
                <c:pt idx="2774">
                  <c:v>5172.4370412223161</c:v>
                </c:pt>
                <c:pt idx="2775">
                  <c:v>5196.8544552225385</c:v>
                </c:pt>
                <c:pt idx="2776">
                  <c:v>5333.6809533963942</c:v>
                </c:pt>
                <c:pt idx="2777">
                  <c:v>5438.2990184618993</c:v>
                </c:pt>
                <c:pt idx="2778">
                  <c:v>5451.7297025337211</c:v>
                </c:pt>
                <c:pt idx="2779">
                  <c:v>5252.3958975279447</c:v>
                </c:pt>
                <c:pt idx="2780">
                  <c:v>5069.8253211551937</c:v>
                </c:pt>
                <c:pt idx="2781">
                  <c:v>4939.2460092234278</c:v>
                </c:pt>
                <c:pt idx="2782">
                  <c:v>4806.4914629046298</c:v>
                </c:pt>
                <c:pt idx="2783">
                  <c:v>4732.3816224357179</c:v>
                </c:pt>
                <c:pt idx="2784">
                  <c:v>4702.3302441951173</c:v>
                </c:pt>
                <c:pt idx="2785">
                  <c:v>4763.7311121637977</c:v>
                </c:pt>
                <c:pt idx="2786">
                  <c:v>5017.9207666815855</c:v>
                </c:pt>
                <c:pt idx="2787">
                  <c:v>5314.5344543827914</c:v>
                </c:pt>
                <c:pt idx="2788">
                  <c:v>5578.7618868156669</c:v>
                </c:pt>
                <c:pt idx="2789">
                  <c:v>5662.3626775129478</c:v>
                </c:pt>
                <c:pt idx="2790">
                  <c:v>5569.7383298274699</c:v>
                </c:pt>
                <c:pt idx="2791">
                  <c:v>5202.1719534185386</c:v>
                </c:pt>
                <c:pt idx="2792">
                  <c:v>4924.5822696196501</c:v>
                </c:pt>
                <c:pt idx="2793">
                  <c:v>4983.3762175664633</c:v>
                </c:pt>
                <c:pt idx="2794">
                  <c:v>4935.7401948902007</c:v>
                </c:pt>
                <c:pt idx="2795">
                  <c:v>5105.9458112045158</c:v>
                </c:pt>
                <c:pt idx="2796">
                  <c:v>4777.1923087565083</c:v>
                </c:pt>
                <c:pt idx="2797">
                  <c:v>4734.2636922118954</c:v>
                </c:pt>
                <c:pt idx="2798">
                  <c:v>5006.1662869264155</c:v>
                </c:pt>
                <c:pt idx="2799">
                  <c:v>5100.04997025991</c:v>
                </c:pt>
                <c:pt idx="2800">
                  <c:v>5232.0244179149886</c:v>
                </c:pt>
                <c:pt idx="2801">
                  <c:v>5305.756696311727</c:v>
                </c:pt>
                <c:pt idx="2802">
                  <c:v>5295.9209861041863</c:v>
                </c:pt>
                <c:pt idx="2803">
                  <c:v>5190.0083484772358</c:v>
                </c:pt>
                <c:pt idx="2804">
                  <c:v>5060.7310975857972</c:v>
                </c:pt>
                <c:pt idx="2805">
                  <c:v>4938.4124105819155</c:v>
                </c:pt>
                <c:pt idx="2806">
                  <c:v>4948.0609907243397</c:v>
                </c:pt>
                <c:pt idx="2807">
                  <c:v>5034.4583416834193</c:v>
                </c:pt>
                <c:pt idx="2808">
                  <c:v>4996.7416005079749</c:v>
                </c:pt>
                <c:pt idx="2809">
                  <c:v>5282.2038324951272</c:v>
                </c:pt>
                <c:pt idx="2810">
                  <c:v>5604.3818602083456</c:v>
                </c:pt>
                <c:pt idx="2811">
                  <c:v>5915.070778474812</c:v>
                </c:pt>
                <c:pt idx="2812">
                  <c:v>5909.414000966297</c:v>
                </c:pt>
                <c:pt idx="2813">
                  <c:v>5602.3488970912449</c:v>
                </c:pt>
                <c:pt idx="2814">
                  <c:v>5109.0551997502798</c:v>
                </c:pt>
                <c:pt idx="2815">
                  <c:v>4759.2224772582167</c:v>
                </c:pt>
                <c:pt idx="2816">
                  <c:v>4579.5721362645918</c:v>
                </c:pt>
                <c:pt idx="2817">
                  <c:v>4549.5323871719247</c:v>
                </c:pt>
                <c:pt idx="2818">
                  <c:v>4556.1394343034617</c:v>
                </c:pt>
                <c:pt idx="2819">
                  <c:v>4425.7951199470772</c:v>
                </c:pt>
                <c:pt idx="2820">
                  <c:v>4307.9210734072503</c:v>
                </c:pt>
                <c:pt idx="2821">
                  <c:v>4558.7178124855172</c:v>
                </c:pt>
                <c:pt idx="2822">
                  <c:v>4529.2030017217639</c:v>
                </c:pt>
                <c:pt idx="2823">
                  <c:v>4952.6027558967462</c:v>
                </c:pt>
                <c:pt idx="2824">
                  <c:v>5117.2293380437213</c:v>
                </c:pt>
                <c:pt idx="2825">
                  <c:v>5338.077761297146</c:v>
                </c:pt>
                <c:pt idx="2826">
                  <c:v>5427.3027086973088</c:v>
                </c:pt>
                <c:pt idx="2827">
                  <c:v>5297.3664978744418</c:v>
                </c:pt>
                <c:pt idx="2828">
                  <c:v>5124.02453689299</c:v>
                </c:pt>
                <c:pt idx="2829">
                  <c:v>5113.4190013367152</c:v>
                </c:pt>
                <c:pt idx="2830">
                  <c:v>5209.8533777590883</c:v>
                </c:pt>
                <c:pt idx="2831">
                  <c:v>5249.5911001577933</c:v>
                </c:pt>
                <c:pt idx="2832">
                  <c:v>5318.9845918948922</c:v>
                </c:pt>
                <c:pt idx="2833">
                  <c:v>5319.6014063351749</c:v>
                </c:pt>
                <c:pt idx="2834">
                  <c:v>5432.0000888729455</c:v>
                </c:pt>
                <c:pt idx="2835">
                  <c:v>5741.0870236192914</c:v>
                </c:pt>
                <c:pt idx="2836">
                  <c:v>5772.7800856758522</c:v>
                </c:pt>
                <c:pt idx="2837">
                  <c:v>5428.4073794626484</c:v>
                </c:pt>
                <c:pt idx="2838">
                  <c:v>4986.4379886911638</c:v>
                </c:pt>
                <c:pt idx="2839">
                  <c:v>4578.9859746790962</c:v>
                </c:pt>
                <c:pt idx="2840">
                  <c:v>4424.8735827340261</c:v>
                </c:pt>
                <c:pt idx="2841">
                  <c:v>4400.1770402429484</c:v>
                </c:pt>
                <c:pt idx="2842">
                  <c:v>4229.853213096575</c:v>
                </c:pt>
                <c:pt idx="2843">
                  <c:v>4270.1803307669315</c:v>
                </c:pt>
                <c:pt idx="2844">
                  <c:v>4267.1022934691655</c:v>
                </c:pt>
                <c:pt idx="2845">
                  <c:v>4193.3190083420141</c:v>
                </c:pt>
                <c:pt idx="2846">
                  <c:v>4395.815231179442</c:v>
                </c:pt>
                <c:pt idx="2847">
                  <c:v>4433.2905658341469</c:v>
                </c:pt>
                <c:pt idx="2848">
                  <c:v>4418.3291403561961</c:v>
                </c:pt>
                <c:pt idx="2849">
                  <c:v>4741.7663328049412</c:v>
                </c:pt>
                <c:pt idx="2850">
                  <c:v>4925.3628034822659</c:v>
                </c:pt>
                <c:pt idx="2851">
                  <c:v>5009.796563775727</c:v>
                </c:pt>
                <c:pt idx="2852">
                  <c:v>4974.43488968975</c:v>
                </c:pt>
                <c:pt idx="2853">
                  <c:v>4961.0772524149252</c:v>
                </c:pt>
                <c:pt idx="2854">
                  <c:v>5000.9686000241636</c:v>
                </c:pt>
                <c:pt idx="2855">
                  <c:v>5010.1279876662502</c:v>
                </c:pt>
                <c:pt idx="2856">
                  <c:v>5112.7735014464452</c:v>
                </c:pt>
                <c:pt idx="2857">
                  <c:v>5273.3507347786754</c:v>
                </c:pt>
                <c:pt idx="2858">
                  <c:v>5475.9309728450162</c:v>
                </c:pt>
                <c:pt idx="2859">
                  <c:v>6051.6574607607836</c:v>
                </c:pt>
                <c:pt idx="2860">
                  <c:v>5710.1182100654023</c:v>
                </c:pt>
                <c:pt idx="2861">
                  <c:v>5209.6099235647443</c:v>
                </c:pt>
                <c:pt idx="2862">
                  <c:v>4595.1463458151256</c:v>
                </c:pt>
                <c:pt idx="2863">
                  <c:v>4225.5692429323453</c:v>
                </c:pt>
                <c:pt idx="2864">
                  <c:v>4114.925067203807</c:v>
                </c:pt>
                <c:pt idx="2865">
                  <c:v>4009.7125957998055</c:v>
                </c:pt>
                <c:pt idx="2866">
                  <c:v>3898.1919158421674</c:v>
                </c:pt>
                <c:pt idx="2867">
                  <c:v>3837.5353166175014</c:v>
                </c:pt>
                <c:pt idx="2868">
                  <c:v>3765.1607031552571</c:v>
                </c:pt>
                <c:pt idx="2869">
                  <c:v>3834.3877747250503</c:v>
                </c:pt>
                <c:pt idx="2870">
                  <c:v>3853.1615479985089</c:v>
                </c:pt>
                <c:pt idx="2871">
                  <c:v>3782.6698965520873</c:v>
                </c:pt>
                <c:pt idx="2872">
                  <c:v>3832.7644118543603</c:v>
                </c:pt>
                <c:pt idx="2873">
                  <c:v>4087.6024679524276</c:v>
                </c:pt>
                <c:pt idx="2874">
                  <c:v>4274.40827494321</c:v>
                </c:pt>
                <c:pt idx="2875">
                  <c:v>4346.3405881767003</c:v>
                </c:pt>
                <c:pt idx="2876">
                  <c:v>4344.5078258348667</c:v>
                </c:pt>
                <c:pt idx="2877">
                  <c:v>4543.0637726048708</c:v>
                </c:pt>
                <c:pt idx="2878">
                  <c:v>4593.4054044339855</c:v>
                </c:pt>
                <c:pt idx="2879">
                  <c:v>4679.2118792438623</c:v>
                </c:pt>
                <c:pt idx="2880">
                  <c:v>4658.1949292271365</c:v>
                </c:pt>
                <c:pt idx="2881">
                  <c:v>4926.791815371641</c:v>
                </c:pt>
                <c:pt idx="2882">
                  <c:v>5117.0437582040349</c:v>
                </c:pt>
                <c:pt idx="2883">
                  <c:v>4967.6254728870654</c:v>
                </c:pt>
                <c:pt idx="2884">
                  <c:v>4514.5589913166514</c:v>
                </c:pt>
                <c:pt idx="2885">
                  <c:v>4330.280496258466</c:v>
                </c:pt>
                <c:pt idx="2886">
                  <c:v>4085.7141088150297</c:v>
                </c:pt>
                <c:pt idx="2887">
                  <c:v>4039.4386849800017</c:v>
                </c:pt>
                <c:pt idx="2888">
                  <c:v>4017.5358867899836</c:v>
                </c:pt>
                <c:pt idx="2889">
                  <c:v>4049.0731574703627</c:v>
                </c:pt>
                <c:pt idx="2890">
                  <c:v>3925.1059528811434</c:v>
                </c:pt>
                <c:pt idx="2891">
                  <c:v>3798.4283912665419</c:v>
                </c:pt>
                <c:pt idx="2892">
                  <c:v>3810.0784505888191</c:v>
                </c:pt>
                <c:pt idx="2893">
                  <c:v>3900.8273727894307</c:v>
                </c:pt>
                <c:pt idx="2894">
                  <c:v>3960.3663763329682</c:v>
                </c:pt>
                <c:pt idx="2895">
                  <c:v>3950.2590605143719</c:v>
                </c:pt>
                <c:pt idx="2896">
                  <c:v>4128.5758264978758</c:v>
                </c:pt>
                <c:pt idx="2897">
                  <c:v>4227.7562402486528</c:v>
                </c:pt>
                <c:pt idx="2898">
                  <c:v>4337.6604861170317</c:v>
                </c:pt>
                <c:pt idx="2899">
                  <c:v>4391.0290502251673</c:v>
                </c:pt>
                <c:pt idx="2900">
                  <c:v>4576.6743231844548</c:v>
                </c:pt>
                <c:pt idx="2901">
                  <c:v>4609.4742680398949</c:v>
                </c:pt>
                <c:pt idx="2902">
                  <c:v>4711.7408480796239</c:v>
                </c:pt>
                <c:pt idx="2903">
                  <c:v>4839.7162738227344</c:v>
                </c:pt>
                <c:pt idx="2904">
                  <c:v>4924.8978379639202</c:v>
                </c:pt>
                <c:pt idx="2905">
                  <c:v>5107.598688423468</c:v>
                </c:pt>
                <c:pt idx="2906">
                  <c:v>5272.2023388102598</c:v>
                </c:pt>
                <c:pt idx="2907">
                  <c:v>5197.1589917935207</c:v>
                </c:pt>
                <c:pt idx="2908">
                  <c:v>4941.0020045548599</c:v>
                </c:pt>
                <c:pt idx="2909">
                  <c:v>4610.60936177453</c:v>
                </c:pt>
                <c:pt idx="2910">
                  <c:v>4305.5087697451954</c:v>
                </c:pt>
                <c:pt idx="2911">
                  <c:v>4161.2217415224777</c:v>
                </c:pt>
                <c:pt idx="2912">
                  <c:v>4005.8603598685322</c:v>
                </c:pt>
                <c:pt idx="2913">
                  <c:v>3944.0254833840786</c:v>
                </c:pt>
                <c:pt idx="2914">
                  <c:v>3886.3715637922646</c:v>
                </c:pt>
                <c:pt idx="2915">
                  <c:v>3762.6501504755306</c:v>
                </c:pt>
                <c:pt idx="2916">
                  <c:v>3755.7102084047538</c:v>
                </c:pt>
                <c:pt idx="2917">
                  <c:v>3806.6894377421654</c:v>
                </c:pt>
                <c:pt idx="2918">
                  <c:v>3750.3844010222906</c:v>
                </c:pt>
                <c:pt idx="2919">
                  <c:v>3849.0021817763541</c:v>
                </c:pt>
                <c:pt idx="2920">
                  <c:v>4195.5806032267947</c:v>
                </c:pt>
                <c:pt idx="2921">
                  <c:v>4426.3967881552444</c:v>
                </c:pt>
                <c:pt idx="2922">
                  <c:v>4726.0712870317648</c:v>
                </c:pt>
                <c:pt idx="2923">
                  <c:v>4793.6787039312549</c:v>
                </c:pt>
                <c:pt idx="2924">
                  <c:v>4758.5976353913593</c:v>
                </c:pt>
                <c:pt idx="2925">
                  <c:v>4656.224956372429</c:v>
                </c:pt>
                <c:pt idx="2926">
                  <c:v>4702.9566324650814</c:v>
                </c:pt>
                <c:pt idx="2927">
                  <c:v>4764.4316857372824</c:v>
                </c:pt>
                <c:pt idx="2928">
                  <c:v>4770.4151004945033</c:v>
                </c:pt>
                <c:pt idx="2929">
                  <c:v>4781.4775490244192</c:v>
                </c:pt>
                <c:pt idx="2930">
                  <c:v>4916.5095408598327</c:v>
                </c:pt>
                <c:pt idx="2931">
                  <c:v>5158.4911843135123</c:v>
                </c:pt>
                <c:pt idx="2932">
                  <c:v>5062.632983928047</c:v>
                </c:pt>
                <c:pt idx="2933">
                  <c:v>4749.8436674652521</c:v>
                </c:pt>
                <c:pt idx="2934">
                  <c:v>4563.6059386448305</c:v>
                </c:pt>
                <c:pt idx="2935">
                  <c:v>4346.8826789118157</c:v>
                </c:pt>
                <c:pt idx="2936">
                  <c:v>4169.3913864009619</c:v>
                </c:pt>
                <c:pt idx="2937">
                  <c:v>4013.9824288254713</c:v>
                </c:pt>
                <c:pt idx="2938">
                  <c:v>3776.5818806206507</c:v>
                </c:pt>
                <c:pt idx="2939">
                  <c:v>3610.0854366545041</c:v>
                </c:pt>
                <c:pt idx="2940">
                  <c:v>3647.2571679313432</c:v>
                </c:pt>
                <c:pt idx="2941">
                  <c:v>3653.2377656357303</c:v>
                </c:pt>
                <c:pt idx="2942">
                  <c:v>3691.7090341269245</c:v>
                </c:pt>
                <c:pt idx="2943">
                  <c:v>3767.5384251594364</c:v>
                </c:pt>
                <c:pt idx="2944">
                  <c:v>4002.9961188066718</c:v>
                </c:pt>
                <c:pt idx="2945">
                  <c:v>4282.500049797778</c:v>
                </c:pt>
                <c:pt idx="2946">
                  <c:v>4369.2698840524472</c:v>
                </c:pt>
                <c:pt idx="2947">
                  <c:v>4389.5384814449226</c:v>
                </c:pt>
                <c:pt idx="2948">
                  <c:v>4231.4436319022261</c:v>
                </c:pt>
                <c:pt idx="2949">
                  <c:v>4184.2804995141814</c:v>
                </c:pt>
                <c:pt idx="2950">
                  <c:v>4143.3456077459932</c:v>
                </c:pt>
                <c:pt idx="2951">
                  <c:v>4181.5493681575244</c:v>
                </c:pt>
                <c:pt idx="2952">
                  <c:v>4205.0150070850914</c:v>
                </c:pt>
                <c:pt idx="2953">
                  <c:v>4355.3039135283852</c:v>
                </c:pt>
                <c:pt idx="2954">
                  <c:v>4574.1368733563559</c:v>
                </c:pt>
                <c:pt idx="2955">
                  <c:v>4833.4456692932135</c:v>
                </c:pt>
                <c:pt idx="2956">
                  <c:v>4819.8461952131684</c:v>
                </c:pt>
                <c:pt idx="2957">
                  <c:v>4408.7530238333266</c:v>
                </c:pt>
                <c:pt idx="2958">
                  <c:v>4112.7661028121656</c:v>
                </c:pt>
                <c:pt idx="2959">
                  <c:v>4016.1378346334122</c:v>
                </c:pt>
                <c:pt idx="2960">
                  <c:v>3700.6170488113039</c:v>
                </c:pt>
                <c:pt idx="2961">
                  <c:v>3555.156576384551</c:v>
                </c:pt>
                <c:pt idx="2962">
                  <c:v>3427.267565743819</c:v>
                </c:pt>
                <c:pt idx="2963">
                  <c:v>3380.9917924391625</c:v>
                </c:pt>
                <c:pt idx="2964">
                  <c:v>3417.4643616721887</c:v>
                </c:pt>
                <c:pt idx="2965">
                  <c:v>3648.2011028713014</c:v>
                </c:pt>
                <c:pt idx="2966">
                  <c:v>3768.1376498104355</c:v>
                </c:pt>
                <c:pt idx="2967">
                  <c:v>3675.771705974752</c:v>
                </c:pt>
                <c:pt idx="2968">
                  <c:v>3859.3524548871665</c:v>
                </c:pt>
                <c:pt idx="2969">
                  <c:v>4230.0853062517162</c:v>
                </c:pt>
                <c:pt idx="2970">
                  <c:v>4460.6007796634758</c:v>
                </c:pt>
                <c:pt idx="2971">
                  <c:v>4484.2479686090755</c:v>
                </c:pt>
                <c:pt idx="2972">
                  <c:v>4480.3712823628748</c:v>
                </c:pt>
                <c:pt idx="2973">
                  <c:v>4435.4984395923839</c:v>
                </c:pt>
                <c:pt idx="2974">
                  <c:v>4377.1597173361624</c:v>
                </c:pt>
                <c:pt idx="2975">
                  <c:v>4416.9845286583723</c:v>
                </c:pt>
                <c:pt idx="2976">
                  <c:v>4510.9876978420234</c:v>
                </c:pt>
                <c:pt idx="2977">
                  <c:v>4514.896177087674</c:v>
                </c:pt>
                <c:pt idx="2978">
                  <c:v>4567.7623283686353</c:v>
                </c:pt>
                <c:pt idx="2979">
                  <c:v>4967.4706725849064</c:v>
                </c:pt>
                <c:pt idx="2980">
                  <c:v>5171.7856489464821</c:v>
                </c:pt>
                <c:pt idx="2981">
                  <c:v>5098.2680186178704</c:v>
                </c:pt>
                <c:pt idx="2982">
                  <c:v>5132.489551317266</c:v>
                </c:pt>
                <c:pt idx="2983">
                  <c:v>5085.2740814839881</c:v>
                </c:pt>
                <c:pt idx="2984">
                  <c:v>5101.2696192632438</c:v>
                </c:pt>
                <c:pt idx="2985">
                  <c:v>5175.8793088719776</c:v>
                </c:pt>
                <c:pt idx="2986">
                  <c:v>5200.277989661975</c:v>
                </c:pt>
                <c:pt idx="2987">
                  <c:v>5615.3169286968241</c:v>
                </c:pt>
                <c:pt idx="2988">
                  <c:v>5746.8033310948294</c:v>
                </c:pt>
                <c:pt idx="2989">
                  <c:v>5789.4113562153107</c:v>
                </c:pt>
                <c:pt idx="2990">
                  <c:v>5818.4826152122014</c:v>
                </c:pt>
                <c:pt idx="2991">
                  <c:v>5712.6430025403961</c:v>
                </c:pt>
                <c:pt idx="2992">
                  <c:v>5584.1829852830251</c:v>
                </c:pt>
                <c:pt idx="2993">
                  <c:v>5405.5221042010226</c:v>
                </c:pt>
                <c:pt idx="2994">
                  <c:v>5240.0802356210661</c:v>
                </c:pt>
                <c:pt idx="2995">
                  <c:v>4901.8867732937151</c:v>
                </c:pt>
                <c:pt idx="2996">
                  <c:v>4649.8296217641382</c:v>
                </c:pt>
                <c:pt idx="2997">
                  <c:v>4461.7770125259367</c:v>
                </c:pt>
                <c:pt idx="2998">
                  <c:v>4396.1084241847038</c:v>
                </c:pt>
                <c:pt idx="2999">
                  <c:v>4312.6760418092863</c:v>
                </c:pt>
                <c:pt idx="3000">
                  <c:v>4260.7953408220064</c:v>
                </c:pt>
                <c:pt idx="3001">
                  <c:v>4292.5982045976925</c:v>
                </c:pt>
                <c:pt idx="3002">
                  <c:v>4356.2522261214872</c:v>
                </c:pt>
                <c:pt idx="3003">
                  <c:v>4756.7027755728259</c:v>
                </c:pt>
                <c:pt idx="3004">
                  <c:v>4763.1744485451754</c:v>
                </c:pt>
                <c:pt idx="3005">
                  <c:v>4934.5433968321977</c:v>
                </c:pt>
                <c:pt idx="3006">
                  <c:v>4815.4371400400778</c:v>
                </c:pt>
                <c:pt idx="3007">
                  <c:v>4697.4931689959658</c:v>
                </c:pt>
                <c:pt idx="3008">
                  <c:v>4524.5921627851994</c:v>
                </c:pt>
                <c:pt idx="3009">
                  <c:v>4346.6739002953091</c:v>
                </c:pt>
                <c:pt idx="3010">
                  <c:v>4218.1801914355219</c:v>
                </c:pt>
                <c:pt idx="3011">
                  <c:v>4174.2591302902429</c:v>
                </c:pt>
                <c:pt idx="3012">
                  <c:v>4220.4983539861787</c:v>
                </c:pt>
                <c:pt idx="3013">
                  <c:v>4116.7696110404895</c:v>
                </c:pt>
                <c:pt idx="3014">
                  <c:v>4031.1477217199963</c:v>
                </c:pt>
                <c:pt idx="3015">
                  <c:v>4384.2639434411403</c:v>
                </c:pt>
                <c:pt idx="3016">
                  <c:v>4412.6691903187102</c:v>
                </c:pt>
                <c:pt idx="3017">
                  <c:v>4607.0011599387653</c:v>
                </c:pt>
                <c:pt idx="3018">
                  <c:v>4643.0302047072446</c:v>
                </c:pt>
                <c:pt idx="3019">
                  <c:v>4571.7255624064646</c:v>
                </c:pt>
                <c:pt idx="3020">
                  <c:v>4454.0161373574483</c:v>
                </c:pt>
                <c:pt idx="3021">
                  <c:v>4350.3658192187104</c:v>
                </c:pt>
                <c:pt idx="3022">
                  <c:v>4324.9375228186427</c:v>
                </c:pt>
                <c:pt idx="3023">
                  <c:v>4319.0797773398172</c:v>
                </c:pt>
                <c:pt idx="3024">
                  <c:v>4317.5681098768009</c:v>
                </c:pt>
                <c:pt idx="3025">
                  <c:v>4339.8377621711579</c:v>
                </c:pt>
                <c:pt idx="3026">
                  <c:v>4545.5186596872009</c:v>
                </c:pt>
                <c:pt idx="3027">
                  <c:v>4960.2202240190099</c:v>
                </c:pt>
                <c:pt idx="3028">
                  <c:v>5198.3568540957522</c:v>
                </c:pt>
                <c:pt idx="3029">
                  <c:v>5237.7761730778257</c:v>
                </c:pt>
                <c:pt idx="3030">
                  <c:v>5236.6837037169371</c:v>
                </c:pt>
                <c:pt idx="3031">
                  <c:v>5012.2007346242717</c:v>
                </c:pt>
                <c:pt idx="3032">
                  <c:v>4715.569054697663</c:v>
                </c:pt>
                <c:pt idx="3033">
                  <c:v>4695.043526142249</c:v>
                </c:pt>
                <c:pt idx="3034">
                  <c:v>4721.9697820591564</c:v>
                </c:pt>
                <c:pt idx="3035">
                  <c:v>4686.3171586721428</c:v>
                </c:pt>
                <c:pt idx="3036">
                  <c:v>4731.9127974621633</c:v>
                </c:pt>
                <c:pt idx="3037">
                  <c:v>4370.6878112020449</c:v>
                </c:pt>
                <c:pt idx="3038">
                  <c:v>4322.4546552320917</c:v>
                </c:pt>
                <c:pt idx="3039">
                  <c:v>4603.3343727960664</c:v>
                </c:pt>
                <c:pt idx="3040">
                  <c:v>4544.2695722360386</c:v>
                </c:pt>
                <c:pt idx="3041">
                  <c:v>4547.1397226108975</c:v>
                </c:pt>
                <c:pt idx="3042">
                  <c:v>4755.8208054203178</c:v>
                </c:pt>
                <c:pt idx="3043">
                  <c:v>4652.3589715415064</c:v>
                </c:pt>
                <c:pt idx="3044">
                  <c:v>4705.0070799845289</c:v>
                </c:pt>
                <c:pt idx="3045">
                  <c:v>4726.3995613272609</c:v>
                </c:pt>
                <c:pt idx="3046">
                  <c:v>4664.157329938761</c:v>
                </c:pt>
                <c:pt idx="3047">
                  <c:v>4638.5454249261302</c:v>
                </c:pt>
                <c:pt idx="3048">
                  <c:v>4507.8992212311987</c:v>
                </c:pt>
                <c:pt idx="3049">
                  <c:v>4480.8906346381955</c:v>
                </c:pt>
                <c:pt idx="3050">
                  <c:v>4499.4965636556126</c:v>
                </c:pt>
                <c:pt idx="3051">
                  <c:v>4548.795678984904</c:v>
                </c:pt>
                <c:pt idx="3052">
                  <c:v>4569.7533098084768</c:v>
                </c:pt>
                <c:pt idx="3053">
                  <c:v>4513.5837799370383</c:v>
                </c:pt>
                <c:pt idx="3054">
                  <c:v>4631.8343810936267</c:v>
                </c:pt>
                <c:pt idx="3055">
                  <c:v>4675.8210436946774</c:v>
                </c:pt>
                <c:pt idx="3056">
                  <c:v>4572.6130165019076</c:v>
                </c:pt>
                <c:pt idx="3057">
                  <c:v>4068.7431133892819</c:v>
                </c:pt>
                <c:pt idx="3058">
                  <c:v>4005.5993109704873</c:v>
                </c:pt>
                <c:pt idx="3059">
                  <c:v>3831.5237012994021</c:v>
                </c:pt>
                <c:pt idx="3060">
                  <c:v>3737.0765440579016</c:v>
                </c:pt>
                <c:pt idx="3061">
                  <c:v>3574.8300630388107</c:v>
                </c:pt>
                <c:pt idx="3062">
                  <c:v>3615.3596841616582</c:v>
                </c:pt>
                <c:pt idx="3063">
                  <c:v>3946.5570129782541</c:v>
                </c:pt>
                <c:pt idx="3064">
                  <c:v>4086.0878742273189</c:v>
                </c:pt>
                <c:pt idx="3065">
                  <c:v>4186.2477224797503</c:v>
                </c:pt>
                <c:pt idx="3066">
                  <c:v>4372.975265201193</c:v>
                </c:pt>
                <c:pt idx="3067">
                  <c:v>4377.2207702263013</c:v>
                </c:pt>
                <c:pt idx="3068">
                  <c:v>4265.1175375031271</c:v>
                </c:pt>
                <c:pt idx="3069">
                  <c:v>4389.0565655575047</c:v>
                </c:pt>
                <c:pt idx="3070">
                  <c:v>4444.6678406314186</c:v>
                </c:pt>
                <c:pt idx="3071">
                  <c:v>4520.5590741370115</c:v>
                </c:pt>
                <c:pt idx="3072">
                  <c:v>4643.4515329359674</c:v>
                </c:pt>
                <c:pt idx="3073">
                  <c:v>4840.5894438931609</c:v>
                </c:pt>
                <c:pt idx="3074">
                  <c:v>4870.6042332097077</c:v>
                </c:pt>
                <c:pt idx="3075">
                  <c:v>4618.1874326566476</c:v>
                </c:pt>
                <c:pt idx="3076">
                  <c:v>4164.6151915413202</c:v>
                </c:pt>
                <c:pt idx="3077">
                  <c:v>4229.5418236445967</c:v>
                </c:pt>
                <c:pt idx="3078">
                  <c:v>3932.9251103008723</c:v>
                </c:pt>
                <c:pt idx="3079">
                  <c:v>3999.2654857470384</c:v>
                </c:pt>
                <c:pt idx="3080">
                  <c:v>3855.2955788242521</c:v>
                </c:pt>
                <c:pt idx="3081">
                  <c:v>3604.5186273716045</c:v>
                </c:pt>
                <c:pt idx="3082">
                  <c:v>3508.7389031214425</c:v>
                </c:pt>
                <c:pt idx="3083">
                  <c:v>3237.7845112447185</c:v>
                </c:pt>
                <c:pt idx="3084">
                  <c:v>3078.2755383109111</c:v>
                </c:pt>
                <c:pt idx="3085">
                  <c:v>3112.5913530016492</c:v>
                </c:pt>
                <c:pt idx="3086">
                  <c:v>3240.5094149433867</c:v>
                </c:pt>
                <c:pt idx="3087">
                  <c:v>3392.7699875309472</c:v>
                </c:pt>
                <c:pt idx="3088">
                  <c:v>3604.9403891610846</c:v>
                </c:pt>
                <c:pt idx="3089">
                  <c:v>3958.6877535772778</c:v>
                </c:pt>
                <c:pt idx="3090">
                  <c:v>4245.7610061507257</c:v>
                </c:pt>
                <c:pt idx="3091">
                  <c:v>4053.3545972560642</c:v>
                </c:pt>
                <c:pt idx="3092">
                  <c:v>3861.6337347408626</c:v>
                </c:pt>
                <c:pt idx="3093">
                  <c:v>3789.9161498443032</c:v>
                </c:pt>
                <c:pt idx="3094">
                  <c:v>3730.0459255394649</c:v>
                </c:pt>
                <c:pt idx="3095">
                  <c:v>3793.5259177408402</c:v>
                </c:pt>
                <c:pt idx="3096">
                  <c:v>3767.7110964647209</c:v>
                </c:pt>
                <c:pt idx="3097">
                  <c:v>3763.0974257320736</c:v>
                </c:pt>
                <c:pt idx="3098">
                  <c:v>3793.8318729400962</c:v>
                </c:pt>
                <c:pt idx="3099">
                  <c:v>3935.5557462054021</c:v>
                </c:pt>
                <c:pt idx="3100">
                  <c:v>3992.8944163439828</c:v>
                </c:pt>
                <c:pt idx="3101">
                  <c:v>4041.6594050233634</c:v>
                </c:pt>
                <c:pt idx="3102">
                  <c:v>3890.5835535879105</c:v>
                </c:pt>
                <c:pt idx="3103">
                  <c:v>3656.9964348963076</c:v>
                </c:pt>
                <c:pt idx="3104">
                  <c:v>3578.4140247874711</c:v>
                </c:pt>
                <c:pt idx="3105">
                  <c:v>3524.2334401492421</c:v>
                </c:pt>
                <c:pt idx="3106">
                  <c:v>3481.6776296135786</c:v>
                </c:pt>
                <c:pt idx="3107">
                  <c:v>3071.6116532205833</c:v>
                </c:pt>
                <c:pt idx="3108">
                  <c:v>2915.7192748540865</c:v>
                </c:pt>
                <c:pt idx="3109">
                  <c:v>2588.9711716522797</c:v>
                </c:pt>
                <c:pt idx="3110">
                  <c:v>2432.5192263390136</c:v>
                </c:pt>
                <c:pt idx="3111">
                  <c:v>2363.7282988720508</c:v>
                </c:pt>
                <c:pt idx="3112">
                  <c:v>2475.1783493796374</c:v>
                </c:pt>
                <c:pt idx="3113">
                  <c:v>2644.8736062550552</c:v>
                </c:pt>
                <c:pt idx="3114">
                  <c:v>2819.8985195932655</c:v>
                </c:pt>
                <c:pt idx="3115">
                  <c:v>2694.9638312715929</c:v>
                </c:pt>
                <c:pt idx="3116">
                  <c:v>2746.5669059413749</c:v>
                </c:pt>
                <c:pt idx="3117">
                  <c:v>2655.1153406518233</c:v>
                </c:pt>
                <c:pt idx="3118">
                  <c:v>2598.1080692856358</c:v>
                </c:pt>
                <c:pt idx="3119">
                  <c:v>2618.1391261651365</c:v>
                </c:pt>
                <c:pt idx="3120">
                  <c:v>2652.2076894555985</c:v>
                </c:pt>
                <c:pt idx="3121">
                  <c:v>2705.2576633992703</c:v>
                </c:pt>
                <c:pt idx="3122">
                  <c:v>2748.3058547995856</c:v>
                </c:pt>
                <c:pt idx="3123">
                  <c:v>2744.938925703219</c:v>
                </c:pt>
                <c:pt idx="3124">
                  <c:v>2677.3648460220998</c:v>
                </c:pt>
                <c:pt idx="3125">
                  <c:v>2753.9017153834898</c:v>
                </c:pt>
                <c:pt idx="3126">
                  <c:v>2578.4671903318972</c:v>
                </c:pt>
                <c:pt idx="3127">
                  <c:v>2380.5349927901157</c:v>
                </c:pt>
                <c:pt idx="3128">
                  <c:v>2206.5631996247212</c:v>
                </c:pt>
                <c:pt idx="3129">
                  <c:v>2037.595546160411</c:v>
                </c:pt>
                <c:pt idx="3130">
                  <c:v>1861.3442281341108</c:v>
                </c:pt>
                <c:pt idx="3131">
                  <c:v>1816.0253567307677</c:v>
                </c:pt>
                <c:pt idx="3132">
                  <c:v>1714.2222902722867</c:v>
                </c:pt>
                <c:pt idx="3133">
                  <c:v>1698.762310876326</c:v>
                </c:pt>
                <c:pt idx="3134">
                  <c:v>1711.2781473482489</c:v>
                </c:pt>
                <c:pt idx="3135">
                  <c:v>1729.8660060556433</c:v>
                </c:pt>
                <c:pt idx="3136">
                  <c:v>1793.1586677929133</c:v>
                </c:pt>
                <c:pt idx="3137">
                  <c:v>1905.0682927037801</c:v>
                </c:pt>
                <c:pt idx="3138">
                  <c:v>2065.3292920613071</c:v>
                </c:pt>
                <c:pt idx="3139">
                  <c:v>2164.8231522204537</c:v>
                </c:pt>
                <c:pt idx="3140">
                  <c:v>2100.2836407297368</c:v>
                </c:pt>
                <c:pt idx="3141">
                  <c:v>2098.5827092526861</c:v>
                </c:pt>
                <c:pt idx="3142">
                  <c:v>2133.8226952838008</c:v>
                </c:pt>
                <c:pt idx="3143">
                  <c:v>2114.3116781519061</c:v>
                </c:pt>
                <c:pt idx="3144">
                  <c:v>2186.250511178152</c:v>
                </c:pt>
                <c:pt idx="3145">
                  <c:v>2331.0320498460701</c:v>
                </c:pt>
                <c:pt idx="3146">
                  <c:v>2360.983751703985</c:v>
                </c:pt>
                <c:pt idx="3147">
                  <c:v>2386.242700582563</c:v>
                </c:pt>
                <c:pt idx="3148">
                  <c:v>2332.6347880021713</c:v>
                </c:pt>
                <c:pt idx="3149">
                  <c:v>2247.589072534402</c:v>
                </c:pt>
                <c:pt idx="3150">
                  <c:v>2135.6586891276042</c:v>
                </c:pt>
                <c:pt idx="3151">
                  <c:v>2061.0415754734508</c:v>
                </c:pt>
                <c:pt idx="3152">
                  <c:v>2040.1687478235949</c:v>
                </c:pt>
                <c:pt idx="3153">
                  <c:v>1816.4843228384757</c:v>
                </c:pt>
                <c:pt idx="3154">
                  <c:v>1762.4316506368191</c:v>
                </c:pt>
                <c:pt idx="3155">
                  <c:v>1731.1657207350434</c:v>
                </c:pt>
                <c:pt idx="3156">
                  <c:v>1700.3846559167223</c:v>
                </c:pt>
                <c:pt idx="3157">
                  <c:v>1696.457891764855</c:v>
                </c:pt>
                <c:pt idx="3158">
                  <c:v>1708.7636232738228</c:v>
                </c:pt>
                <c:pt idx="3159">
                  <c:v>1724.1682745289961</c:v>
                </c:pt>
                <c:pt idx="3160">
                  <c:v>1763.3277683027709</c:v>
                </c:pt>
                <c:pt idx="3161">
                  <c:v>1926.0743496429782</c:v>
                </c:pt>
                <c:pt idx="3162">
                  <c:v>1971.0583439590323</c:v>
                </c:pt>
                <c:pt idx="3163">
                  <c:v>1965.5105425476438</c:v>
                </c:pt>
                <c:pt idx="3164">
                  <c:v>1921.6810828524467</c:v>
                </c:pt>
                <c:pt idx="3165">
                  <c:v>1944.5688988674806</c:v>
                </c:pt>
                <c:pt idx="3166">
                  <c:v>1960.9227778893451</c:v>
                </c:pt>
                <c:pt idx="3167">
                  <c:v>1957.9662631944134</c:v>
                </c:pt>
                <c:pt idx="3168">
                  <c:v>1967.2187784859757</c:v>
                </c:pt>
                <c:pt idx="3169">
                  <c:v>1991.6531548682888</c:v>
                </c:pt>
                <c:pt idx="3170">
                  <c:v>2102.6340926359239</c:v>
                </c:pt>
                <c:pt idx="3171">
                  <c:v>2085.2337628506843</c:v>
                </c:pt>
                <c:pt idx="3172">
                  <c:v>1932.5951897157747</c:v>
                </c:pt>
                <c:pt idx="3173">
                  <c:v>1858.2295036239573</c:v>
                </c:pt>
                <c:pt idx="3174">
                  <c:v>1833.9123606508363</c:v>
                </c:pt>
                <c:pt idx="3175">
                  <c:v>1840.711481204592</c:v>
                </c:pt>
                <c:pt idx="3176">
                  <c:v>1806.0540528534298</c:v>
                </c:pt>
                <c:pt idx="3177">
                  <c:v>1746.6888154379972</c:v>
                </c:pt>
                <c:pt idx="3178">
                  <c:v>1644.4775979399722</c:v>
                </c:pt>
                <c:pt idx="3179">
                  <c:v>1652.9765475033103</c:v>
                </c:pt>
                <c:pt idx="3180">
                  <c:v>1610.7057103380375</c:v>
                </c:pt>
                <c:pt idx="3181">
                  <c:v>1536.4181318002748</c:v>
                </c:pt>
                <c:pt idx="3182">
                  <c:v>1699.578623330294</c:v>
                </c:pt>
                <c:pt idx="3183">
                  <c:v>1807.1910370003363</c:v>
                </c:pt>
                <c:pt idx="3184">
                  <c:v>1859.3191373664388</c:v>
                </c:pt>
                <c:pt idx="3185">
                  <c:v>1786.2803574213478</c:v>
                </c:pt>
                <c:pt idx="3186">
                  <c:v>1831.2849420510736</c:v>
                </c:pt>
                <c:pt idx="3187">
                  <c:v>1936.5993799559203</c:v>
                </c:pt>
                <c:pt idx="3188">
                  <c:v>1947.7514439655463</c:v>
                </c:pt>
                <c:pt idx="3189">
                  <c:v>1943.4497715264959</c:v>
                </c:pt>
                <c:pt idx="3190">
                  <c:v>2019.8551010657789</c:v>
                </c:pt>
                <c:pt idx="3191">
                  <c:v>2012.1815365155915</c:v>
                </c:pt>
                <c:pt idx="3192">
                  <c:v>2043.3665450867579</c:v>
                </c:pt>
                <c:pt idx="3193">
                  <c:v>2147.7500608808891</c:v>
                </c:pt>
                <c:pt idx="3194">
                  <c:v>2154.3334947864673</c:v>
                </c:pt>
                <c:pt idx="3195">
                  <c:v>2170.7775648208362</c:v>
                </c:pt>
                <c:pt idx="3196">
                  <c:v>2126.7618263466966</c:v>
                </c:pt>
                <c:pt idx="3197">
                  <c:v>2090.4792588362493</c:v>
                </c:pt>
                <c:pt idx="3198">
                  <c:v>2102.7067801344592</c:v>
                </c:pt>
                <c:pt idx="3199">
                  <c:v>2067.1419265906793</c:v>
                </c:pt>
                <c:pt idx="3200">
                  <c:v>2146.8294000721398</c:v>
                </c:pt>
                <c:pt idx="3201">
                  <c:v>2079.8109710937665</c:v>
                </c:pt>
                <c:pt idx="3202">
                  <c:v>1980.0154094359982</c:v>
                </c:pt>
                <c:pt idx="3203">
                  <c:v>1993.3497714875211</c:v>
                </c:pt>
                <c:pt idx="3204">
                  <c:v>1913.4898658690529</c:v>
                </c:pt>
                <c:pt idx="3205">
                  <c:v>1844.5633900541352</c:v>
                </c:pt>
                <c:pt idx="3206">
                  <c:v>1851.2641627558401</c:v>
                </c:pt>
                <c:pt idx="3207">
                  <c:v>1968.7092467937016</c:v>
                </c:pt>
                <c:pt idx="3208">
                  <c:v>2075.2653917879938</c:v>
                </c:pt>
                <c:pt idx="3209">
                  <c:v>2102.7505599421647</c:v>
                </c:pt>
                <c:pt idx="3210">
                  <c:v>2075.1828290422231</c:v>
                </c:pt>
                <c:pt idx="3211">
                  <c:v>2021.6519062591206</c:v>
                </c:pt>
                <c:pt idx="3212">
                  <c:v>2050.4148402158389</c:v>
                </c:pt>
                <c:pt idx="3213">
                  <c:v>2046.6796733338226</c:v>
                </c:pt>
                <c:pt idx="3214">
                  <c:v>2009.4567649601267</c:v>
                </c:pt>
                <c:pt idx="3215">
                  <c:v>2009.8177528891249</c:v>
                </c:pt>
                <c:pt idx="3216">
                  <c:v>2026.5508692531951</c:v>
                </c:pt>
                <c:pt idx="3217">
                  <c:v>2074.9427035460899</c:v>
                </c:pt>
                <c:pt idx="3218">
                  <c:v>2163.9979938165152</c:v>
                </c:pt>
                <c:pt idx="3219">
                  <c:v>2090.4863989375954</c:v>
                </c:pt>
                <c:pt idx="3220">
                  <c:v>2112.6491566633013</c:v>
                </c:pt>
                <c:pt idx="3221">
                  <c:v>2144.2150538206674</c:v>
                </c:pt>
                <c:pt idx="3222">
                  <c:v>2128.7274171798913</c:v>
                </c:pt>
                <c:pt idx="3223">
                  <c:v>2251.2749543699715</c:v>
                </c:pt>
                <c:pt idx="3224">
                  <c:v>2285.9050361766604</c:v>
                </c:pt>
                <c:pt idx="3225">
                  <c:v>2110.8311288346781</c:v>
                </c:pt>
                <c:pt idx="3226">
                  <c:v>1987.1313176553999</c:v>
                </c:pt>
                <c:pt idx="3227">
                  <c:v>1911.8298824036244</c:v>
                </c:pt>
                <c:pt idx="3228">
                  <c:v>1860.6327139770704</c:v>
                </c:pt>
                <c:pt idx="3229">
                  <c:v>1857.3395945043742</c:v>
                </c:pt>
                <c:pt idx="3230">
                  <c:v>1781.4373461529292</c:v>
                </c:pt>
                <c:pt idx="3231">
                  <c:v>1994.8776292231685</c:v>
                </c:pt>
                <c:pt idx="3232">
                  <c:v>1988.2931026789549</c:v>
                </c:pt>
                <c:pt idx="3233">
                  <c:v>2072.1801548698345</c:v>
                </c:pt>
                <c:pt idx="3234">
                  <c:v>2196.7501781867622</c:v>
                </c:pt>
                <c:pt idx="3235">
                  <c:v>2132.8228031577232</c:v>
                </c:pt>
                <c:pt idx="3236">
                  <c:v>2067.8900455071162</c:v>
                </c:pt>
                <c:pt idx="3237">
                  <c:v>2042.2965837541276</c:v>
                </c:pt>
                <c:pt idx="3238">
                  <c:v>2047.7149083063098</c:v>
                </c:pt>
                <c:pt idx="3239">
                  <c:v>2023.5217948345612</c:v>
                </c:pt>
                <c:pt idx="3240">
                  <c:v>2042.9173957993321</c:v>
                </c:pt>
                <c:pt idx="3241">
                  <c:v>2145.5225846067265</c:v>
                </c:pt>
                <c:pt idx="3242">
                  <c:v>2178.3801105899647</c:v>
                </c:pt>
                <c:pt idx="3243">
                  <c:v>2171.3684458844559</c:v>
                </c:pt>
                <c:pt idx="3244">
                  <c:v>2026.1251131350705</c:v>
                </c:pt>
                <c:pt idx="3245">
                  <c:v>2000.4365093678257</c:v>
                </c:pt>
                <c:pt idx="3246">
                  <c:v>1846.9056179570812</c:v>
                </c:pt>
                <c:pt idx="3247">
                  <c:v>1879.14695090072</c:v>
                </c:pt>
                <c:pt idx="3248">
                  <c:v>1952.5488003032838</c:v>
                </c:pt>
                <c:pt idx="3249">
                  <c:v>1920.5965682939759</c:v>
                </c:pt>
                <c:pt idx="3250">
                  <c:v>2022.8890593224705</c:v>
                </c:pt>
                <c:pt idx="3251">
                  <c:v>2085.1469769828723</c:v>
                </c:pt>
                <c:pt idx="3252">
                  <c:v>2049.9983532335632</c:v>
                </c:pt>
                <c:pt idx="3253">
                  <c:v>1863.5660047770518</c:v>
                </c:pt>
                <c:pt idx="3254">
                  <c:v>1892.2244669725267</c:v>
                </c:pt>
                <c:pt idx="3255">
                  <c:v>1928.1726384624706</c:v>
                </c:pt>
                <c:pt idx="3256">
                  <c:v>2077.2869114129003</c:v>
                </c:pt>
                <c:pt idx="3257">
                  <c:v>2238.8735178730185</c:v>
                </c:pt>
                <c:pt idx="3258">
                  <c:v>2415.5041753521809</c:v>
                </c:pt>
                <c:pt idx="3259">
                  <c:v>2619.3501449067867</c:v>
                </c:pt>
                <c:pt idx="3260">
                  <c:v>2765.6764643771103</c:v>
                </c:pt>
                <c:pt idx="3261">
                  <c:v>2810.6381472415719</c:v>
                </c:pt>
                <c:pt idx="3262">
                  <c:v>2771.1173133389393</c:v>
                </c:pt>
                <c:pt idx="3263">
                  <c:v>2762.7887629822544</c:v>
                </c:pt>
                <c:pt idx="3264">
                  <c:v>2738.7663173719357</c:v>
                </c:pt>
                <c:pt idx="3265">
                  <c:v>2715.0228124125465</c:v>
                </c:pt>
                <c:pt idx="3266">
                  <c:v>2665.3212724312016</c:v>
                </c:pt>
                <c:pt idx="3267">
                  <c:v>2572.8829845601026</c:v>
                </c:pt>
                <c:pt idx="3268">
                  <c:v>2444.4716746321978</c:v>
                </c:pt>
                <c:pt idx="3269">
                  <c:v>2406.9808546506279</c:v>
                </c:pt>
                <c:pt idx="3270">
                  <c:v>2276.5053799743118</c:v>
                </c:pt>
                <c:pt idx="3271">
                  <c:v>2154.1822836466022</c:v>
                </c:pt>
                <c:pt idx="3272">
                  <c:v>2099.222414499679</c:v>
                </c:pt>
                <c:pt idx="3273">
                  <c:v>1969.2571632967331</c:v>
                </c:pt>
                <c:pt idx="3274">
                  <c:v>2182.3362547627062</c:v>
                </c:pt>
                <c:pt idx="3275">
                  <c:v>2136.7464499312955</c:v>
                </c:pt>
                <c:pt idx="3276">
                  <c:v>1998.8427318314168</c:v>
                </c:pt>
                <c:pt idx="3277">
                  <c:v>2177.274731056536</c:v>
                </c:pt>
                <c:pt idx="3278">
                  <c:v>2247.7019850792653</c:v>
                </c:pt>
                <c:pt idx="3279">
                  <c:v>2412.0476023816973</c:v>
                </c:pt>
                <c:pt idx="3280">
                  <c:v>2543.1490716285989</c:v>
                </c:pt>
                <c:pt idx="3281">
                  <c:v>2642.5356145792616</c:v>
                </c:pt>
                <c:pt idx="3282">
                  <c:v>2640.3394944675124</c:v>
                </c:pt>
                <c:pt idx="3283">
                  <c:v>2613.5062471619885</c:v>
                </c:pt>
                <c:pt idx="3284">
                  <c:v>2632.4704136732189</c:v>
                </c:pt>
                <c:pt idx="3285">
                  <c:v>2602.4585287769123</c:v>
                </c:pt>
                <c:pt idx="3286">
                  <c:v>2527.5951040142022</c:v>
                </c:pt>
                <c:pt idx="3287">
                  <c:v>2545.238904375175</c:v>
                </c:pt>
                <c:pt idx="3288">
                  <c:v>2537.5996085983361</c:v>
                </c:pt>
                <c:pt idx="3289">
                  <c:v>2572.3422485658434</c:v>
                </c:pt>
                <c:pt idx="3290">
                  <c:v>2627.1101474932962</c:v>
                </c:pt>
                <c:pt idx="3291">
                  <c:v>2795.8938445135545</c:v>
                </c:pt>
                <c:pt idx="3292">
                  <c:v>2754.5582454089085</c:v>
                </c:pt>
                <c:pt idx="3293">
                  <c:v>2817.4183991656223</c:v>
                </c:pt>
                <c:pt idx="3294">
                  <c:v>2691.0324628573708</c:v>
                </c:pt>
                <c:pt idx="3295">
                  <c:v>2503.6745419056911</c:v>
                </c:pt>
                <c:pt idx="3296">
                  <c:v>2451.9322188782635</c:v>
                </c:pt>
                <c:pt idx="3297">
                  <c:v>2379.6955814857988</c:v>
                </c:pt>
                <c:pt idx="3298">
                  <c:v>2276.0176759961719</c:v>
                </c:pt>
                <c:pt idx="3299">
                  <c:v>2323.1817994582416</c:v>
                </c:pt>
                <c:pt idx="3300">
                  <c:v>2439.3804907834046</c:v>
                </c:pt>
                <c:pt idx="3301">
                  <c:v>2339.0776684994598</c:v>
                </c:pt>
                <c:pt idx="3302">
                  <c:v>2326.3221936046975</c:v>
                </c:pt>
                <c:pt idx="3303">
                  <c:v>2452.71672686581</c:v>
                </c:pt>
                <c:pt idx="3304">
                  <c:v>2528.5666770873554</c:v>
                </c:pt>
                <c:pt idx="3305">
                  <c:v>2587.2708828717177</c:v>
                </c:pt>
                <c:pt idx="3306">
                  <c:v>2707.847777754333</c:v>
                </c:pt>
                <c:pt idx="3307">
                  <c:v>2595.4005861019</c:v>
                </c:pt>
                <c:pt idx="3308">
                  <c:v>2529.1413001686028</c:v>
                </c:pt>
                <c:pt idx="3309">
                  <c:v>2313.0686442205715</c:v>
                </c:pt>
                <c:pt idx="3310">
                  <c:v>2274.6566151997731</c:v>
                </c:pt>
                <c:pt idx="3311">
                  <c:v>2213.0037353992211</c:v>
                </c:pt>
                <c:pt idx="3312">
                  <c:v>2204.6726732295815</c:v>
                </c:pt>
                <c:pt idx="3313">
                  <c:v>2202.0477833702089</c:v>
                </c:pt>
                <c:pt idx="3314">
                  <c:v>2253.5937224859686</c:v>
                </c:pt>
                <c:pt idx="3315">
                  <c:v>2347.289100662721</c:v>
                </c:pt>
                <c:pt idx="3316">
                  <c:v>2505.1895042120482</c:v>
                </c:pt>
                <c:pt idx="3317">
                  <c:v>2653.9514724616542</c:v>
                </c:pt>
                <c:pt idx="3318">
                  <c:v>2732.9933488566044</c:v>
                </c:pt>
                <c:pt idx="3319">
                  <c:v>2648.2694326673713</c:v>
                </c:pt>
                <c:pt idx="3320">
                  <c:v>2413.3262391280846</c:v>
                </c:pt>
                <c:pt idx="3321">
                  <c:v>2251.4808700657563</c:v>
                </c:pt>
                <c:pt idx="3322">
                  <c:v>2310.7768431468739</c:v>
                </c:pt>
                <c:pt idx="3323">
                  <c:v>2506.6497357522644</c:v>
                </c:pt>
                <c:pt idx="3324">
                  <c:v>2599.7672904704373</c:v>
                </c:pt>
                <c:pt idx="3325">
                  <c:v>2515.7876861628756</c:v>
                </c:pt>
                <c:pt idx="3326">
                  <c:v>2502.960009750781</c:v>
                </c:pt>
                <c:pt idx="3327">
                  <c:v>2610.9334965330436</c:v>
                </c:pt>
                <c:pt idx="3328">
                  <c:v>2682.1258569724309</c:v>
                </c:pt>
                <c:pt idx="3329">
                  <c:v>2802.1825750498206</c:v>
                </c:pt>
                <c:pt idx="3330">
                  <c:v>2838.1542014122974</c:v>
                </c:pt>
                <c:pt idx="3331">
                  <c:v>2816.5612899548555</c:v>
                </c:pt>
                <c:pt idx="3332">
                  <c:v>2648.2394863964901</c:v>
                </c:pt>
                <c:pt idx="3333">
                  <c:v>2525.4508168009093</c:v>
                </c:pt>
                <c:pt idx="3334">
                  <c:v>2486.0228397087908</c:v>
                </c:pt>
                <c:pt idx="3335">
                  <c:v>2492.287902414469</c:v>
                </c:pt>
                <c:pt idx="3336">
                  <c:v>2558.6540392327151</c:v>
                </c:pt>
                <c:pt idx="3337">
                  <c:v>2535.1064917228387</c:v>
                </c:pt>
                <c:pt idx="3338">
                  <c:v>2643.2139853643662</c:v>
                </c:pt>
                <c:pt idx="3339">
                  <c:v>3022.0300495775873</c:v>
                </c:pt>
                <c:pt idx="3340">
                  <c:v>3302.977119221754</c:v>
                </c:pt>
                <c:pt idx="3341">
                  <c:v>3289.7543319016731</c:v>
                </c:pt>
                <c:pt idx="3342">
                  <c:v>3105.70247608824</c:v>
                </c:pt>
                <c:pt idx="3343">
                  <c:v>2862.9996152348676</c:v>
                </c:pt>
                <c:pt idx="3344">
                  <c:v>2448.1452016243093</c:v>
                </c:pt>
                <c:pt idx="3345">
                  <c:v>2332.9747465962769</c:v>
                </c:pt>
                <c:pt idx="3346">
                  <c:v>2278.135238065674</c:v>
                </c:pt>
                <c:pt idx="3347">
                  <c:v>2094.2926381132079</c:v>
                </c:pt>
                <c:pt idx="3348">
                  <c:v>2055.2951742945311</c:v>
                </c:pt>
                <c:pt idx="3349">
                  <c:v>2143.0883801198934</c:v>
                </c:pt>
                <c:pt idx="3350">
                  <c:v>2269.1100342018526</c:v>
                </c:pt>
                <c:pt idx="3351">
                  <c:v>2463.5081988300012</c:v>
                </c:pt>
                <c:pt idx="3352">
                  <c:v>2521.6719683995207</c:v>
                </c:pt>
                <c:pt idx="3353">
                  <c:v>2717.232010333048</c:v>
                </c:pt>
                <c:pt idx="3354">
                  <c:v>2769.1343090894143</c:v>
                </c:pt>
                <c:pt idx="3355">
                  <c:v>2807.7720583590512</c:v>
                </c:pt>
                <c:pt idx="3356">
                  <c:v>2725.5605295650944</c:v>
                </c:pt>
                <c:pt idx="3357">
                  <c:v>2671.3549065200787</c:v>
                </c:pt>
                <c:pt idx="3358">
                  <c:v>2628.5487965537232</c:v>
                </c:pt>
                <c:pt idx="3359">
                  <c:v>2627.1686306895735</c:v>
                </c:pt>
                <c:pt idx="3360">
                  <c:v>2697.1716045573121</c:v>
                </c:pt>
                <c:pt idx="3361">
                  <c:v>2717.385322659055</c:v>
                </c:pt>
                <c:pt idx="3362">
                  <c:v>2714.2054717534061</c:v>
                </c:pt>
                <c:pt idx="3363">
                  <c:v>2879.4753914473249</c:v>
                </c:pt>
                <c:pt idx="3364">
                  <c:v>3281.3753279594712</c:v>
                </c:pt>
                <c:pt idx="3365">
                  <c:v>3308.2453984429098</c:v>
                </c:pt>
                <c:pt idx="3366">
                  <c:v>3374.8604570170464</c:v>
                </c:pt>
                <c:pt idx="3367">
                  <c:v>3219.8322957459322</c:v>
                </c:pt>
                <c:pt idx="3368">
                  <c:v>3076.2666716707408</c:v>
                </c:pt>
                <c:pt idx="3369">
                  <c:v>2999.1444395895828</c:v>
                </c:pt>
                <c:pt idx="3370">
                  <c:v>2960.4828302810624</c:v>
                </c:pt>
                <c:pt idx="3371">
                  <c:v>2851.6076987522556</c:v>
                </c:pt>
                <c:pt idx="3372">
                  <c:v>2746.7208216485369</c:v>
                </c:pt>
                <c:pt idx="3373">
                  <c:v>2619.6722625303128</c:v>
                </c:pt>
                <c:pt idx="3374">
                  <c:v>2597.8001663392479</c:v>
                </c:pt>
                <c:pt idx="3375">
                  <c:v>2698.1498765264064</c:v>
                </c:pt>
                <c:pt idx="3376">
                  <c:v>2816.4421317324759</c:v>
                </c:pt>
                <c:pt idx="3377">
                  <c:v>3031.0623012609317</c:v>
                </c:pt>
                <c:pt idx="3378">
                  <c:v>3141.6474406482962</c:v>
                </c:pt>
                <c:pt idx="3379">
                  <c:v>3172.6569319208916</c:v>
                </c:pt>
                <c:pt idx="3380">
                  <c:v>3238.9286868213235</c:v>
                </c:pt>
                <c:pt idx="3381">
                  <c:v>3231.8775686328995</c:v>
                </c:pt>
                <c:pt idx="3382">
                  <c:v>3171.1789555142441</c:v>
                </c:pt>
                <c:pt idx="3383">
                  <c:v>3196.8969180065578</c:v>
                </c:pt>
                <c:pt idx="3384">
                  <c:v>3080.0910515963478</c:v>
                </c:pt>
                <c:pt idx="3385">
                  <c:v>3044.6853268637037</c:v>
                </c:pt>
                <c:pt idx="3386">
                  <c:v>3047.8200208328922</c:v>
                </c:pt>
                <c:pt idx="3387">
                  <c:v>3063.9691335864218</c:v>
                </c:pt>
                <c:pt idx="3388">
                  <c:v>3157.2227291863073</c:v>
                </c:pt>
                <c:pt idx="3389">
                  <c:v>3182.6496790362135</c:v>
                </c:pt>
                <c:pt idx="3390">
                  <c:v>3017.1533827458097</c:v>
                </c:pt>
                <c:pt idx="3391">
                  <c:v>2847.3103078622007</c:v>
                </c:pt>
                <c:pt idx="3392">
                  <c:v>2758.3878488133687</c:v>
                </c:pt>
                <c:pt idx="3393">
                  <c:v>2640.3306452412644</c:v>
                </c:pt>
                <c:pt idx="3394">
                  <c:v>2504.7925220034112</c:v>
                </c:pt>
                <c:pt idx="3395">
                  <c:v>2378.6419147206416</c:v>
                </c:pt>
                <c:pt idx="3396">
                  <c:v>2296.5232836906707</c:v>
                </c:pt>
                <c:pt idx="3397">
                  <c:v>2299.2915429190739</c:v>
                </c:pt>
                <c:pt idx="3398">
                  <c:v>2399.0034328110482</c:v>
                </c:pt>
                <c:pt idx="3399">
                  <c:v>2455.462704129121</c:v>
                </c:pt>
                <c:pt idx="3400">
                  <c:v>2478.9735933670645</c:v>
                </c:pt>
                <c:pt idx="3401">
                  <c:v>2643.177896618718</c:v>
                </c:pt>
                <c:pt idx="3402">
                  <c:v>2891.898193097642</c:v>
                </c:pt>
                <c:pt idx="3403">
                  <c:v>3118.2590661793042</c:v>
                </c:pt>
                <c:pt idx="3404">
                  <c:v>3151.074577722507</c:v>
                </c:pt>
                <c:pt idx="3405">
                  <c:v>3123.1503561308486</c:v>
                </c:pt>
                <c:pt idx="3406">
                  <c:v>3117.4492920836665</c:v>
                </c:pt>
                <c:pt idx="3407">
                  <c:v>3164.5561576773434</c:v>
                </c:pt>
                <c:pt idx="3408">
                  <c:v>3209.4806635258929</c:v>
                </c:pt>
                <c:pt idx="3409">
                  <c:v>3212.0597886992791</c:v>
                </c:pt>
                <c:pt idx="3410">
                  <c:v>3196.5972958522248</c:v>
                </c:pt>
                <c:pt idx="3411">
                  <c:v>3215.4500001175497</c:v>
                </c:pt>
                <c:pt idx="3412">
                  <c:v>3166.4411247751596</c:v>
                </c:pt>
                <c:pt idx="3413">
                  <c:v>2951.9680399147214</c:v>
                </c:pt>
                <c:pt idx="3414">
                  <c:v>2811.8139924111642</c:v>
                </c:pt>
                <c:pt idx="3415">
                  <c:v>2622.9238355246475</c:v>
                </c:pt>
                <c:pt idx="3416">
                  <c:v>2488.4401418786251</c:v>
                </c:pt>
                <c:pt idx="3417">
                  <c:v>2254.5681355458996</c:v>
                </c:pt>
                <c:pt idx="3418">
                  <c:v>2170.8591938274435</c:v>
                </c:pt>
                <c:pt idx="3419">
                  <c:v>2087.0342658695322</c:v>
                </c:pt>
                <c:pt idx="3420">
                  <c:v>2016.4163341189117</c:v>
                </c:pt>
                <c:pt idx="3421">
                  <c:v>2078.4483016449844</c:v>
                </c:pt>
                <c:pt idx="3422">
                  <c:v>2380.1919430279377</c:v>
                </c:pt>
                <c:pt idx="3423">
                  <c:v>2368.7194301122613</c:v>
                </c:pt>
                <c:pt idx="3424">
                  <c:v>2453.1440954586419</c:v>
                </c:pt>
                <c:pt idx="3425">
                  <c:v>2289.1295891622062</c:v>
                </c:pt>
                <c:pt idx="3426">
                  <c:v>2510.8552281430525</c:v>
                </c:pt>
                <c:pt idx="3427">
                  <c:v>2735.3761316178411</c:v>
                </c:pt>
                <c:pt idx="3428">
                  <c:v>2757.4817079216355</c:v>
                </c:pt>
                <c:pt idx="3429">
                  <c:v>2737.6882308704435</c:v>
                </c:pt>
                <c:pt idx="3430">
                  <c:v>2731.8181589425662</c:v>
                </c:pt>
                <c:pt idx="3431">
                  <c:v>2734.1958148751442</c:v>
                </c:pt>
                <c:pt idx="3432">
                  <c:v>2878.8830273219701</c:v>
                </c:pt>
                <c:pt idx="3433">
                  <c:v>3029.7851268265213</c:v>
                </c:pt>
                <c:pt idx="3434">
                  <c:v>3062.8574641457271</c:v>
                </c:pt>
                <c:pt idx="3435">
                  <c:v>3019.182513163968</c:v>
                </c:pt>
                <c:pt idx="3436">
                  <c:v>2978.0525823961352</c:v>
                </c:pt>
                <c:pt idx="3437">
                  <c:v>2867.7788826970082</c:v>
                </c:pt>
                <c:pt idx="3438">
                  <c:v>2651.9343971075391</c:v>
                </c:pt>
                <c:pt idx="3439">
                  <c:v>2519.4797612555176</c:v>
                </c:pt>
                <c:pt idx="3440">
                  <c:v>2471.2920893037553</c:v>
                </c:pt>
                <c:pt idx="3441">
                  <c:v>2379.9964513559144</c:v>
                </c:pt>
                <c:pt idx="3442">
                  <c:v>2328.0615290636852</c:v>
                </c:pt>
                <c:pt idx="3443">
                  <c:v>2212.7167067105779</c:v>
                </c:pt>
                <c:pt idx="3444">
                  <c:v>2160.3532030566967</c:v>
                </c:pt>
                <c:pt idx="3445">
                  <c:v>2163.4269593515146</c:v>
                </c:pt>
                <c:pt idx="3446">
                  <c:v>2172.3179570491734</c:v>
                </c:pt>
                <c:pt idx="3447">
                  <c:v>2272.7824887590414</c:v>
                </c:pt>
                <c:pt idx="3448">
                  <c:v>2329.8174970928026</c:v>
                </c:pt>
                <c:pt idx="3449">
                  <c:v>2441.8559676333593</c:v>
                </c:pt>
                <c:pt idx="3450">
                  <c:v>2652.4703453678881</c:v>
                </c:pt>
                <c:pt idx="3451">
                  <c:v>2689.1028220740654</c:v>
                </c:pt>
                <c:pt idx="3452">
                  <c:v>2639.5947817878609</c:v>
                </c:pt>
                <c:pt idx="3453">
                  <c:v>2589.2576761364808</c:v>
                </c:pt>
                <c:pt idx="3454">
                  <c:v>2704.418726063137</c:v>
                </c:pt>
                <c:pt idx="3455">
                  <c:v>2761.6173533467127</c:v>
                </c:pt>
                <c:pt idx="3456">
                  <c:v>2814.179487892764</c:v>
                </c:pt>
                <c:pt idx="3457">
                  <c:v>2886.2067815108076</c:v>
                </c:pt>
                <c:pt idx="3458">
                  <c:v>2943.6114244166392</c:v>
                </c:pt>
                <c:pt idx="3459">
                  <c:v>2894.7783661522358</c:v>
                </c:pt>
                <c:pt idx="3460">
                  <c:v>2908.4812728674265</c:v>
                </c:pt>
                <c:pt idx="3461">
                  <c:v>2815.7581978277231</c:v>
                </c:pt>
                <c:pt idx="3462">
                  <c:v>2793.9755216317944</c:v>
                </c:pt>
                <c:pt idx="3463">
                  <c:v>2759.6821428912035</c:v>
                </c:pt>
                <c:pt idx="3464">
                  <c:v>2746.0730278177834</c:v>
                </c:pt>
                <c:pt idx="3465">
                  <c:v>2655.4420516167784</c:v>
                </c:pt>
                <c:pt idx="3466">
                  <c:v>2541.0820991101409</c:v>
                </c:pt>
                <c:pt idx="3467">
                  <c:v>2379.5945760264326</c:v>
                </c:pt>
                <c:pt idx="3468">
                  <c:v>2267.5209199007982</c:v>
                </c:pt>
                <c:pt idx="3469">
                  <c:v>2303.5271235527803</c:v>
                </c:pt>
                <c:pt idx="3470">
                  <c:v>2315.4646462165515</c:v>
                </c:pt>
                <c:pt idx="3471">
                  <c:v>2427.5448254112189</c:v>
                </c:pt>
                <c:pt idx="3472">
                  <c:v>2575.441534163067</c:v>
                </c:pt>
                <c:pt idx="3473">
                  <c:v>2703.7587695972206</c:v>
                </c:pt>
                <c:pt idx="3474">
                  <c:v>2823.1510137676996</c:v>
                </c:pt>
                <c:pt idx="3475">
                  <c:v>2904.3243327289574</c:v>
                </c:pt>
                <c:pt idx="3476">
                  <c:v>2788.0008059380907</c:v>
                </c:pt>
                <c:pt idx="3477">
                  <c:v>2618.7306826880217</c:v>
                </c:pt>
                <c:pt idx="3478">
                  <c:v>2555.2291232961534</c:v>
                </c:pt>
                <c:pt idx="3479">
                  <c:v>2517.5468846018712</c:v>
                </c:pt>
                <c:pt idx="3480">
                  <c:v>2531.175896510169</c:v>
                </c:pt>
                <c:pt idx="3481">
                  <c:v>2545.3584399155443</c:v>
                </c:pt>
                <c:pt idx="3482">
                  <c:v>2652.9316769481438</c:v>
                </c:pt>
                <c:pt idx="3483">
                  <c:v>2965.6221077032874</c:v>
                </c:pt>
                <c:pt idx="3484">
                  <c:v>3122.0120418151691</c:v>
                </c:pt>
                <c:pt idx="3485">
                  <c:v>3165.5419951178474</c:v>
                </c:pt>
                <c:pt idx="3486">
                  <c:v>3241.0574941682135</c:v>
                </c:pt>
                <c:pt idx="3487">
                  <c:v>3547.5688716076606</c:v>
                </c:pt>
                <c:pt idx="3488">
                  <c:v>3575.8620976339657</c:v>
                </c:pt>
                <c:pt idx="3489">
                  <c:v>3556.9069496233351</c:v>
                </c:pt>
                <c:pt idx="3490">
                  <c:v>3522.1571564493706</c:v>
                </c:pt>
                <c:pt idx="3491">
                  <c:v>3580.3188292011187</c:v>
                </c:pt>
                <c:pt idx="3492">
                  <c:v>3695.9312480933881</c:v>
                </c:pt>
                <c:pt idx="3493">
                  <c:v>3778.9515036661905</c:v>
                </c:pt>
                <c:pt idx="3494">
                  <c:v>3797.9905866369299</c:v>
                </c:pt>
                <c:pt idx="3495">
                  <c:v>3950.7682093686344</c:v>
                </c:pt>
                <c:pt idx="3496">
                  <c:v>3961.3691078997767</c:v>
                </c:pt>
                <c:pt idx="3497">
                  <c:v>3984.7685769373797</c:v>
                </c:pt>
                <c:pt idx="3498">
                  <c:v>3877.4286130659648</c:v>
                </c:pt>
                <c:pt idx="3499">
                  <c:v>3744.422834669404</c:v>
                </c:pt>
                <c:pt idx="3500">
                  <c:v>3544.1568669357316</c:v>
                </c:pt>
                <c:pt idx="3501">
                  <c:v>3413.1176606175572</c:v>
                </c:pt>
                <c:pt idx="3502">
                  <c:v>3309.1280811858319</c:v>
                </c:pt>
                <c:pt idx="3503">
                  <c:v>3291.1372618521659</c:v>
                </c:pt>
                <c:pt idx="3504">
                  <c:v>3255.0378595646903</c:v>
                </c:pt>
                <c:pt idx="3505">
                  <c:v>3233.7267702444733</c:v>
                </c:pt>
                <c:pt idx="3506">
                  <c:v>3293.3487427922246</c:v>
                </c:pt>
                <c:pt idx="3507">
                  <c:v>3336.5842007692299</c:v>
                </c:pt>
                <c:pt idx="3508">
                  <c:v>3434.5722055821184</c:v>
                </c:pt>
                <c:pt idx="3509">
                  <c:v>3396.6406072028167</c:v>
                </c:pt>
                <c:pt idx="3510">
                  <c:v>3219.0339291034325</c:v>
                </c:pt>
                <c:pt idx="3511">
                  <c:v>3203.5619143010949</c:v>
                </c:pt>
                <c:pt idx="3512">
                  <c:v>3273.3980093226414</c:v>
                </c:pt>
                <c:pt idx="3513">
                  <c:v>3122.079587741795</c:v>
                </c:pt>
                <c:pt idx="3514">
                  <c:v>2841.5351731812189</c:v>
                </c:pt>
                <c:pt idx="3515">
                  <c:v>2859.1568504765719</c:v>
                </c:pt>
                <c:pt idx="3516">
                  <c:v>2816.586952492557</c:v>
                </c:pt>
                <c:pt idx="3517">
                  <c:v>2824.9623667264191</c:v>
                </c:pt>
                <c:pt idx="3518">
                  <c:v>2711.559304654123</c:v>
                </c:pt>
                <c:pt idx="3519">
                  <c:v>2861.1273972259351</c:v>
                </c:pt>
                <c:pt idx="3520">
                  <c:v>2972.5931897021451</c:v>
                </c:pt>
                <c:pt idx="3521">
                  <c:v>3030.3383312418687</c:v>
                </c:pt>
                <c:pt idx="3522">
                  <c:v>3137.6890746131826</c:v>
                </c:pt>
                <c:pt idx="3523">
                  <c:v>3191.2548406103356</c:v>
                </c:pt>
                <c:pt idx="3524">
                  <c:v>3177.9404141629775</c:v>
                </c:pt>
                <c:pt idx="3525">
                  <c:v>3192.114024797022</c:v>
                </c:pt>
                <c:pt idx="3526">
                  <c:v>3262.7214910243624</c:v>
                </c:pt>
                <c:pt idx="3527">
                  <c:v>3205.2741800610797</c:v>
                </c:pt>
                <c:pt idx="3528">
                  <c:v>3177.9568960243296</c:v>
                </c:pt>
                <c:pt idx="3529">
                  <c:v>3160.6592895600984</c:v>
                </c:pt>
                <c:pt idx="3530">
                  <c:v>3232.6639916048007</c:v>
                </c:pt>
                <c:pt idx="3531">
                  <c:v>3316.8609791263771</c:v>
                </c:pt>
                <c:pt idx="3532">
                  <c:v>3137.2938544959375</c:v>
                </c:pt>
                <c:pt idx="3533">
                  <c:v>2960.5611284052734</c:v>
                </c:pt>
                <c:pt idx="3534">
                  <c:v>2786.0199492886418</c:v>
                </c:pt>
                <c:pt idx="3535">
                  <c:v>2709.3059856469818</c:v>
                </c:pt>
                <c:pt idx="3536">
                  <c:v>2660.9966048905981</c:v>
                </c:pt>
                <c:pt idx="3537">
                  <c:v>2591.5760385400804</c:v>
                </c:pt>
                <c:pt idx="3538">
                  <c:v>2508.7474899924341</c:v>
                </c:pt>
                <c:pt idx="3539">
                  <c:v>2364.8922593440429</c:v>
                </c:pt>
                <c:pt idx="3540">
                  <c:v>2250.2279291658942</c:v>
                </c:pt>
                <c:pt idx="3541">
                  <c:v>2402.6154618852906</c:v>
                </c:pt>
                <c:pt idx="3542">
                  <c:v>2413.5818887203695</c:v>
                </c:pt>
                <c:pt idx="3543">
                  <c:v>2335.6338713741275</c:v>
                </c:pt>
                <c:pt idx="3544">
                  <c:v>2456.2716564250859</c:v>
                </c:pt>
                <c:pt idx="3545">
                  <c:v>2518.3152274349159</c:v>
                </c:pt>
                <c:pt idx="3546">
                  <c:v>2643.2013110838252</c:v>
                </c:pt>
                <c:pt idx="3547">
                  <c:v>2733.9652817742663</c:v>
                </c:pt>
                <c:pt idx="3548">
                  <c:v>2671.8439237395564</c:v>
                </c:pt>
                <c:pt idx="3549">
                  <c:v>2675.2867412578362</c:v>
                </c:pt>
                <c:pt idx="3550">
                  <c:v>2773.4525365600202</c:v>
                </c:pt>
                <c:pt idx="3551">
                  <c:v>2834.2343682260457</c:v>
                </c:pt>
                <c:pt idx="3552">
                  <c:v>2943.2969006589306</c:v>
                </c:pt>
                <c:pt idx="3553">
                  <c:v>3047.6362604194596</c:v>
                </c:pt>
                <c:pt idx="3554">
                  <c:v>3166.0188021961344</c:v>
                </c:pt>
                <c:pt idx="3555">
                  <c:v>3021.7633687580615</c:v>
                </c:pt>
                <c:pt idx="3556">
                  <c:v>2892.0316413515484</c:v>
                </c:pt>
                <c:pt idx="3557">
                  <c:v>2728.4579691495665</c:v>
                </c:pt>
                <c:pt idx="3558">
                  <c:v>2661.5080160146586</c:v>
                </c:pt>
                <c:pt idx="3559">
                  <c:v>2610.4640829215837</c:v>
                </c:pt>
                <c:pt idx="3560">
                  <c:v>2560.0186613430465</c:v>
                </c:pt>
                <c:pt idx="3561">
                  <c:v>2558.9227715481697</c:v>
                </c:pt>
                <c:pt idx="3562">
                  <c:v>2412.3133216136989</c:v>
                </c:pt>
                <c:pt idx="3563">
                  <c:v>2277.7382110812409</c:v>
                </c:pt>
                <c:pt idx="3564">
                  <c:v>2272.3656736029425</c:v>
                </c:pt>
                <c:pt idx="3565">
                  <c:v>2276.9865707122508</c:v>
                </c:pt>
                <c:pt idx="3566">
                  <c:v>2230.8802399411393</c:v>
                </c:pt>
                <c:pt idx="3567">
                  <c:v>2307.8907285625496</c:v>
                </c:pt>
                <c:pt idx="3568">
                  <c:v>2438.8102262436796</c:v>
                </c:pt>
                <c:pt idx="3569">
                  <c:v>2524.4447669107694</c:v>
                </c:pt>
                <c:pt idx="3570">
                  <c:v>2673.7019691169157</c:v>
                </c:pt>
                <c:pt idx="3571">
                  <c:v>2800.9069399199138</c:v>
                </c:pt>
                <c:pt idx="3572">
                  <c:v>2860.6243187683281</c:v>
                </c:pt>
                <c:pt idx="3573">
                  <c:v>2905.1889855692825</c:v>
                </c:pt>
                <c:pt idx="3574">
                  <c:v>2903.5594272573358</c:v>
                </c:pt>
                <c:pt idx="3575">
                  <c:v>2932.637238809762</c:v>
                </c:pt>
                <c:pt idx="3576">
                  <c:v>3018.1669467790075</c:v>
                </c:pt>
                <c:pt idx="3577">
                  <c:v>3151.5422308807138</c:v>
                </c:pt>
                <c:pt idx="3578">
                  <c:v>3124.2124625875331</c:v>
                </c:pt>
                <c:pt idx="3579">
                  <c:v>2893.0021556409365</c:v>
                </c:pt>
                <c:pt idx="3580">
                  <c:v>2607.6213893925492</c:v>
                </c:pt>
                <c:pt idx="3581">
                  <c:v>2448.3709546359255</c:v>
                </c:pt>
                <c:pt idx="3582">
                  <c:v>2319.8269166891769</c:v>
                </c:pt>
                <c:pt idx="3583">
                  <c:v>2290.7444419013964</c:v>
                </c:pt>
                <c:pt idx="3584">
                  <c:v>2307.1647873163629</c:v>
                </c:pt>
                <c:pt idx="3585">
                  <c:v>2274.5412541833252</c:v>
                </c:pt>
                <c:pt idx="3586">
                  <c:v>2303.1002682434651</c:v>
                </c:pt>
                <c:pt idx="3587">
                  <c:v>2262.789729630701</c:v>
                </c:pt>
                <c:pt idx="3588">
                  <c:v>2239.6423690751635</c:v>
                </c:pt>
                <c:pt idx="3589">
                  <c:v>2221.4190290321071</c:v>
                </c:pt>
                <c:pt idx="3590">
                  <c:v>2223.1521297345043</c:v>
                </c:pt>
                <c:pt idx="3591">
                  <c:v>2232.4759024293567</c:v>
                </c:pt>
                <c:pt idx="3592">
                  <c:v>2347.6562348888101</c:v>
                </c:pt>
                <c:pt idx="3593">
                  <c:v>2510.3720317770735</c:v>
                </c:pt>
                <c:pt idx="3594">
                  <c:v>2701.5988430720081</c:v>
                </c:pt>
                <c:pt idx="3595">
                  <c:v>2811.8464275610559</c:v>
                </c:pt>
                <c:pt idx="3596">
                  <c:v>2837.5278764837039</c:v>
                </c:pt>
                <c:pt idx="3597">
                  <c:v>2828.7337736089066</c:v>
                </c:pt>
                <c:pt idx="3598">
                  <c:v>2860.0592908125668</c:v>
                </c:pt>
                <c:pt idx="3599">
                  <c:v>2801.1161957808818</c:v>
                </c:pt>
                <c:pt idx="3600">
                  <c:v>2914.3326509004123</c:v>
                </c:pt>
                <c:pt idx="3601">
                  <c:v>2935.440131024392</c:v>
                </c:pt>
                <c:pt idx="3602">
                  <c:v>2820.780317195145</c:v>
                </c:pt>
                <c:pt idx="3603">
                  <c:v>2821.4115226855188</c:v>
                </c:pt>
                <c:pt idx="3604">
                  <c:v>2728.3189528615953</c:v>
                </c:pt>
                <c:pt idx="3605">
                  <c:v>2657.4534863126719</c:v>
                </c:pt>
                <c:pt idx="3606">
                  <c:v>2539.774501706434</c:v>
                </c:pt>
                <c:pt idx="3607">
                  <c:v>2619.2933724735499</c:v>
                </c:pt>
                <c:pt idx="3608">
                  <c:v>2607.6792309844304</c:v>
                </c:pt>
                <c:pt idx="3609">
                  <c:v>2668.6480567500444</c:v>
                </c:pt>
                <c:pt idx="3610">
                  <c:v>2653.6879619869142</c:v>
                </c:pt>
                <c:pt idx="3611">
                  <c:v>2485.086238716613</c:v>
                </c:pt>
                <c:pt idx="3612">
                  <c:v>2152.8085813324396</c:v>
                </c:pt>
                <c:pt idx="3613">
                  <c:v>2206.454969426833</c:v>
                </c:pt>
                <c:pt idx="3614">
                  <c:v>2208.3257780902791</c:v>
                </c:pt>
                <c:pt idx="3615">
                  <c:v>2409.835241215012</c:v>
                </c:pt>
                <c:pt idx="3616">
                  <c:v>2629.0705394197212</c:v>
                </c:pt>
                <c:pt idx="3617">
                  <c:v>2676.4798573256758</c:v>
                </c:pt>
                <c:pt idx="3618">
                  <c:v>2727.7899448496491</c:v>
                </c:pt>
                <c:pt idx="3619">
                  <c:v>2793.9302057958625</c:v>
                </c:pt>
                <c:pt idx="3620">
                  <c:v>2791.7795347553415</c:v>
                </c:pt>
                <c:pt idx="3621">
                  <c:v>2719.3228838438617</c:v>
                </c:pt>
                <c:pt idx="3622">
                  <c:v>2652.2418495657344</c:v>
                </c:pt>
                <c:pt idx="3623">
                  <c:v>2660.0379884039203</c:v>
                </c:pt>
                <c:pt idx="3624">
                  <c:v>2647.4974591725145</c:v>
                </c:pt>
                <c:pt idx="3625">
                  <c:v>2643.56187364276</c:v>
                </c:pt>
                <c:pt idx="3626">
                  <c:v>2677.3416319559828</c:v>
                </c:pt>
                <c:pt idx="3627">
                  <c:v>2806.224869492487</c:v>
                </c:pt>
                <c:pt idx="3628">
                  <c:v>2849.7877493867227</c:v>
                </c:pt>
                <c:pt idx="3629">
                  <c:v>2696.3908058622442</c:v>
                </c:pt>
                <c:pt idx="3630">
                  <c:v>2513.4163807487025</c:v>
                </c:pt>
                <c:pt idx="3631">
                  <c:v>2293.920900767464</c:v>
                </c:pt>
                <c:pt idx="3632">
                  <c:v>2189.8046549768101</c:v>
                </c:pt>
                <c:pt idx="3633">
                  <c:v>2173.733348905826</c:v>
                </c:pt>
                <c:pt idx="3634">
                  <c:v>1996.6016721096328</c:v>
                </c:pt>
                <c:pt idx="3635">
                  <c:v>1826.3936389944183</c:v>
                </c:pt>
                <c:pt idx="3636">
                  <c:v>1822.0163691761297</c:v>
                </c:pt>
                <c:pt idx="3637">
                  <c:v>1778.3669283851557</c:v>
                </c:pt>
                <c:pt idx="3638">
                  <c:v>1796.1783141762266</c:v>
                </c:pt>
                <c:pt idx="3639">
                  <c:v>1818.451209439527</c:v>
                </c:pt>
                <c:pt idx="3640">
                  <c:v>1881.8508809612174</c:v>
                </c:pt>
                <c:pt idx="3641">
                  <c:v>2016.0120949550208</c:v>
                </c:pt>
                <c:pt idx="3642">
                  <c:v>2115.738794168547</c:v>
                </c:pt>
                <c:pt idx="3643">
                  <c:v>2261.3805212022871</c:v>
                </c:pt>
                <c:pt idx="3644">
                  <c:v>2305.3793311492054</c:v>
                </c:pt>
                <c:pt idx="3645">
                  <c:v>2331.5510209810777</c:v>
                </c:pt>
                <c:pt idx="3646">
                  <c:v>2368.6873995826741</c:v>
                </c:pt>
                <c:pt idx="3647">
                  <c:v>2411.0345565464322</c:v>
                </c:pt>
                <c:pt idx="3648">
                  <c:v>2431.8118730547367</c:v>
                </c:pt>
                <c:pt idx="3649">
                  <c:v>2518.1886118582925</c:v>
                </c:pt>
                <c:pt idx="3650">
                  <c:v>2480.9788151482194</c:v>
                </c:pt>
                <c:pt idx="3651">
                  <c:v>2363.3189574515845</c:v>
                </c:pt>
                <c:pt idx="3652">
                  <c:v>2173.4070638569806</c:v>
                </c:pt>
                <c:pt idx="3653">
                  <c:v>2095.6782715389045</c:v>
                </c:pt>
                <c:pt idx="3654">
                  <c:v>1945.2452017752682</c:v>
                </c:pt>
                <c:pt idx="3655">
                  <c:v>1844.7902296978775</c:v>
                </c:pt>
                <c:pt idx="3656">
                  <c:v>1804.0832303506877</c:v>
                </c:pt>
                <c:pt idx="3657">
                  <c:v>1777.4448991843922</c:v>
                </c:pt>
                <c:pt idx="3658">
                  <c:v>1724.6779415811923</c:v>
                </c:pt>
                <c:pt idx="3659">
                  <c:v>1687.4730325315008</c:v>
                </c:pt>
                <c:pt idx="3660">
                  <c:v>1691.6086353649669</c:v>
                </c:pt>
                <c:pt idx="3661">
                  <c:v>1548.3241066393828</c:v>
                </c:pt>
                <c:pt idx="3662">
                  <c:v>1507.5519830808823</c:v>
                </c:pt>
                <c:pt idx="3663">
                  <c:v>1554.7842465679466</c:v>
                </c:pt>
                <c:pt idx="3664">
                  <c:v>1649.5858424591897</c:v>
                </c:pt>
                <c:pt idx="3665">
                  <c:v>1747.8167106443323</c:v>
                </c:pt>
                <c:pt idx="3666">
                  <c:v>1742.6549393910525</c:v>
                </c:pt>
                <c:pt idx="3667">
                  <c:v>1686.8431102499192</c:v>
                </c:pt>
                <c:pt idx="3668">
                  <c:v>1674.8772068299929</c:v>
                </c:pt>
                <c:pt idx="3669">
                  <c:v>1690.4945605903449</c:v>
                </c:pt>
                <c:pt idx="3670">
                  <c:v>1677.6425326977019</c:v>
                </c:pt>
                <c:pt idx="3671">
                  <c:v>1660.3780302900732</c:v>
                </c:pt>
                <c:pt idx="3672">
                  <c:v>1663.8186101106382</c:v>
                </c:pt>
                <c:pt idx="3673">
                  <c:v>1674.154636327582</c:v>
                </c:pt>
                <c:pt idx="3674">
                  <c:v>1686.4655350726339</c:v>
                </c:pt>
                <c:pt idx="3675">
                  <c:v>1704.3970641536</c:v>
                </c:pt>
                <c:pt idx="3676">
                  <c:v>1711.0442396812709</c:v>
                </c:pt>
                <c:pt idx="3677">
                  <c:v>1804.3809118564898</c:v>
                </c:pt>
                <c:pt idx="3678">
                  <c:v>1828.7822868389042</c:v>
                </c:pt>
                <c:pt idx="3679">
                  <c:v>1786.0214217224625</c:v>
                </c:pt>
                <c:pt idx="3680">
                  <c:v>1740.4076967870762</c:v>
                </c:pt>
                <c:pt idx="3681">
                  <c:v>1671.9736007447179</c:v>
                </c:pt>
                <c:pt idx="3682">
                  <c:v>1610.3197751919843</c:v>
                </c:pt>
                <c:pt idx="3683">
                  <c:v>1524.4728913181773</c:v>
                </c:pt>
                <c:pt idx="3684">
                  <c:v>1492.3793643697115</c:v>
                </c:pt>
                <c:pt idx="3685">
                  <c:v>1508.3538116568898</c:v>
                </c:pt>
                <c:pt idx="3686">
                  <c:v>1512.7475049095772</c:v>
                </c:pt>
                <c:pt idx="3687">
                  <c:v>1539.15376367049</c:v>
                </c:pt>
                <c:pt idx="3688">
                  <c:v>1612.1637178316962</c:v>
                </c:pt>
                <c:pt idx="3689">
                  <c:v>1667.4640479353152</c:v>
                </c:pt>
                <c:pt idx="3690">
                  <c:v>1692.0410892869393</c:v>
                </c:pt>
                <c:pt idx="3691">
                  <c:v>1699.3039997213687</c:v>
                </c:pt>
                <c:pt idx="3692">
                  <c:v>1689.0649202016843</c:v>
                </c:pt>
                <c:pt idx="3693">
                  <c:v>1667.0411432709409</c:v>
                </c:pt>
                <c:pt idx="3694">
                  <c:v>1666.7013326553813</c:v>
                </c:pt>
                <c:pt idx="3695">
                  <c:v>1695.4359235331387</c:v>
                </c:pt>
                <c:pt idx="3696">
                  <c:v>1710.7485741783878</c:v>
                </c:pt>
                <c:pt idx="3697">
                  <c:v>1738.1990296235729</c:v>
                </c:pt>
                <c:pt idx="3698">
                  <c:v>1703.6047651775239</c:v>
                </c:pt>
                <c:pt idx="3699">
                  <c:v>1707.6041420195838</c:v>
                </c:pt>
                <c:pt idx="3700">
                  <c:v>1734.7161279389084</c:v>
                </c:pt>
                <c:pt idx="3701">
                  <c:v>1795.5638269852509</c:v>
                </c:pt>
                <c:pt idx="3702">
                  <c:v>1712.8601160874935</c:v>
                </c:pt>
                <c:pt idx="3703">
                  <c:v>1691.3768059501856</c:v>
                </c:pt>
                <c:pt idx="3704">
                  <c:v>1673.9920936350138</c:v>
                </c:pt>
                <c:pt idx="3705">
                  <c:v>1652.1200089109211</c:v>
                </c:pt>
                <c:pt idx="3706">
                  <c:v>1633.3768060392583</c:v>
                </c:pt>
                <c:pt idx="3707">
                  <c:v>1587.9418806867193</c:v>
                </c:pt>
                <c:pt idx="3708">
                  <c:v>1581.7421354927396</c:v>
                </c:pt>
                <c:pt idx="3709">
                  <c:v>1569.9668644788615</c:v>
                </c:pt>
                <c:pt idx="3710">
                  <c:v>1577.4791711834116</c:v>
                </c:pt>
                <c:pt idx="3711">
                  <c:v>1531.2851967057595</c:v>
                </c:pt>
                <c:pt idx="3712">
                  <c:v>1584.2453531325925</c:v>
                </c:pt>
                <c:pt idx="3713">
                  <c:v>1660.3362954257404</c:v>
                </c:pt>
                <c:pt idx="3714">
                  <c:v>1596.8640658184868</c:v>
                </c:pt>
                <c:pt idx="3715">
                  <c:v>1633.5930829634804</c:v>
                </c:pt>
                <c:pt idx="3716">
                  <c:v>1637.694724993708</c:v>
                </c:pt>
                <c:pt idx="3717">
                  <c:v>1594.8553515252324</c:v>
                </c:pt>
                <c:pt idx="3718">
                  <c:v>1583.7830020839051</c:v>
                </c:pt>
                <c:pt idx="3719">
                  <c:v>1592.4163150747393</c:v>
                </c:pt>
                <c:pt idx="3720">
                  <c:v>1615.5060388057561</c:v>
                </c:pt>
                <c:pt idx="3721">
                  <c:v>1632.8044834510492</c:v>
                </c:pt>
                <c:pt idx="3722">
                  <c:v>1577.5227183753959</c:v>
                </c:pt>
                <c:pt idx="3723">
                  <c:v>1473.511771606122</c:v>
                </c:pt>
                <c:pt idx="3724">
                  <c:v>1406.0885929105727</c:v>
                </c:pt>
                <c:pt idx="3725">
                  <c:v>1387.9624884232658</c:v>
                </c:pt>
                <c:pt idx="3726">
                  <c:v>1375.3082177487217</c:v>
                </c:pt>
                <c:pt idx="3727">
                  <c:v>1361.2082403653947</c:v>
                </c:pt>
                <c:pt idx="3728">
                  <c:v>1395.6947327463961</c:v>
                </c:pt>
                <c:pt idx="3729">
                  <c:v>1440.3253701304175</c:v>
                </c:pt>
                <c:pt idx="3730">
                  <c:v>1460.9262077526262</c:v>
                </c:pt>
                <c:pt idx="3731">
                  <c:v>1429.6629163465452</c:v>
                </c:pt>
                <c:pt idx="3732">
                  <c:v>1449.6776906715911</c:v>
                </c:pt>
                <c:pt idx="3733">
                  <c:v>1446.2040461097565</c:v>
                </c:pt>
                <c:pt idx="3734">
                  <c:v>1432.3270456386849</c:v>
                </c:pt>
                <c:pt idx="3735">
                  <c:v>1425.1918767283385</c:v>
                </c:pt>
                <c:pt idx="3736">
                  <c:v>1446.9282722245325</c:v>
                </c:pt>
                <c:pt idx="3737">
                  <c:v>1437.0098283587311</c:v>
                </c:pt>
                <c:pt idx="3738">
                  <c:v>1447.7340252352583</c:v>
                </c:pt>
                <c:pt idx="3739">
                  <c:v>1418.2079648257459</c:v>
                </c:pt>
                <c:pt idx="3740">
                  <c:v>1402.7538739930244</c:v>
                </c:pt>
                <c:pt idx="3741">
                  <c:v>1373.5846985206535</c:v>
                </c:pt>
                <c:pt idx="3742">
                  <c:v>1351.9402528520784</c:v>
                </c:pt>
                <c:pt idx="3743">
                  <c:v>1376.182982274328</c:v>
                </c:pt>
                <c:pt idx="3744">
                  <c:v>1384.0636326975091</c:v>
                </c:pt>
                <c:pt idx="3745">
                  <c:v>1339.7874339632299</c:v>
                </c:pt>
                <c:pt idx="3746">
                  <c:v>1322.6739958090131</c:v>
                </c:pt>
                <c:pt idx="3747">
                  <c:v>1272.8654493195252</c:v>
                </c:pt>
                <c:pt idx="3748">
                  <c:v>1234.3923876123006</c:v>
                </c:pt>
                <c:pt idx="3749">
                  <c:v>1261.2262541343225</c:v>
                </c:pt>
                <c:pt idx="3750">
                  <c:v>1300.3060054914376</c:v>
                </c:pt>
                <c:pt idx="3751">
                  <c:v>1337.466644383851</c:v>
                </c:pt>
                <c:pt idx="3752">
                  <c:v>1284.082616244656</c:v>
                </c:pt>
                <c:pt idx="3753">
                  <c:v>1286.8062913391616</c:v>
                </c:pt>
                <c:pt idx="3754">
                  <c:v>1295.4047021429453</c:v>
                </c:pt>
                <c:pt idx="3755">
                  <c:v>1294.8526477010948</c:v>
                </c:pt>
                <c:pt idx="3756">
                  <c:v>1328.0549434923387</c:v>
                </c:pt>
                <c:pt idx="3757">
                  <c:v>1440.8931354162528</c:v>
                </c:pt>
                <c:pt idx="3758">
                  <c:v>1471.259615677588</c:v>
                </c:pt>
                <c:pt idx="3759">
                  <c:v>1495.4936170958667</c:v>
                </c:pt>
                <c:pt idx="3760">
                  <c:v>1525.6384402388403</c:v>
                </c:pt>
                <c:pt idx="3761">
                  <c:v>1512.5324331095269</c:v>
                </c:pt>
                <c:pt idx="3762">
                  <c:v>1469.7930936840598</c:v>
                </c:pt>
                <c:pt idx="3763">
                  <c:v>1452.333274339222</c:v>
                </c:pt>
                <c:pt idx="3764">
                  <c:v>1462.161443647436</c:v>
                </c:pt>
                <c:pt idx="3765">
                  <c:v>1452.7365104160699</c:v>
                </c:pt>
                <c:pt idx="3766">
                  <c:v>1388.3176101769225</c:v>
                </c:pt>
                <c:pt idx="3767">
                  <c:v>1347.0395010103437</c:v>
                </c:pt>
                <c:pt idx="3768">
                  <c:v>1346.3354665954448</c:v>
                </c:pt>
                <c:pt idx="3769">
                  <c:v>1369.9531537518467</c:v>
                </c:pt>
                <c:pt idx="3770">
                  <c:v>1361.1640482927367</c:v>
                </c:pt>
                <c:pt idx="3771">
                  <c:v>1367.3988747769513</c:v>
                </c:pt>
                <c:pt idx="3772">
                  <c:v>1365.6390609437822</c:v>
                </c:pt>
                <c:pt idx="3773">
                  <c:v>1363.5723237712771</c:v>
                </c:pt>
                <c:pt idx="3774">
                  <c:v>1318.1706537301641</c:v>
                </c:pt>
                <c:pt idx="3775">
                  <c:v>1301.0291411517633</c:v>
                </c:pt>
                <c:pt idx="3776">
                  <c:v>1301.1929337442996</c:v>
                </c:pt>
                <c:pt idx="3777">
                  <c:v>1302.4486485593375</c:v>
                </c:pt>
                <c:pt idx="3778">
                  <c:v>1273.3547188123912</c:v>
                </c:pt>
                <c:pt idx="3779">
                  <c:v>1317.4455817896783</c:v>
                </c:pt>
                <c:pt idx="3780">
                  <c:v>1282.7304150493849</c:v>
                </c:pt>
                <c:pt idx="3781">
                  <c:v>1279.4685834833153</c:v>
                </c:pt>
                <c:pt idx="3782">
                  <c:v>1344.5710124608652</c:v>
                </c:pt>
                <c:pt idx="3783">
                  <c:v>1367.6142130475932</c:v>
                </c:pt>
                <c:pt idx="3784">
                  <c:v>1404.6063021921527</c:v>
                </c:pt>
                <c:pt idx="3785">
                  <c:v>1447.1330019077654</c:v>
                </c:pt>
                <c:pt idx="3786">
                  <c:v>1443.4399040704138</c:v>
                </c:pt>
                <c:pt idx="3787">
                  <c:v>1420.4500549368877</c:v>
                </c:pt>
                <c:pt idx="3788">
                  <c:v>1403.8199431076678</c:v>
                </c:pt>
                <c:pt idx="3789">
                  <c:v>1353.6939711704622</c:v>
                </c:pt>
                <c:pt idx="3790">
                  <c:v>1240.4991919046372</c:v>
                </c:pt>
                <c:pt idx="3791">
                  <c:v>1365.518207247658</c:v>
                </c:pt>
                <c:pt idx="3792">
                  <c:v>1357.792476164728</c:v>
                </c:pt>
                <c:pt idx="3793">
                  <c:v>1380.1033281980499</c:v>
                </c:pt>
                <c:pt idx="3794">
                  <c:v>1325.5542065408015</c:v>
                </c:pt>
                <c:pt idx="3795">
                  <c:v>1290.1068714423793</c:v>
                </c:pt>
                <c:pt idx="3796">
                  <c:v>1316.9683285915685</c:v>
                </c:pt>
                <c:pt idx="3797">
                  <c:v>1366.3309354537494</c:v>
                </c:pt>
                <c:pt idx="3798">
                  <c:v>1343.9570827831565</c:v>
                </c:pt>
                <c:pt idx="3799">
                  <c:v>1349.4008285205778</c:v>
                </c:pt>
                <c:pt idx="3800">
                  <c:v>1361.6824597302923</c:v>
                </c:pt>
                <c:pt idx="3801">
                  <c:v>1367.6306091796773</c:v>
                </c:pt>
                <c:pt idx="3802">
                  <c:v>1357.0794276176002</c:v>
                </c:pt>
                <c:pt idx="3803">
                  <c:v>1339.0816068783465</c:v>
                </c:pt>
                <c:pt idx="3804">
                  <c:v>1351.7063954213593</c:v>
                </c:pt>
                <c:pt idx="3805">
                  <c:v>1355.8323026568207</c:v>
                </c:pt>
                <c:pt idx="3806">
                  <c:v>1354.8939592309175</c:v>
                </c:pt>
                <c:pt idx="3807">
                  <c:v>1366.9495583993591</c:v>
                </c:pt>
                <c:pt idx="3808">
                  <c:v>1418.0767105858508</c:v>
                </c:pt>
                <c:pt idx="3809">
                  <c:v>1455.0195310653526</c:v>
                </c:pt>
                <c:pt idx="3810">
                  <c:v>1465.2959727106436</c:v>
                </c:pt>
                <c:pt idx="3811">
                  <c:v>1477.2224395750904</c:v>
                </c:pt>
                <c:pt idx="3812">
                  <c:v>1459.5434721946144</c:v>
                </c:pt>
                <c:pt idx="3813">
                  <c:v>1456.3966811158184</c:v>
                </c:pt>
                <c:pt idx="3814">
                  <c:v>1433.4387434737869</c:v>
                </c:pt>
                <c:pt idx="3815">
                  <c:v>1436.2063064931644</c:v>
                </c:pt>
                <c:pt idx="3816">
                  <c:v>1455.8418101671807</c:v>
                </c:pt>
                <c:pt idx="3817">
                  <c:v>1452.2834792855367</c:v>
                </c:pt>
                <c:pt idx="3818">
                  <c:v>1384.0568273225408</c:v>
                </c:pt>
                <c:pt idx="3819">
                  <c:v>1356.7512963862332</c:v>
                </c:pt>
                <c:pt idx="3820">
                  <c:v>1347.9350911955748</c:v>
                </c:pt>
                <c:pt idx="3821">
                  <c:v>1349.856520534704</c:v>
                </c:pt>
                <c:pt idx="3822">
                  <c:v>1303.0792244583333</c:v>
                </c:pt>
                <c:pt idx="3823">
                  <c:v>1307.9396540574992</c:v>
                </c:pt>
                <c:pt idx="3824">
                  <c:v>1307.2898338489472</c:v>
                </c:pt>
                <c:pt idx="3825">
                  <c:v>1318.1079556025402</c:v>
                </c:pt>
                <c:pt idx="3826">
                  <c:v>1309.1845942870543</c:v>
                </c:pt>
                <c:pt idx="3827">
                  <c:v>1291.6515255620448</c:v>
                </c:pt>
                <c:pt idx="3828">
                  <c:v>1288.179662203223</c:v>
                </c:pt>
                <c:pt idx="3829">
                  <c:v>1294.1234733147985</c:v>
                </c:pt>
                <c:pt idx="3830">
                  <c:v>1308.2858446779635</c:v>
                </c:pt>
                <c:pt idx="3831">
                  <c:v>1354.4374852784977</c:v>
                </c:pt>
                <c:pt idx="3832">
                  <c:v>1401.350116744768</c:v>
                </c:pt>
                <c:pt idx="3833">
                  <c:v>1473.9045164955141</c:v>
                </c:pt>
                <c:pt idx="3834">
                  <c:v>1488.974274828056</c:v>
                </c:pt>
                <c:pt idx="3835">
                  <c:v>1475.1909851839027</c:v>
                </c:pt>
                <c:pt idx="3836">
                  <c:v>1456.1744113335142</c:v>
                </c:pt>
                <c:pt idx="3837">
                  <c:v>1432.5804575332552</c:v>
                </c:pt>
                <c:pt idx="3838">
                  <c:v>1419.4889512093382</c:v>
                </c:pt>
                <c:pt idx="3839">
                  <c:v>1440.5067421373581</c:v>
                </c:pt>
                <c:pt idx="3840">
                  <c:v>1450.1908464135622</c:v>
                </c:pt>
                <c:pt idx="3841">
                  <c:v>1441.021692187453</c:v>
                </c:pt>
                <c:pt idx="3842">
                  <c:v>1427.805422475943</c:v>
                </c:pt>
                <c:pt idx="3843">
                  <c:v>1385.5732137176342</c:v>
                </c:pt>
                <c:pt idx="3844">
                  <c:v>1390.8252169368902</c:v>
                </c:pt>
                <c:pt idx="3845">
                  <c:v>1361.7356555602998</c:v>
                </c:pt>
                <c:pt idx="3846">
                  <c:v>1362.7404593727958</c:v>
                </c:pt>
                <c:pt idx="3847">
                  <c:v>1336.1694693657666</c:v>
                </c:pt>
                <c:pt idx="3848">
                  <c:v>1358.2691794942193</c:v>
                </c:pt>
                <c:pt idx="3849">
                  <c:v>1364.5717080743004</c:v>
                </c:pt>
                <c:pt idx="3850">
                  <c:v>1342.1495576089615</c:v>
                </c:pt>
                <c:pt idx="3851">
                  <c:v>1317.3496938761837</c:v>
                </c:pt>
                <c:pt idx="3852">
                  <c:v>1293.2074615442002</c:v>
                </c:pt>
                <c:pt idx="3853">
                  <c:v>1331.6201938726263</c:v>
                </c:pt>
                <c:pt idx="3854">
                  <c:v>1362.7810606450214</c:v>
                </c:pt>
                <c:pt idx="3855">
                  <c:v>1402.3156188752196</c:v>
                </c:pt>
                <c:pt idx="3856">
                  <c:v>1437.1790923351382</c:v>
                </c:pt>
                <c:pt idx="3857">
                  <c:v>1489.5876688343499</c:v>
                </c:pt>
                <c:pt idx="3858">
                  <c:v>1527.6479861606012</c:v>
                </c:pt>
                <c:pt idx="3859">
                  <c:v>1511.7560087913239</c:v>
                </c:pt>
                <c:pt idx="3860">
                  <c:v>1473.3387410023759</c:v>
                </c:pt>
                <c:pt idx="3861">
                  <c:v>1431.2952933494639</c:v>
                </c:pt>
                <c:pt idx="3862">
                  <c:v>1443.2872568287942</c:v>
                </c:pt>
                <c:pt idx="3863">
                  <c:v>1431.2910107083762</c:v>
                </c:pt>
                <c:pt idx="3864">
                  <c:v>1419.4162091061735</c:v>
                </c:pt>
                <c:pt idx="3865">
                  <c:v>1408.73599571262</c:v>
                </c:pt>
                <c:pt idx="3866">
                  <c:v>1254.6333676213408</c:v>
                </c:pt>
                <c:pt idx="3867">
                  <c:v>1297.7110526201595</c:v>
                </c:pt>
                <c:pt idx="3868">
                  <c:v>1234.3442476249336</c:v>
                </c:pt>
                <c:pt idx="3869">
                  <c:v>1266.9301969375695</c:v>
                </c:pt>
                <c:pt idx="3870">
                  <c:v>1273.2700745381462</c:v>
                </c:pt>
                <c:pt idx="3871">
                  <c:v>1291.3026041640619</c:v>
                </c:pt>
                <c:pt idx="3872">
                  <c:v>1302.2673666500355</c:v>
                </c:pt>
                <c:pt idx="3873">
                  <c:v>1313.7157699836716</c:v>
                </c:pt>
                <c:pt idx="3874">
                  <c:v>1296.2320414557844</c:v>
                </c:pt>
                <c:pt idx="3875">
                  <c:v>1283.9422692418655</c:v>
                </c:pt>
                <c:pt idx="3876">
                  <c:v>1292.2836789887854</c:v>
                </c:pt>
                <c:pt idx="3877">
                  <c:v>1296.7603974884548</c:v>
                </c:pt>
                <c:pt idx="3878">
                  <c:v>1312.7635891986201</c:v>
                </c:pt>
                <c:pt idx="3879">
                  <c:v>1329.2111779553106</c:v>
                </c:pt>
                <c:pt idx="3880">
                  <c:v>1357.9862308634886</c:v>
                </c:pt>
                <c:pt idx="3881">
                  <c:v>1410.6462234580647</c:v>
                </c:pt>
                <c:pt idx="3882">
                  <c:v>1429.9226880423075</c:v>
                </c:pt>
                <c:pt idx="3883">
                  <c:v>1396.2365215179107</c:v>
                </c:pt>
                <c:pt idx="3884">
                  <c:v>1393.0686181051849</c:v>
                </c:pt>
                <c:pt idx="3885">
                  <c:v>1356.4050517071857</c:v>
                </c:pt>
                <c:pt idx="3886">
                  <c:v>1341.5690634379557</c:v>
                </c:pt>
                <c:pt idx="3887">
                  <c:v>1311.9739582047389</c:v>
                </c:pt>
                <c:pt idx="3888">
                  <c:v>1278.7694050581135</c:v>
                </c:pt>
                <c:pt idx="3889">
                  <c:v>1257.3785553017096</c:v>
                </c:pt>
                <c:pt idx="3890">
                  <c:v>1215.4418149235712</c:v>
                </c:pt>
                <c:pt idx="3891">
                  <c:v>1191.7254763133785</c:v>
                </c:pt>
                <c:pt idx="3892">
                  <c:v>1196.7072008140744</c:v>
                </c:pt>
                <c:pt idx="3893">
                  <c:v>1215.1671694727941</c:v>
                </c:pt>
                <c:pt idx="3894">
                  <c:v>1268.572275545002</c:v>
                </c:pt>
                <c:pt idx="3895">
                  <c:v>1282.3348951527244</c:v>
                </c:pt>
                <c:pt idx="3896">
                  <c:v>1291.4757494375299</c:v>
                </c:pt>
                <c:pt idx="3897">
                  <c:v>1323.8585749890849</c:v>
                </c:pt>
                <c:pt idx="3898">
                  <c:v>1322.1034779038075</c:v>
                </c:pt>
                <c:pt idx="3899">
                  <c:v>1326.6974472861502</c:v>
                </c:pt>
                <c:pt idx="3900">
                  <c:v>1329.2111260809127</c:v>
                </c:pt>
                <c:pt idx="3901">
                  <c:v>1339.1727796820883</c:v>
                </c:pt>
                <c:pt idx="3902">
                  <c:v>1353.4229907824135</c:v>
                </c:pt>
                <c:pt idx="3903">
                  <c:v>1403.217207925042</c:v>
                </c:pt>
                <c:pt idx="3904">
                  <c:v>1434.9711262950766</c:v>
                </c:pt>
                <c:pt idx="3905">
                  <c:v>1430.6764257751142</c:v>
                </c:pt>
                <c:pt idx="3906">
                  <c:v>1429.1537478346161</c:v>
                </c:pt>
                <c:pt idx="3907">
                  <c:v>1417.2235279939871</c:v>
                </c:pt>
                <c:pt idx="3908">
                  <c:v>1412.7875134232465</c:v>
                </c:pt>
                <c:pt idx="3909">
                  <c:v>1359.2023764337973</c:v>
                </c:pt>
                <c:pt idx="3910">
                  <c:v>1365.4616199241157</c:v>
                </c:pt>
                <c:pt idx="3911">
                  <c:v>1375.7245157989794</c:v>
                </c:pt>
                <c:pt idx="3912">
                  <c:v>1359.0947878403047</c:v>
                </c:pt>
                <c:pt idx="3913">
                  <c:v>1365.2533016246352</c:v>
                </c:pt>
                <c:pt idx="3914">
                  <c:v>1363.3040555951729</c:v>
                </c:pt>
                <c:pt idx="3915">
                  <c:v>1353.3266693081609</c:v>
                </c:pt>
                <c:pt idx="3916">
                  <c:v>1335.6193654012795</c:v>
                </c:pt>
                <c:pt idx="3917">
                  <c:v>1376.8193489942767</c:v>
                </c:pt>
                <c:pt idx="3918">
                  <c:v>1468.1222176871493</c:v>
                </c:pt>
                <c:pt idx="3919">
                  <c:v>1522.9860607708649</c:v>
                </c:pt>
                <c:pt idx="3920">
                  <c:v>1522.3208835563273</c:v>
                </c:pt>
                <c:pt idx="3921">
                  <c:v>1525.033266413463</c:v>
                </c:pt>
                <c:pt idx="3922">
                  <c:v>1503.9274610134687</c:v>
                </c:pt>
                <c:pt idx="3923">
                  <c:v>1453.2794415164326</c:v>
                </c:pt>
                <c:pt idx="3924">
                  <c:v>1431.0070371487507</c:v>
                </c:pt>
                <c:pt idx="3925">
                  <c:v>1426.6325532586566</c:v>
                </c:pt>
                <c:pt idx="3926">
                  <c:v>1411.3848204192184</c:v>
                </c:pt>
                <c:pt idx="3927">
                  <c:v>1423.4146942546347</c:v>
                </c:pt>
                <c:pt idx="3928">
                  <c:v>1452.2668150447219</c:v>
                </c:pt>
                <c:pt idx="3929">
                  <c:v>1497.2055798001584</c:v>
                </c:pt>
                <c:pt idx="3930">
                  <c:v>1540.5972102936603</c:v>
                </c:pt>
                <c:pt idx="3931">
                  <c:v>1562.1693670774953</c:v>
                </c:pt>
                <c:pt idx="3932">
                  <c:v>1642.5468295710684</c:v>
                </c:pt>
                <c:pt idx="3933">
                  <c:v>1691.1345399525778</c:v>
                </c:pt>
                <c:pt idx="3934">
                  <c:v>1699.7384559951029</c:v>
                </c:pt>
                <c:pt idx="3935">
                  <c:v>1711.4353022020296</c:v>
                </c:pt>
                <c:pt idx="3936">
                  <c:v>1768.959343044565</c:v>
                </c:pt>
                <c:pt idx="3937">
                  <c:v>1812.9858282558262</c:v>
                </c:pt>
                <c:pt idx="3938">
                  <c:v>1843.3844007499802</c:v>
                </c:pt>
                <c:pt idx="3939">
                  <c:v>1847.1794820156113</c:v>
                </c:pt>
                <c:pt idx="3940">
                  <c:v>1793.4535355221599</c:v>
                </c:pt>
                <c:pt idx="3941">
                  <c:v>1694.8310036192884</c:v>
                </c:pt>
                <c:pt idx="3942">
                  <c:v>1588.3206828300283</c:v>
                </c:pt>
                <c:pt idx="3943">
                  <c:v>1546.0111211536444</c:v>
                </c:pt>
                <c:pt idx="3944">
                  <c:v>1441.2571025738337</c:v>
                </c:pt>
                <c:pt idx="3945">
                  <c:v>1427.4990741233551</c:v>
                </c:pt>
                <c:pt idx="3946">
                  <c:v>1422.8098840960897</c:v>
                </c:pt>
                <c:pt idx="3947">
                  <c:v>1420.0331054534004</c:v>
                </c:pt>
                <c:pt idx="3948">
                  <c:v>1397.134720712337</c:v>
                </c:pt>
                <c:pt idx="3949">
                  <c:v>1392.1007161012694</c:v>
                </c:pt>
                <c:pt idx="3950">
                  <c:v>1396.1193967719316</c:v>
                </c:pt>
                <c:pt idx="3951">
                  <c:v>1396.5235283647023</c:v>
                </c:pt>
                <c:pt idx="3952">
                  <c:v>1470.7093948591939</c:v>
                </c:pt>
                <c:pt idx="3953">
                  <c:v>1515.5549052824144</c:v>
                </c:pt>
                <c:pt idx="3954">
                  <c:v>1522.401158368124</c:v>
                </c:pt>
                <c:pt idx="3955">
                  <c:v>1550.359435775076</c:v>
                </c:pt>
                <c:pt idx="3956">
                  <c:v>1529.2012481540528</c:v>
                </c:pt>
                <c:pt idx="3957">
                  <c:v>1475.9749187307477</c:v>
                </c:pt>
                <c:pt idx="3958">
                  <c:v>1450.4501397727704</c:v>
                </c:pt>
                <c:pt idx="3959">
                  <c:v>1432.7898559123059</c:v>
                </c:pt>
                <c:pt idx="3960">
                  <c:v>1470.6185660646177</c:v>
                </c:pt>
                <c:pt idx="3961">
                  <c:v>1510.5225076855916</c:v>
                </c:pt>
                <c:pt idx="3962">
                  <c:v>1486.1369795126891</c:v>
                </c:pt>
                <c:pt idx="3963">
                  <c:v>1492.2634807869599</c:v>
                </c:pt>
                <c:pt idx="3964">
                  <c:v>1519.8204436539743</c:v>
                </c:pt>
                <c:pt idx="3965">
                  <c:v>1527.9909136084095</c:v>
                </c:pt>
                <c:pt idx="3966">
                  <c:v>1483.2073919986769</c:v>
                </c:pt>
                <c:pt idx="3967">
                  <c:v>1472.8048972044458</c:v>
                </c:pt>
                <c:pt idx="3968">
                  <c:v>1468.6886719158315</c:v>
                </c:pt>
                <c:pt idx="3969">
                  <c:v>1410.4897031100782</c:v>
                </c:pt>
                <c:pt idx="3970">
                  <c:v>1401.5730603481995</c:v>
                </c:pt>
                <c:pt idx="3971">
                  <c:v>1383.2458022348421</c:v>
                </c:pt>
                <c:pt idx="3972">
                  <c:v>1379.1013097677021</c:v>
                </c:pt>
                <c:pt idx="3973">
                  <c:v>1379.82946413952</c:v>
                </c:pt>
                <c:pt idx="3974">
                  <c:v>1405.0448035768363</c:v>
                </c:pt>
                <c:pt idx="3975">
                  <c:v>1427.0446784231322</c:v>
                </c:pt>
                <c:pt idx="3976">
                  <c:v>1478.6242616352793</c:v>
                </c:pt>
                <c:pt idx="3977">
                  <c:v>1553.2688102934057</c:v>
                </c:pt>
                <c:pt idx="3978">
                  <c:v>1644.7035431598842</c:v>
                </c:pt>
                <c:pt idx="3979">
                  <c:v>1660.1331503688541</c:v>
                </c:pt>
                <c:pt idx="3980">
                  <c:v>1648.4586816851211</c:v>
                </c:pt>
                <c:pt idx="3981">
                  <c:v>1658.424358009348</c:v>
                </c:pt>
                <c:pt idx="3982">
                  <c:v>1648.2882671891716</c:v>
                </c:pt>
                <c:pt idx="3983">
                  <c:v>1670.1737349618954</c:v>
                </c:pt>
                <c:pt idx="3984">
                  <c:v>1708.3516952320592</c:v>
                </c:pt>
                <c:pt idx="3985">
                  <c:v>1698.7221726513581</c:v>
                </c:pt>
                <c:pt idx="3986">
                  <c:v>1609.6076500091401</c:v>
                </c:pt>
                <c:pt idx="3987">
                  <c:v>1546.742042888083</c:v>
                </c:pt>
                <c:pt idx="3988">
                  <c:v>1545.4224493933325</c:v>
                </c:pt>
                <c:pt idx="3989">
                  <c:v>1569.0343692087722</c:v>
                </c:pt>
                <c:pt idx="3990">
                  <c:v>1490.1727732742199</c:v>
                </c:pt>
                <c:pt idx="3991">
                  <c:v>1458.3002165178777</c:v>
                </c:pt>
                <c:pt idx="3992">
                  <c:v>1451.9916481197333</c:v>
                </c:pt>
                <c:pt idx="3993">
                  <c:v>1420.9118566630027</c:v>
                </c:pt>
                <c:pt idx="3994">
                  <c:v>1374.669488832503</c:v>
                </c:pt>
                <c:pt idx="3995">
                  <c:v>1367.5993720553556</c:v>
                </c:pt>
                <c:pt idx="3996">
                  <c:v>1377.3548697003771</c:v>
                </c:pt>
                <c:pt idx="3997">
                  <c:v>1374.3228608289569</c:v>
                </c:pt>
                <c:pt idx="3998">
                  <c:v>1089.1843250851682</c:v>
                </c:pt>
                <c:pt idx="3999">
                  <c:v>1564.9713763352672</c:v>
                </c:pt>
                <c:pt idx="4000">
                  <c:v>1491.723436633356</c:v>
                </c:pt>
                <c:pt idx="4001">
                  <c:v>1552.8816896808469</c:v>
                </c:pt>
                <c:pt idx="4002">
                  <c:v>1576.9174713798152</c:v>
                </c:pt>
                <c:pt idx="4003">
                  <c:v>1573.8670460050214</c:v>
                </c:pt>
                <c:pt idx="4004">
                  <c:v>1533.971099047845</c:v>
                </c:pt>
                <c:pt idx="4005">
                  <c:v>1492.5512968743599</c:v>
                </c:pt>
                <c:pt idx="4006">
                  <c:v>1496.8683072077756</c:v>
                </c:pt>
                <c:pt idx="4007">
                  <c:v>1502.3404293329818</c:v>
                </c:pt>
                <c:pt idx="4008">
                  <c:v>1491.7952226094587</c:v>
                </c:pt>
                <c:pt idx="4009">
                  <c:v>1501.4338516042133</c:v>
                </c:pt>
                <c:pt idx="4010">
                  <c:v>1550.433330581968</c:v>
                </c:pt>
                <c:pt idx="4011">
                  <c:v>1531.6800662612836</c:v>
                </c:pt>
                <c:pt idx="4012">
                  <c:v>1606.0760164229255</c:v>
                </c:pt>
                <c:pt idx="4013">
                  <c:v>1601.9439459629382</c:v>
                </c:pt>
                <c:pt idx="4014">
                  <c:v>1498.4795789753666</c:v>
                </c:pt>
                <c:pt idx="4015">
                  <c:v>1477.5431696949825</c:v>
                </c:pt>
                <c:pt idx="4016">
                  <c:v>1419.5373991668152</c:v>
                </c:pt>
                <c:pt idx="4017">
                  <c:v>1396.9866602595907</c:v>
                </c:pt>
                <c:pt idx="4018">
                  <c:v>1380.7570815780612</c:v>
                </c:pt>
                <c:pt idx="4019">
                  <c:v>1372.6795355978338</c:v>
                </c:pt>
                <c:pt idx="4020">
                  <c:v>1268.8008625368868</c:v>
                </c:pt>
                <c:pt idx="4021">
                  <c:v>1375.3667926807759</c:v>
                </c:pt>
                <c:pt idx="4022">
                  <c:v>1362.9052375788938</c:v>
                </c:pt>
                <c:pt idx="4023">
                  <c:v>1366.1568160336919</c:v>
                </c:pt>
                <c:pt idx="4024">
                  <c:v>1387.9056045965854</c:v>
                </c:pt>
                <c:pt idx="4025">
                  <c:v>1419.2388549078678</c:v>
                </c:pt>
                <c:pt idx="4026">
                  <c:v>1493.5358057842293</c:v>
                </c:pt>
                <c:pt idx="4027">
                  <c:v>1518.1943396308866</c:v>
                </c:pt>
                <c:pt idx="4028">
                  <c:v>1517.5124184527751</c:v>
                </c:pt>
                <c:pt idx="4029">
                  <c:v>1455.1651386781439</c:v>
                </c:pt>
                <c:pt idx="4030">
                  <c:v>1465.6771987534537</c:v>
                </c:pt>
                <c:pt idx="4031">
                  <c:v>1461.1959284118734</c:v>
                </c:pt>
                <c:pt idx="4032">
                  <c:v>1500.9700770128361</c:v>
                </c:pt>
                <c:pt idx="4033">
                  <c:v>1491.1372237195085</c:v>
                </c:pt>
                <c:pt idx="4034">
                  <c:v>1462.1286311795548</c:v>
                </c:pt>
                <c:pt idx="4035">
                  <c:v>1420.6303610614611</c:v>
                </c:pt>
                <c:pt idx="4036">
                  <c:v>1422.4996205915704</c:v>
                </c:pt>
                <c:pt idx="4037">
                  <c:v>1423.5218558399249</c:v>
                </c:pt>
                <c:pt idx="4038">
                  <c:v>1395.3811536487767</c:v>
                </c:pt>
                <c:pt idx="4039">
                  <c:v>1384.3853544374715</c:v>
                </c:pt>
                <c:pt idx="4040">
                  <c:v>1380.5117877537507</c:v>
                </c:pt>
                <c:pt idx="4041">
                  <c:v>1358.3408142154988</c:v>
                </c:pt>
                <c:pt idx="4042">
                  <c:v>1313.0586322087274</c:v>
                </c:pt>
                <c:pt idx="4043">
                  <c:v>1308.9257557844096</c:v>
                </c:pt>
                <c:pt idx="4044">
                  <c:v>1305.8774588980716</c:v>
                </c:pt>
                <c:pt idx="4045">
                  <c:v>1314.1295016163456</c:v>
                </c:pt>
                <c:pt idx="4046">
                  <c:v>1319.0642432017723</c:v>
                </c:pt>
                <c:pt idx="4047">
                  <c:v>1323.4254576208646</c:v>
                </c:pt>
                <c:pt idx="4048">
                  <c:v>1319.1039222018064</c:v>
                </c:pt>
                <c:pt idx="4049">
                  <c:v>1369.5087239425438</c:v>
                </c:pt>
                <c:pt idx="4050">
                  <c:v>1359.2136823223243</c:v>
                </c:pt>
                <c:pt idx="4051">
                  <c:v>1354.4081139943642</c:v>
                </c:pt>
                <c:pt idx="4052">
                  <c:v>1291.260728419785</c:v>
                </c:pt>
                <c:pt idx="4053">
                  <c:v>1299.7747816236285</c:v>
                </c:pt>
                <c:pt idx="4054">
                  <c:v>1271.699686894761</c:v>
                </c:pt>
                <c:pt idx="4055">
                  <c:v>1232.5099639981245</c:v>
                </c:pt>
                <c:pt idx="4056">
                  <c:v>1222.7529527127747</c:v>
                </c:pt>
                <c:pt idx="4057">
                  <c:v>1232.3979496994152</c:v>
                </c:pt>
                <c:pt idx="4058">
                  <c:v>1223.0166428367459</c:v>
                </c:pt>
                <c:pt idx="4059">
                  <c:v>1222.0533265296112</c:v>
                </c:pt>
                <c:pt idx="4060">
                  <c:v>1226.1608685900505</c:v>
                </c:pt>
                <c:pt idx="4061">
                  <c:v>1253.7255492753911</c:v>
                </c:pt>
                <c:pt idx="4062">
                  <c:v>1261.4051989654843</c:v>
                </c:pt>
                <c:pt idx="4063">
                  <c:v>1253.9898537014437</c:v>
                </c:pt>
                <c:pt idx="4064">
                  <c:v>1247.258872626636</c:v>
                </c:pt>
                <c:pt idx="4065">
                  <c:v>1248.8273223517222</c:v>
                </c:pt>
                <c:pt idx="4066">
                  <c:v>1238.4718481499542</c:v>
                </c:pt>
                <c:pt idx="4067">
                  <c:v>1236.4723582167524</c:v>
                </c:pt>
                <c:pt idx="4068">
                  <c:v>1237.073720638994</c:v>
                </c:pt>
                <c:pt idx="4069">
                  <c:v>1244.5195560360253</c:v>
                </c:pt>
                <c:pt idx="4070">
                  <c:v>1248.4030482032408</c:v>
                </c:pt>
                <c:pt idx="4071">
                  <c:v>1255.9978668712561</c:v>
                </c:pt>
                <c:pt idx="4072">
                  <c:v>1265.1900598826217</c:v>
                </c:pt>
                <c:pt idx="4073">
                  <c:v>1264.1582579031881</c:v>
                </c:pt>
                <c:pt idx="4074">
                  <c:v>1284.9211445921148</c:v>
                </c:pt>
                <c:pt idx="4075">
                  <c:v>1287.7631888721048</c:v>
                </c:pt>
                <c:pt idx="4076">
                  <c:v>1262.6686474341907</c:v>
                </c:pt>
                <c:pt idx="4077">
                  <c:v>1241.5513237336604</c:v>
                </c:pt>
                <c:pt idx="4078">
                  <c:v>1207.0228169126233</c:v>
                </c:pt>
                <c:pt idx="4079">
                  <c:v>1186.171628531371</c:v>
                </c:pt>
                <c:pt idx="4080">
                  <c:v>1175.1156572026002</c:v>
                </c:pt>
                <c:pt idx="4081">
                  <c:v>1155.9277367552377</c:v>
                </c:pt>
                <c:pt idx="4082">
                  <c:v>1125.1981892206152</c:v>
                </c:pt>
                <c:pt idx="4083">
                  <c:v>1090.4955886436962</c:v>
                </c:pt>
                <c:pt idx="4084">
                  <c:v>1109.6493997632283</c:v>
                </c:pt>
                <c:pt idx="4085">
                  <c:v>1121.955432143704</c:v>
                </c:pt>
                <c:pt idx="4086">
                  <c:v>1137.1072524975646</c:v>
                </c:pt>
                <c:pt idx="4087">
                  <c:v>1164.4246178952126</c:v>
                </c:pt>
                <c:pt idx="4088">
                  <c:v>1176.3327605381096</c:v>
                </c:pt>
                <c:pt idx="4089">
                  <c:v>1189.5761982369545</c:v>
                </c:pt>
                <c:pt idx="4090">
                  <c:v>1203.5839445788213</c:v>
                </c:pt>
                <c:pt idx="4091">
                  <c:v>1196.4440753019717</c:v>
                </c:pt>
                <c:pt idx="4092">
                  <c:v>1221.8429321621195</c:v>
                </c:pt>
                <c:pt idx="4093">
                  <c:v>1250.3886276070909</c:v>
                </c:pt>
                <c:pt idx="4094">
                  <c:v>1257.9114528014115</c:v>
                </c:pt>
                <c:pt idx="4095">
                  <c:v>1270.6901625120493</c:v>
                </c:pt>
                <c:pt idx="4096">
                  <c:v>1291.6734908202861</c:v>
                </c:pt>
                <c:pt idx="4097">
                  <c:v>1331.1596300334609</c:v>
                </c:pt>
                <c:pt idx="4098">
                  <c:v>1359.2885190590744</c:v>
                </c:pt>
                <c:pt idx="4099">
                  <c:v>1351.6993863711236</c:v>
                </c:pt>
                <c:pt idx="4100">
                  <c:v>1286.3683398230964</c:v>
                </c:pt>
                <c:pt idx="4101">
                  <c:v>1185.9991576250768</c:v>
                </c:pt>
                <c:pt idx="4102">
                  <c:v>1154.1855121653061</c:v>
                </c:pt>
                <c:pt idx="4103">
                  <c:v>1122.5025186563676</c:v>
                </c:pt>
                <c:pt idx="4104">
                  <c:v>1101.3065992363963</c:v>
                </c:pt>
                <c:pt idx="4105">
                  <c:v>1091.2968449631871</c:v>
                </c:pt>
                <c:pt idx="4106">
                  <c:v>1133.8768016659922</c:v>
                </c:pt>
                <c:pt idx="4107">
                  <c:v>1266.9970701351608</c:v>
                </c:pt>
                <c:pt idx="4108">
                  <c:v>1268.9096546164124</c:v>
                </c:pt>
                <c:pt idx="4109">
                  <c:v>1223.883381573916</c:v>
                </c:pt>
                <c:pt idx="4110">
                  <c:v>1330.7092559641965</c:v>
                </c:pt>
                <c:pt idx="4111">
                  <c:v>1373.7370443447189</c:v>
                </c:pt>
                <c:pt idx="4112">
                  <c:v>1185.9149283460156</c:v>
                </c:pt>
                <c:pt idx="4113">
                  <c:v>1004.5597281643442</c:v>
                </c:pt>
                <c:pt idx="4114">
                  <c:v>1107.0199793577506</c:v>
                </c:pt>
                <c:pt idx="4115">
                  <c:v>1135.487216140901</c:v>
                </c:pt>
                <c:pt idx="4116">
                  <c:v>1143.6294598702823</c:v>
                </c:pt>
                <c:pt idx="4117">
                  <c:v>1127.4601865415143</c:v>
                </c:pt>
                <c:pt idx="4118">
                  <c:v>1330.9954907015276</c:v>
                </c:pt>
                <c:pt idx="4119">
                  <c:v>1409.5050118207462</c:v>
                </c:pt>
                <c:pt idx="4120">
                  <c:v>1496.5340717248828</c:v>
                </c:pt>
                <c:pt idx="4121">
                  <c:v>1540.9035160546373</c:v>
                </c:pt>
                <c:pt idx="4122">
                  <c:v>1516.5325067066588</c:v>
                </c:pt>
                <c:pt idx="4123">
                  <c:v>1455.5031140321082</c:v>
                </c:pt>
                <c:pt idx="4124">
                  <c:v>1333.6247767796167</c:v>
                </c:pt>
                <c:pt idx="4125">
                  <c:v>1278.1200216865968</c:v>
                </c:pt>
                <c:pt idx="4126">
                  <c:v>1256.7388718965683</c:v>
                </c:pt>
                <c:pt idx="4127">
                  <c:v>1231.0487293708657</c:v>
                </c:pt>
                <c:pt idx="4128">
                  <c:v>1214.1676115270488</c:v>
                </c:pt>
                <c:pt idx="4129">
                  <c:v>1189.8274155714676</c:v>
                </c:pt>
                <c:pt idx="4130">
                  <c:v>1202.215073136226</c:v>
                </c:pt>
                <c:pt idx="4131">
                  <c:v>1200.2919330340562</c:v>
                </c:pt>
                <c:pt idx="4132">
                  <c:v>1223.828747457969</c:v>
                </c:pt>
                <c:pt idx="4133">
                  <c:v>1275.7754506990011</c:v>
                </c:pt>
                <c:pt idx="4134">
                  <c:v>1347.4737328590509</c:v>
                </c:pt>
                <c:pt idx="4135">
                  <c:v>1373.9313936878939</c:v>
                </c:pt>
                <c:pt idx="4136">
                  <c:v>1398.6763448211145</c:v>
                </c:pt>
                <c:pt idx="4137">
                  <c:v>1428.949542355826</c:v>
                </c:pt>
                <c:pt idx="4138">
                  <c:v>1286.0280497788904</c:v>
                </c:pt>
                <c:pt idx="4139">
                  <c:v>1165.3698420504722</c:v>
                </c:pt>
                <c:pt idx="4140">
                  <c:v>1189.7337915659098</c:v>
                </c:pt>
                <c:pt idx="4141">
                  <c:v>1197.3264566273397</c:v>
                </c:pt>
                <c:pt idx="4142">
                  <c:v>1223.889819459728</c:v>
                </c:pt>
                <c:pt idx="4143">
                  <c:v>1242.7429381741902</c:v>
                </c:pt>
                <c:pt idx="4144">
                  <c:v>1276.2361494116017</c:v>
                </c:pt>
                <c:pt idx="4145">
                  <c:v>1316.7065441691648</c:v>
                </c:pt>
                <c:pt idx="4146">
                  <c:v>1358.0974299150801</c:v>
                </c:pt>
                <c:pt idx="4147">
                  <c:v>1346.2880916189363</c:v>
                </c:pt>
                <c:pt idx="4148">
                  <c:v>1170.6700223882435</c:v>
                </c:pt>
                <c:pt idx="4149">
                  <c:v>1001.9481760317603</c:v>
                </c:pt>
                <c:pt idx="4150">
                  <c:v>995.56625450464821</c:v>
                </c:pt>
                <c:pt idx="4151">
                  <c:v>986.51755918319213</c:v>
                </c:pt>
                <c:pt idx="4152">
                  <c:v>980.83189582569889</c:v>
                </c:pt>
                <c:pt idx="4153">
                  <c:v>976.28390845576757</c:v>
                </c:pt>
                <c:pt idx="4154">
                  <c:v>986.14074410234866</c:v>
                </c:pt>
                <c:pt idx="4155">
                  <c:v>1020.9982880455555</c:v>
                </c:pt>
                <c:pt idx="4156">
                  <c:v>1123.2125868828205</c:v>
                </c:pt>
                <c:pt idx="4157">
                  <c:v>1119.6376409045281</c:v>
                </c:pt>
                <c:pt idx="4158">
                  <c:v>1115.849413065939</c:v>
                </c:pt>
                <c:pt idx="4159">
                  <c:v>1104.5517998704752</c:v>
                </c:pt>
                <c:pt idx="4160">
                  <c:v>1115.2469814850526</c:v>
                </c:pt>
                <c:pt idx="4161">
                  <c:v>1127.2855041477274</c:v>
                </c:pt>
                <c:pt idx="4162">
                  <c:v>1113.2195170541386</c:v>
                </c:pt>
                <c:pt idx="4163">
                  <c:v>1138.9487881652108</c:v>
                </c:pt>
                <c:pt idx="4164">
                  <c:v>1104.2489052606995</c:v>
                </c:pt>
                <c:pt idx="4165">
                  <c:v>1109.00249380375</c:v>
                </c:pt>
                <c:pt idx="4166">
                  <c:v>1125.4842956370669</c:v>
                </c:pt>
                <c:pt idx="4167">
                  <c:v>1144.8420080876031</c:v>
                </c:pt>
                <c:pt idx="4168">
                  <c:v>1189.6158482965352</c:v>
                </c:pt>
                <c:pt idx="4169">
                  <c:v>1201.8690763621964</c:v>
                </c:pt>
                <c:pt idx="4170">
                  <c:v>1223.3183678153587</c:v>
                </c:pt>
                <c:pt idx="4171">
                  <c:v>1254.1008714656655</c:v>
                </c:pt>
                <c:pt idx="4172">
                  <c:v>1202.7684135171003</c:v>
                </c:pt>
                <c:pt idx="4173">
                  <c:v>1177.9995581152468</c:v>
                </c:pt>
                <c:pt idx="4174">
                  <c:v>1125.8889372370768</c:v>
                </c:pt>
                <c:pt idx="4175">
                  <c:v>1082.4323119452365</c:v>
                </c:pt>
                <c:pt idx="4176">
                  <c:v>1063.6998061204824</c:v>
                </c:pt>
                <c:pt idx="4177">
                  <c:v>1051.2948918546797</c:v>
                </c:pt>
                <c:pt idx="4178">
                  <c:v>1047.9906144720019</c:v>
                </c:pt>
                <c:pt idx="4179">
                  <c:v>1059.7141710794692</c:v>
                </c:pt>
                <c:pt idx="4180">
                  <c:v>1109.9380234530977</c:v>
                </c:pt>
                <c:pt idx="4181">
                  <c:v>1142.4036192480153</c:v>
                </c:pt>
                <c:pt idx="4182">
                  <c:v>1134.2917165809861</c:v>
                </c:pt>
                <c:pt idx="4183">
                  <c:v>1127.8061461843959</c:v>
                </c:pt>
                <c:pt idx="4184">
                  <c:v>1092.6573695421248</c:v>
                </c:pt>
                <c:pt idx="4185">
                  <c:v>1247.9255924219558</c:v>
                </c:pt>
                <c:pt idx="4186">
                  <c:v>1270.7455911253551</c:v>
                </c:pt>
                <c:pt idx="4187">
                  <c:v>1303.5568871911642</c:v>
                </c:pt>
                <c:pt idx="4188">
                  <c:v>1233.4346011159901</c:v>
                </c:pt>
                <c:pt idx="4189">
                  <c:v>1204.5501647601498</c:v>
                </c:pt>
                <c:pt idx="4190">
                  <c:v>1207.2198462510116</c:v>
                </c:pt>
                <c:pt idx="4191">
                  <c:v>1208.9425758961379</c:v>
                </c:pt>
                <c:pt idx="4192">
                  <c:v>1209.4742327786587</c:v>
                </c:pt>
                <c:pt idx="4193">
                  <c:v>1215.8546696058961</c:v>
                </c:pt>
                <c:pt idx="4194">
                  <c:v>1218.2335612412385</c:v>
                </c:pt>
                <c:pt idx="4195">
                  <c:v>1204.253969046315</c:v>
                </c:pt>
                <c:pt idx="4196">
                  <c:v>1191.2705258301201</c:v>
                </c:pt>
                <c:pt idx="4197">
                  <c:v>1217.7664355637523</c:v>
                </c:pt>
                <c:pt idx="4198">
                  <c:v>1186.4792999541305</c:v>
                </c:pt>
                <c:pt idx="4199">
                  <c:v>1173.7573948934605</c:v>
                </c:pt>
                <c:pt idx="4200">
                  <c:v>1152.1636785637806</c:v>
                </c:pt>
                <c:pt idx="4201">
                  <c:v>1123.493617252919</c:v>
                </c:pt>
                <c:pt idx="4202">
                  <c:v>1102.5252375080395</c:v>
                </c:pt>
                <c:pt idx="4203">
                  <c:v>1089.7079266927528</c:v>
                </c:pt>
                <c:pt idx="4204">
                  <c:v>1093.7602514598025</c:v>
                </c:pt>
                <c:pt idx="4205">
                  <c:v>1117.6870062793389</c:v>
                </c:pt>
                <c:pt idx="4206">
                  <c:v>1140.9842538124776</c:v>
                </c:pt>
                <c:pt idx="4207">
                  <c:v>1160.7270779712555</c:v>
                </c:pt>
                <c:pt idx="4208">
                  <c:v>1171.5615832978681</c:v>
                </c:pt>
                <c:pt idx="4209">
                  <c:v>1174.5487786959472</c:v>
                </c:pt>
                <c:pt idx="4210">
                  <c:v>1164.3451910933111</c:v>
                </c:pt>
                <c:pt idx="4211">
                  <c:v>1152.9603328051014</c:v>
                </c:pt>
                <c:pt idx="4212">
                  <c:v>1146.3716197239485</c:v>
                </c:pt>
                <c:pt idx="4213">
                  <c:v>1143.4550434010407</c:v>
                </c:pt>
                <c:pt idx="4214">
                  <c:v>1137.3103107330901</c:v>
                </c:pt>
                <c:pt idx="4215">
                  <c:v>1133.4640458180465</c:v>
                </c:pt>
                <c:pt idx="4216">
                  <c:v>1136.6955041050323</c:v>
                </c:pt>
                <c:pt idx="4217">
                  <c:v>1136.4623133968389</c:v>
                </c:pt>
                <c:pt idx="4218">
                  <c:v>1132.0069851686626</c:v>
                </c:pt>
                <c:pt idx="4219">
                  <c:v>1116.3446994429237</c:v>
                </c:pt>
                <c:pt idx="4220">
                  <c:v>1087.2900107668836</c:v>
                </c:pt>
                <c:pt idx="4221">
                  <c:v>1081.5830723536651</c:v>
                </c:pt>
                <c:pt idx="4222">
                  <c:v>1108.4195342337246</c:v>
                </c:pt>
                <c:pt idx="4223">
                  <c:v>1151.7492288802298</c:v>
                </c:pt>
                <c:pt idx="4224">
                  <c:v>1153.2939763738113</c:v>
                </c:pt>
                <c:pt idx="4225">
                  <c:v>1148.2264390598002</c:v>
                </c:pt>
                <c:pt idx="4226">
                  <c:v>979.23355225017588</c:v>
                </c:pt>
                <c:pt idx="4227">
                  <c:v>806.5102191287508</c:v>
                </c:pt>
                <c:pt idx="4228">
                  <c:v>862.55963628888696</c:v>
                </c:pt>
                <c:pt idx="4229">
                  <c:v>896.06113377881695</c:v>
                </c:pt>
                <c:pt idx="4230">
                  <c:v>926.02031264864195</c:v>
                </c:pt>
                <c:pt idx="4231">
                  <c:v>956.82421421509025</c:v>
                </c:pt>
                <c:pt idx="4232">
                  <c:v>984.39133845759864</c:v>
                </c:pt>
                <c:pt idx="4233">
                  <c:v>995.48481497610533</c:v>
                </c:pt>
                <c:pt idx="4234">
                  <c:v>1028.5694552643718</c:v>
                </c:pt>
                <c:pt idx="4235">
                  <c:v>1034.1308696098818</c:v>
                </c:pt>
                <c:pt idx="4236">
                  <c:v>1036.0787052017654</c:v>
                </c:pt>
                <c:pt idx="4237">
                  <c:v>1034.7298818488721</c:v>
                </c:pt>
                <c:pt idx="4238">
                  <c:v>1037.9456063579287</c:v>
                </c:pt>
                <c:pt idx="4239">
                  <c:v>1074.7524312775608</c:v>
                </c:pt>
                <c:pt idx="4240">
                  <c:v>1080.5325546374884</c:v>
                </c:pt>
                <c:pt idx="4241">
                  <c:v>1079.1020034436087</c:v>
                </c:pt>
                <c:pt idx="4242">
                  <c:v>1087.9189872962829</c:v>
                </c:pt>
                <c:pt idx="4243">
                  <c:v>1091.0226085010843</c:v>
                </c:pt>
                <c:pt idx="4244">
                  <c:v>1084.5264387998723</c:v>
                </c:pt>
                <c:pt idx="4245">
                  <c:v>1049.0538496063768</c:v>
                </c:pt>
                <c:pt idx="4246">
                  <c:v>1127.2883321214865</c:v>
                </c:pt>
                <c:pt idx="4247">
                  <c:v>1124.6558964483704</c:v>
                </c:pt>
                <c:pt idx="4248">
                  <c:v>1108.7130461300223</c:v>
                </c:pt>
                <c:pt idx="4249">
                  <c:v>1082.4983682575714</c:v>
                </c:pt>
                <c:pt idx="4250">
                  <c:v>1065.5798314993333</c:v>
                </c:pt>
                <c:pt idx="4251">
                  <c:v>1056.0053389181426</c:v>
                </c:pt>
                <c:pt idx="4252">
                  <c:v>1039.4623678868261</c:v>
                </c:pt>
                <c:pt idx="4253">
                  <c:v>1053.087726199368</c:v>
                </c:pt>
                <c:pt idx="4254">
                  <c:v>1067.8649500584795</c:v>
                </c:pt>
                <c:pt idx="4255">
                  <c:v>1081.128021943935</c:v>
                </c:pt>
                <c:pt idx="4256">
                  <c:v>1085.0750302161234</c:v>
                </c:pt>
                <c:pt idx="4257">
                  <c:v>1013.2370628613922</c:v>
                </c:pt>
                <c:pt idx="4258">
                  <c:v>1031.8066388467553</c:v>
                </c:pt>
                <c:pt idx="4259">
                  <c:v>1033.4095364483742</c:v>
                </c:pt>
                <c:pt idx="4260">
                  <c:v>1029.7728015095383</c:v>
                </c:pt>
                <c:pt idx="4261">
                  <c:v>1034.851497279577</c:v>
                </c:pt>
                <c:pt idx="4262">
                  <c:v>1050.1514692759149</c:v>
                </c:pt>
                <c:pt idx="4263">
                  <c:v>1067.9041561824226</c:v>
                </c:pt>
                <c:pt idx="4264">
                  <c:v>1098.0411588503669</c:v>
                </c:pt>
                <c:pt idx="4265">
                  <c:v>1108.4530871403813</c:v>
                </c:pt>
                <c:pt idx="4266">
                  <c:v>1128.8146461842593</c:v>
                </c:pt>
                <c:pt idx="4267">
                  <c:v>1115.4628439601374</c:v>
                </c:pt>
                <c:pt idx="4268">
                  <c:v>1157.9366771116581</c:v>
                </c:pt>
                <c:pt idx="4269">
                  <c:v>1197.6355024486222</c:v>
                </c:pt>
                <c:pt idx="4270">
                  <c:v>1194.2959499292754</c:v>
                </c:pt>
                <c:pt idx="4271">
                  <c:v>1177.991395815237</c:v>
                </c:pt>
                <c:pt idx="4272">
                  <c:v>1148.677577593877</c:v>
                </c:pt>
                <c:pt idx="4273">
                  <c:v>1137.1855003855162</c:v>
                </c:pt>
                <c:pt idx="4274">
                  <c:v>1122.9695340325025</c:v>
                </c:pt>
                <c:pt idx="4275">
                  <c:v>1121.8244831436878</c:v>
                </c:pt>
                <c:pt idx="4276">
                  <c:v>1132.2040860391155</c:v>
                </c:pt>
                <c:pt idx="4277">
                  <c:v>1137.3156461514334</c:v>
                </c:pt>
                <c:pt idx="4278">
                  <c:v>1080.6434730212845</c:v>
                </c:pt>
                <c:pt idx="4279">
                  <c:v>1084.3221639732026</c:v>
                </c:pt>
                <c:pt idx="4280">
                  <c:v>1091.8662145330354</c:v>
                </c:pt>
                <c:pt idx="4281">
                  <c:v>1088.3439227068266</c:v>
                </c:pt>
                <c:pt idx="4282">
                  <c:v>1076.5997124443172</c:v>
                </c:pt>
                <c:pt idx="4283">
                  <c:v>1080.6436570388857</c:v>
                </c:pt>
                <c:pt idx="4284">
                  <c:v>1085.0063850983063</c:v>
                </c:pt>
                <c:pt idx="4285">
                  <c:v>1086.5267232304325</c:v>
                </c:pt>
                <c:pt idx="4286">
                  <c:v>1093.0872843488278</c:v>
                </c:pt>
                <c:pt idx="4287">
                  <c:v>1106.7533247484469</c:v>
                </c:pt>
                <c:pt idx="4288">
                  <c:v>1124.7600263846339</c:v>
                </c:pt>
                <c:pt idx="4289">
                  <c:v>1238.4989855586969</c:v>
                </c:pt>
                <c:pt idx="4290">
                  <c:v>1286.3006639374521</c:v>
                </c:pt>
                <c:pt idx="4291">
                  <c:v>1313.8473665945933</c:v>
                </c:pt>
                <c:pt idx="4292">
                  <c:v>1263.110106205605</c:v>
                </c:pt>
                <c:pt idx="4293">
                  <c:v>1207.7664675322324</c:v>
                </c:pt>
                <c:pt idx="4294">
                  <c:v>1191.948790682244</c:v>
                </c:pt>
                <c:pt idx="4295">
                  <c:v>1191.6092001233408</c:v>
                </c:pt>
                <c:pt idx="4296">
                  <c:v>1166.7367886798795</c:v>
                </c:pt>
                <c:pt idx="4297">
                  <c:v>1121.6468968757067</c:v>
                </c:pt>
                <c:pt idx="4298">
                  <c:v>1108.7211904105043</c:v>
                </c:pt>
                <c:pt idx="4299">
                  <c:v>1110.4322488621324</c:v>
                </c:pt>
                <c:pt idx="4300">
                  <c:v>1115.9414846618815</c:v>
                </c:pt>
                <c:pt idx="4301">
                  <c:v>1104.1015164448954</c:v>
                </c:pt>
                <c:pt idx="4302">
                  <c:v>1102.4997922967634</c:v>
                </c:pt>
                <c:pt idx="4303">
                  <c:v>1108.7156436722451</c:v>
                </c:pt>
                <c:pt idx="4304">
                  <c:v>1124.1868481418815</c:v>
                </c:pt>
                <c:pt idx="4305">
                  <c:v>1119.03547634028</c:v>
                </c:pt>
                <c:pt idx="4306">
                  <c:v>1116.5085952382096</c:v>
                </c:pt>
                <c:pt idx="4307">
                  <c:v>1093.9775238264194</c:v>
                </c:pt>
                <c:pt idx="4308">
                  <c:v>1100.6146657534293</c:v>
                </c:pt>
                <c:pt idx="4309">
                  <c:v>1126.400351637415</c:v>
                </c:pt>
                <c:pt idx="4310">
                  <c:v>1133.6038680703482</c:v>
                </c:pt>
                <c:pt idx="4311">
                  <c:v>1165.3706709487474</c:v>
                </c:pt>
                <c:pt idx="4312">
                  <c:v>1213.5641932405085</c:v>
                </c:pt>
                <c:pt idx="4313">
                  <c:v>1224.6539320721297</c:v>
                </c:pt>
                <c:pt idx="4314">
                  <c:v>1241.1461590213007</c:v>
                </c:pt>
                <c:pt idx="4315">
                  <c:v>1235.2236824844965</c:v>
                </c:pt>
                <c:pt idx="4316">
                  <c:v>1194.9675235301065</c:v>
                </c:pt>
                <c:pt idx="4317">
                  <c:v>1148.8160587564792</c:v>
                </c:pt>
                <c:pt idx="4318">
                  <c:v>1132.367465274607</c:v>
                </c:pt>
                <c:pt idx="4319">
                  <c:v>1126.591112910389</c:v>
                </c:pt>
                <c:pt idx="4320">
                  <c:v>1114.1108344271156</c:v>
                </c:pt>
                <c:pt idx="4321">
                  <c:v>1113.5337328417374</c:v>
                </c:pt>
                <c:pt idx="4322">
                  <c:v>1092.197993899696</c:v>
                </c:pt>
                <c:pt idx="4323">
                  <c:v>1094.2358332102051</c:v>
                </c:pt>
                <c:pt idx="4324">
                  <c:v>1101.1444251250769</c:v>
                </c:pt>
                <c:pt idx="4325">
                  <c:v>1106.4170738086807</c:v>
                </c:pt>
                <c:pt idx="4326">
                  <c:v>1100.6488253175191</c:v>
                </c:pt>
                <c:pt idx="4327">
                  <c:v>1124.5096313958404</c:v>
                </c:pt>
                <c:pt idx="4328">
                  <c:v>1133.9421055265334</c:v>
                </c:pt>
                <c:pt idx="4329">
                  <c:v>1145.2334468342588</c:v>
                </c:pt>
                <c:pt idx="4330">
                  <c:v>1127.7784567228496</c:v>
                </c:pt>
                <c:pt idx="4331">
                  <c:v>1135.5686087094623</c:v>
                </c:pt>
                <c:pt idx="4332">
                  <c:v>1134.3192558798016</c:v>
                </c:pt>
                <c:pt idx="4333">
                  <c:v>1126.9418362611436</c:v>
                </c:pt>
                <c:pt idx="4334">
                  <c:v>1172.973697784661</c:v>
                </c:pt>
                <c:pt idx="4335">
                  <c:v>1189.6838720136691</c:v>
                </c:pt>
                <c:pt idx="4336">
                  <c:v>1189.3842891746697</c:v>
                </c:pt>
                <c:pt idx="4337">
                  <c:v>1199.797116802931</c:v>
                </c:pt>
                <c:pt idx="4338">
                  <c:v>1217.7661565340957</c:v>
                </c:pt>
                <c:pt idx="4339">
                  <c:v>1208.6945360050127</c:v>
                </c:pt>
                <c:pt idx="4340">
                  <c:v>1212.5848679481128</c:v>
                </c:pt>
                <c:pt idx="4341">
                  <c:v>1203.7652439616045</c:v>
                </c:pt>
                <c:pt idx="4342">
                  <c:v>1192.4113235643472</c:v>
                </c:pt>
                <c:pt idx="4343">
                  <c:v>1179.0269633299174</c:v>
                </c:pt>
                <c:pt idx="4344">
                  <c:v>1164.472569496608</c:v>
                </c:pt>
                <c:pt idx="4345">
                  <c:v>1150.0183265602141</c:v>
                </c:pt>
                <c:pt idx="4346">
                  <c:v>1144.7957039078781</c:v>
                </c:pt>
                <c:pt idx="4347">
                  <c:v>1145.8073780748514</c:v>
                </c:pt>
                <c:pt idx="4348">
                  <c:v>1116.1616942115163</c:v>
                </c:pt>
                <c:pt idx="4349">
                  <c:v>1109.1397676579952</c:v>
                </c:pt>
                <c:pt idx="4350">
                  <c:v>1101.0460324972296</c:v>
                </c:pt>
                <c:pt idx="4351">
                  <c:v>1075.5166176062123</c:v>
                </c:pt>
                <c:pt idx="4352">
                  <c:v>1068.7668814793285</c:v>
                </c:pt>
                <c:pt idx="4353">
                  <c:v>1073.5716815201522</c:v>
                </c:pt>
                <c:pt idx="4354">
                  <c:v>1101.4493788754287</c:v>
                </c:pt>
                <c:pt idx="4355">
                  <c:v>1194.3749388020485</c:v>
                </c:pt>
                <c:pt idx="4356">
                  <c:v>1203.5593097002461</c:v>
                </c:pt>
                <c:pt idx="4357">
                  <c:v>1203.7295336260386</c:v>
                </c:pt>
                <c:pt idx="4358">
                  <c:v>1206.5874989778365</c:v>
                </c:pt>
                <c:pt idx="4359">
                  <c:v>1231.2533684104137</c:v>
                </c:pt>
                <c:pt idx="4360">
                  <c:v>1205.8671634429088</c:v>
                </c:pt>
                <c:pt idx="4361">
                  <c:v>1244.0899524757101</c:v>
                </c:pt>
                <c:pt idx="4362">
                  <c:v>1240.5981813610845</c:v>
                </c:pt>
                <c:pt idx="4363">
                  <c:v>1221.5348812371853</c:v>
                </c:pt>
                <c:pt idx="4364">
                  <c:v>1228.6970821693396</c:v>
                </c:pt>
                <c:pt idx="4365">
                  <c:v>1189.1513840486882</c:v>
                </c:pt>
                <c:pt idx="4366">
                  <c:v>1164.8210125580367</c:v>
                </c:pt>
                <c:pt idx="4367">
                  <c:v>1161.3849190538272</c:v>
                </c:pt>
                <c:pt idx="4368">
                  <c:v>1147.5073665299517</c:v>
                </c:pt>
                <c:pt idx="4369">
                  <c:v>1146.7751102583695</c:v>
                </c:pt>
                <c:pt idx="4370">
                  <c:v>1138.2076340692599</c:v>
                </c:pt>
                <c:pt idx="4371">
                  <c:v>1140.3962940965339</c:v>
                </c:pt>
                <c:pt idx="4372">
                  <c:v>1149.1549432775234</c:v>
                </c:pt>
                <c:pt idx="4373">
                  <c:v>1141.8222868959474</c:v>
                </c:pt>
                <c:pt idx="4374">
                  <c:v>1114.4963709593742</c:v>
                </c:pt>
                <c:pt idx="4375">
                  <c:v>1133.768084394809</c:v>
                </c:pt>
                <c:pt idx="4376">
                  <c:v>1129.6251814684319</c:v>
                </c:pt>
                <c:pt idx="4377">
                  <c:v>1132.665684089963</c:v>
                </c:pt>
                <c:pt idx="4378">
                  <c:v>1135.2013963987536</c:v>
                </c:pt>
                <c:pt idx="4379">
                  <c:v>1126.4961718411691</c:v>
                </c:pt>
                <c:pt idx="4380">
                  <c:v>1115.1608596095348</c:v>
                </c:pt>
                <c:pt idx="4381">
                  <c:v>1127.1395061118353</c:v>
                </c:pt>
                <c:pt idx="4382">
                  <c:v>1152.4591125430347</c:v>
                </c:pt>
                <c:pt idx="4383">
                  <c:v>1153.4317826231938</c:v>
                </c:pt>
                <c:pt idx="4384">
                  <c:v>1163.7322923510062</c:v>
                </c:pt>
                <c:pt idx="4385">
                  <c:v>1173.4964066065543</c:v>
                </c:pt>
                <c:pt idx="4386">
                  <c:v>1180.784768258769</c:v>
                </c:pt>
                <c:pt idx="4387">
                  <c:v>1198.1972022522186</c:v>
                </c:pt>
                <c:pt idx="4388">
                  <c:v>1183.0123226175519</c:v>
                </c:pt>
                <c:pt idx="4389">
                  <c:v>1204.4999787373174</c:v>
                </c:pt>
                <c:pt idx="4390">
                  <c:v>1188.3979089641489</c:v>
                </c:pt>
                <c:pt idx="4391">
                  <c:v>1170.9244335475328</c:v>
                </c:pt>
                <c:pt idx="4392">
                  <c:v>1165.7640700016002</c:v>
                </c:pt>
                <c:pt idx="4393">
                  <c:v>1152.2820406506632</c:v>
                </c:pt>
                <c:pt idx="4394">
                  <c:v>1120.9313774690963</c:v>
                </c:pt>
                <c:pt idx="4395">
                  <c:v>1107.7567694517159</c:v>
                </c:pt>
                <c:pt idx="4396">
                  <c:v>1083.0932343670474</c:v>
                </c:pt>
                <c:pt idx="4397">
                  <c:v>1096.7023330590787</c:v>
                </c:pt>
                <c:pt idx="4398">
                  <c:v>1107.5271051104921</c:v>
                </c:pt>
                <c:pt idx="4399">
                  <c:v>1131.9392082644538</c:v>
                </c:pt>
                <c:pt idx="4400">
                  <c:v>1140.7403846229497</c:v>
                </c:pt>
                <c:pt idx="4401">
                  <c:v>1144.6610860228093</c:v>
                </c:pt>
                <c:pt idx="4402">
                  <c:v>1145.4459467562622</c:v>
                </c:pt>
                <c:pt idx="4403">
                  <c:v>1147.8980020425083</c:v>
                </c:pt>
                <c:pt idx="4404">
                  <c:v>1145.8741759180541</c:v>
                </c:pt>
                <c:pt idx="4405">
                  <c:v>1148.0241163486332</c:v>
                </c:pt>
                <c:pt idx="4406">
                  <c:v>1147.017513313597</c:v>
                </c:pt>
                <c:pt idx="4407">
                  <c:v>1157.2312475484769</c:v>
                </c:pt>
                <c:pt idx="4408">
                  <c:v>1166.0235588453818</c:v>
                </c:pt>
                <c:pt idx="4409">
                  <c:v>1165.0490971873305</c:v>
                </c:pt>
                <c:pt idx="4410">
                  <c:v>1173.2048277141391</c:v>
                </c:pt>
                <c:pt idx="4411">
                  <c:v>1116.5715642047958</c:v>
                </c:pt>
                <c:pt idx="4412">
                  <c:v>1131.0280410165803</c:v>
                </c:pt>
                <c:pt idx="4413">
                  <c:v>1113.320288805691</c:v>
                </c:pt>
                <c:pt idx="4414">
                  <c:v>1100.7658233807581</c:v>
                </c:pt>
                <c:pt idx="4415">
                  <c:v>1095.9019214732057</c:v>
                </c:pt>
                <c:pt idx="4416">
                  <c:v>1090.7873460932499</c:v>
                </c:pt>
                <c:pt idx="4417">
                  <c:v>1082.3221815062429</c:v>
                </c:pt>
                <c:pt idx="4418">
                  <c:v>1070.3170872516696</c:v>
                </c:pt>
                <c:pt idx="4419">
                  <c:v>1063.53397349899</c:v>
                </c:pt>
                <c:pt idx="4420">
                  <c:v>1060.2535506947327</c:v>
                </c:pt>
                <c:pt idx="4421">
                  <c:v>1084.2511124293658</c:v>
                </c:pt>
                <c:pt idx="4422">
                  <c:v>1114.6769806856878</c:v>
                </c:pt>
                <c:pt idx="4423">
                  <c:v>1127.7071714711988</c:v>
                </c:pt>
                <c:pt idx="4424">
                  <c:v>1136.543770398863</c:v>
                </c:pt>
                <c:pt idx="4425">
                  <c:v>1141.5976865880587</c:v>
                </c:pt>
                <c:pt idx="4426">
                  <c:v>1137.7621553050255</c:v>
                </c:pt>
                <c:pt idx="4427">
                  <c:v>1125.9914994744286</c:v>
                </c:pt>
                <c:pt idx="4428">
                  <c:v>1126.1087749291851</c:v>
                </c:pt>
                <c:pt idx="4429">
                  <c:v>1107.821952636026</c:v>
                </c:pt>
                <c:pt idx="4430">
                  <c:v>1106.0800513055008</c:v>
                </c:pt>
                <c:pt idx="4431">
                  <c:v>1117.9029708650808</c:v>
                </c:pt>
                <c:pt idx="4432">
                  <c:v>1127.5904431548292</c:v>
                </c:pt>
                <c:pt idx="4433">
                  <c:v>1125.2324317837415</c:v>
                </c:pt>
                <c:pt idx="4434">
                  <c:v>1130.2603774651254</c:v>
                </c:pt>
                <c:pt idx="4435">
                  <c:v>1126.5821894218448</c:v>
                </c:pt>
                <c:pt idx="4436">
                  <c:v>1099.3975247407259</c:v>
                </c:pt>
                <c:pt idx="4437">
                  <c:v>1112.7066676441384</c:v>
                </c:pt>
                <c:pt idx="4438">
                  <c:v>1133.6622038341256</c:v>
                </c:pt>
                <c:pt idx="4439">
                  <c:v>1120.463443097048</c:v>
                </c:pt>
                <c:pt idx="4440">
                  <c:v>1106.1586803337659</c:v>
                </c:pt>
                <c:pt idx="4441">
                  <c:v>1099.0910873825917</c:v>
                </c:pt>
                <c:pt idx="4442">
                  <c:v>1083.956567413479</c:v>
                </c:pt>
                <c:pt idx="4443">
                  <c:v>1090.6260767806402</c:v>
                </c:pt>
                <c:pt idx="4444">
                  <c:v>1114.8358719666849</c:v>
                </c:pt>
                <c:pt idx="4445">
                  <c:v>1124.6394970400086</c:v>
                </c:pt>
                <c:pt idx="4446">
                  <c:v>1114.928398965237</c:v>
                </c:pt>
                <c:pt idx="4447">
                  <c:v>1119.0028784685926</c:v>
                </c:pt>
                <c:pt idx="4448">
                  <c:v>1121.5312715728521</c:v>
                </c:pt>
                <c:pt idx="4449">
                  <c:v>1118.3310984622619</c:v>
                </c:pt>
                <c:pt idx="4450">
                  <c:v>1145.9631355961646</c:v>
                </c:pt>
                <c:pt idx="4451">
                  <c:v>1146.1033548241221</c:v>
                </c:pt>
                <c:pt idx="4452">
                  <c:v>1147.178987393567</c:v>
                </c:pt>
                <c:pt idx="4453">
                  <c:v>1143.6055332137512</c:v>
                </c:pt>
                <c:pt idx="4454">
                  <c:v>1141.6413866730054</c:v>
                </c:pt>
                <c:pt idx="4455">
                  <c:v>1151.4975201040518</c:v>
                </c:pt>
                <c:pt idx="4456">
                  <c:v>1159.4769481177177</c:v>
                </c:pt>
                <c:pt idx="4457">
                  <c:v>1175.1950173868538</c:v>
                </c:pt>
                <c:pt idx="4458">
                  <c:v>1189.6954356360473</c:v>
                </c:pt>
                <c:pt idx="4459">
                  <c:v>1197.5893020176932</c:v>
                </c:pt>
                <c:pt idx="4460">
                  <c:v>1176.5578096960523</c:v>
                </c:pt>
                <c:pt idx="4461">
                  <c:v>1125.217546561754</c:v>
                </c:pt>
                <c:pt idx="4462">
                  <c:v>1089.1791239942133</c:v>
                </c:pt>
                <c:pt idx="4463">
                  <c:v>1087.1012971675138</c:v>
                </c:pt>
                <c:pt idx="4464">
                  <c:v>1072.3835279210371</c:v>
                </c:pt>
                <c:pt idx="4465">
                  <c:v>1057.9976734607017</c:v>
                </c:pt>
                <c:pt idx="4466">
                  <c:v>1054.3304707767732</c:v>
                </c:pt>
                <c:pt idx="4467">
                  <c:v>1067.7041361484796</c:v>
                </c:pt>
                <c:pt idx="4468">
                  <c:v>1068.3713659510381</c:v>
                </c:pt>
                <c:pt idx="4469">
                  <c:v>1115.2080849693587</c:v>
                </c:pt>
                <c:pt idx="4470">
                  <c:v>1124.8420938664153</c:v>
                </c:pt>
                <c:pt idx="4471">
                  <c:v>1110.2561227219428</c:v>
                </c:pt>
                <c:pt idx="4472">
                  <c:v>1119.051662790587</c:v>
                </c:pt>
                <c:pt idx="4473">
                  <c:v>1116.3759349291065</c:v>
                </c:pt>
                <c:pt idx="4474">
                  <c:v>1113.5950958861713</c:v>
                </c:pt>
                <c:pt idx="4475">
                  <c:v>1118.7734041514793</c:v>
                </c:pt>
                <c:pt idx="4476">
                  <c:v>1085.6829397334359</c:v>
                </c:pt>
                <c:pt idx="4477">
                  <c:v>1138.080433677055</c:v>
                </c:pt>
                <c:pt idx="4478">
                  <c:v>1135.9372707730831</c:v>
                </c:pt>
                <c:pt idx="4479">
                  <c:v>1144.8044963453119</c:v>
                </c:pt>
                <c:pt idx="4480">
                  <c:v>1159.7282369842951</c:v>
                </c:pt>
                <c:pt idx="4481">
                  <c:v>1161.859205582419</c:v>
                </c:pt>
                <c:pt idx="4482">
                  <c:v>1181.5994507645482</c:v>
                </c:pt>
                <c:pt idx="4483">
                  <c:v>1191.2568544690455</c:v>
                </c:pt>
                <c:pt idx="4484">
                  <c:v>1172.4661068004768</c:v>
                </c:pt>
                <c:pt idx="4485">
                  <c:v>1132.9725948702342</c:v>
                </c:pt>
                <c:pt idx="4486">
                  <c:v>1116.0605571549929</c:v>
                </c:pt>
                <c:pt idx="4487">
                  <c:v>1085.9501469415895</c:v>
                </c:pt>
                <c:pt idx="4488">
                  <c:v>1070.9542086075974</c:v>
                </c:pt>
                <c:pt idx="4489">
                  <c:v>1066.7036111547468</c:v>
                </c:pt>
                <c:pt idx="4490">
                  <c:v>1064.1387301449979</c:v>
                </c:pt>
                <c:pt idx="4491">
                  <c:v>1046.7570380118809</c:v>
                </c:pt>
                <c:pt idx="4492">
                  <c:v>1047.2105638603571</c:v>
                </c:pt>
                <c:pt idx="4493">
                  <c:v>1059.8059565471533</c:v>
                </c:pt>
                <c:pt idx="4494">
                  <c:v>1097.2661105688255</c:v>
                </c:pt>
                <c:pt idx="4495">
                  <c:v>1104.5204349713206</c:v>
                </c:pt>
                <c:pt idx="4496">
                  <c:v>1103.2510051115046</c:v>
                </c:pt>
                <c:pt idx="4497">
                  <c:v>1246.6194879088177</c:v>
                </c:pt>
                <c:pt idx="4498">
                  <c:v>1277.2113842712056</c:v>
                </c:pt>
                <c:pt idx="4499">
                  <c:v>1317.0487868749201</c:v>
                </c:pt>
                <c:pt idx="4500">
                  <c:v>1288.061575323673</c:v>
                </c:pt>
                <c:pt idx="4501">
                  <c:v>1263.7549573928775</c:v>
                </c:pt>
                <c:pt idx="4502">
                  <c:v>1269.3409470979163</c:v>
                </c:pt>
                <c:pt idx="4503">
                  <c:v>1288.4147744483269</c:v>
                </c:pt>
                <c:pt idx="4504">
                  <c:v>1298.2970230894528</c:v>
                </c:pt>
                <c:pt idx="4505">
                  <c:v>1289.088786691909</c:v>
                </c:pt>
                <c:pt idx="4506">
                  <c:v>1264.6733324518382</c:v>
                </c:pt>
                <c:pt idx="4507">
                  <c:v>1225.105049310401</c:v>
                </c:pt>
                <c:pt idx="4508">
                  <c:v>1199.0284354211833</c:v>
                </c:pt>
                <c:pt idx="4509">
                  <c:v>1151.3375285397713</c:v>
                </c:pt>
                <c:pt idx="4510">
                  <c:v>1096.2867830922444</c:v>
                </c:pt>
                <c:pt idx="4511">
                  <c:v>1068.0315935587191</c:v>
                </c:pt>
                <c:pt idx="4512">
                  <c:v>1032.1487674288348</c:v>
                </c:pt>
                <c:pt idx="4513">
                  <c:v>1023.3588598277181</c:v>
                </c:pt>
                <c:pt idx="4514">
                  <c:v>1005.1868776228423</c:v>
                </c:pt>
                <c:pt idx="4515">
                  <c:v>1026.1884051080276</c:v>
                </c:pt>
                <c:pt idx="4516">
                  <c:v>1082.0683409653316</c:v>
                </c:pt>
                <c:pt idx="4517">
                  <c:v>1102.9739543268001</c:v>
                </c:pt>
                <c:pt idx="4518">
                  <c:v>1107.6607739671012</c:v>
                </c:pt>
                <c:pt idx="4519">
                  <c:v>1116.5393867887551</c:v>
                </c:pt>
                <c:pt idx="4520">
                  <c:v>1153.55086767537</c:v>
                </c:pt>
                <c:pt idx="4521">
                  <c:v>1165.8418084283592</c:v>
                </c:pt>
                <c:pt idx="4522">
                  <c:v>1155.8343786742255</c:v>
                </c:pt>
                <c:pt idx="4523">
                  <c:v>1157.2741656951298</c:v>
                </c:pt>
                <c:pt idx="4524">
                  <c:v>1136.4277137194358</c:v>
                </c:pt>
                <c:pt idx="4525">
                  <c:v>1115.6580407671615</c:v>
                </c:pt>
                <c:pt idx="4526">
                  <c:v>1116.4282974924686</c:v>
                </c:pt>
                <c:pt idx="4527">
                  <c:v>1122.6770929329884</c:v>
                </c:pt>
                <c:pt idx="4528">
                  <c:v>1150.0762839139093</c:v>
                </c:pt>
                <c:pt idx="4529">
                  <c:v>1201.1890117414862</c:v>
                </c:pt>
                <c:pt idx="4530">
                  <c:v>1246.0622045276511</c:v>
                </c:pt>
                <c:pt idx="4531">
                  <c:v>1239.3429798295635</c:v>
                </c:pt>
                <c:pt idx="4532">
                  <c:v>1179.6640011407621</c:v>
                </c:pt>
                <c:pt idx="4533">
                  <c:v>1123.5931303677623</c:v>
                </c:pt>
                <c:pt idx="4534">
                  <c:v>1097.0159875110869</c:v>
                </c:pt>
                <c:pt idx="4535">
                  <c:v>1086.3185135941649</c:v>
                </c:pt>
                <c:pt idx="4536">
                  <c:v>1069.1578446196618</c:v>
                </c:pt>
                <c:pt idx="4537">
                  <c:v>1060.9943334792031</c:v>
                </c:pt>
                <c:pt idx="4538">
                  <c:v>1046.532276074289</c:v>
                </c:pt>
                <c:pt idx="4539">
                  <c:v>1036.720215131762</c:v>
                </c:pt>
                <c:pt idx="4540">
                  <c:v>1063.2503696127058</c:v>
                </c:pt>
                <c:pt idx="4541">
                  <c:v>1083.2969036283766</c:v>
                </c:pt>
                <c:pt idx="4542">
                  <c:v>1104.9779764442462</c:v>
                </c:pt>
                <c:pt idx="4543">
                  <c:v>1117.2034697265185</c:v>
                </c:pt>
                <c:pt idx="4544">
                  <c:v>1129.7127509126767</c:v>
                </c:pt>
                <c:pt idx="4545">
                  <c:v>1131.1405063495288</c:v>
                </c:pt>
                <c:pt idx="4546">
                  <c:v>1123.671676396991</c:v>
                </c:pt>
                <c:pt idx="4547">
                  <c:v>1122.0449313155534</c:v>
                </c:pt>
                <c:pt idx="4548">
                  <c:v>1145.786371673903</c:v>
                </c:pt>
                <c:pt idx="4549">
                  <c:v>1163.1804159202475</c:v>
                </c:pt>
                <c:pt idx="4550">
                  <c:v>1163.1997421367478</c:v>
                </c:pt>
                <c:pt idx="4551">
                  <c:v>1144.5491732887108</c:v>
                </c:pt>
                <c:pt idx="4552">
                  <c:v>1144.5428702763338</c:v>
                </c:pt>
                <c:pt idx="4553">
                  <c:v>1142.6408850997043</c:v>
                </c:pt>
                <c:pt idx="4554">
                  <c:v>1107.3728159076647</c:v>
                </c:pt>
                <c:pt idx="4555">
                  <c:v>1006.9553703158157</c:v>
                </c:pt>
                <c:pt idx="4556">
                  <c:v>904.4205674218249</c:v>
                </c:pt>
                <c:pt idx="4557">
                  <c:v>931.6218302721569</c:v>
                </c:pt>
                <c:pt idx="4558">
                  <c:v>942.64681893417924</c:v>
                </c:pt>
                <c:pt idx="4559">
                  <c:v>943.5431550186488</c:v>
                </c:pt>
                <c:pt idx="4560">
                  <c:v>944.37852175806256</c:v>
                </c:pt>
                <c:pt idx="4561">
                  <c:v>934.2488595409111</c:v>
                </c:pt>
                <c:pt idx="4562">
                  <c:v>941.5022305465759</c:v>
                </c:pt>
                <c:pt idx="4563">
                  <c:v>933.64592232115626</c:v>
                </c:pt>
                <c:pt idx="4564">
                  <c:v>946.92273600765827</c:v>
                </c:pt>
                <c:pt idx="4565">
                  <c:v>982.92746205836715</c:v>
                </c:pt>
                <c:pt idx="4566">
                  <c:v>1026.6039654497417</c:v>
                </c:pt>
                <c:pt idx="4567">
                  <c:v>1037.6919230783501</c:v>
                </c:pt>
                <c:pt idx="4568">
                  <c:v>1046.8721718730703</c:v>
                </c:pt>
                <c:pt idx="4569">
                  <c:v>1054.3461668775078</c:v>
                </c:pt>
                <c:pt idx="4570">
                  <c:v>1063.7048139110491</c:v>
                </c:pt>
                <c:pt idx="4571">
                  <c:v>1050.1289852736938</c:v>
                </c:pt>
                <c:pt idx="4572">
                  <c:v>1030.0998286352981</c:v>
                </c:pt>
                <c:pt idx="4573">
                  <c:v>1066.7687320897794</c:v>
                </c:pt>
                <c:pt idx="4574">
                  <c:v>1088.8618962152543</c:v>
                </c:pt>
                <c:pt idx="4575">
                  <c:v>1062.8021911955914</c:v>
                </c:pt>
                <c:pt idx="4576">
                  <c:v>1073.5018645869873</c:v>
                </c:pt>
                <c:pt idx="4577">
                  <c:v>1082.4546834619207</c:v>
                </c:pt>
                <c:pt idx="4578">
                  <c:v>1102.1548373790636</c:v>
                </c:pt>
                <c:pt idx="4579">
                  <c:v>1107.6206062556334</c:v>
                </c:pt>
                <c:pt idx="4580">
                  <c:v>1067.5375019310268</c:v>
                </c:pt>
                <c:pt idx="4581">
                  <c:v>1066.4494495386143</c:v>
                </c:pt>
                <c:pt idx="4582">
                  <c:v>1058.8064826925377</c:v>
                </c:pt>
                <c:pt idx="4583">
                  <c:v>1042.6969238944405</c:v>
                </c:pt>
                <c:pt idx="4584">
                  <c:v>1033.79528266241</c:v>
                </c:pt>
                <c:pt idx="4585">
                  <c:v>1000.5677338681854</c:v>
                </c:pt>
                <c:pt idx="4586">
                  <c:v>1024.8896050561709</c:v>
                </c:pt>
                <c:pt idx="4587">
                  <c:v>1019.1762822696774</c:v>
                </c:pt>
                <c:pt idx="4588">
                  <c:v>1027.6214402665009</c:v>
                </c:pt>
                <c:pt idx="4589">
                  <c:v>1043.0028386862707</c:v>
                </c:pt>
                <c:pt idx="4590">
                  <c:v>1070.9898403124971</c:v>
                </c:pt>
                <c:pt idx="4591">
                  <c:v>1062.7458708886868</c:v>
                </c:pt>
                <c:pt idx="4592">
                  <c:v>1077.7366316117148</c:v>
                </c:pt>
                <c:pt idx="4593">
                  <c:v>1103.7751434825966</c:v>
                </c:pt>
                <c:pt idx="4594">
                  <c:v>1106.5387110812376</c:v>
                </c:pt>
                <c:pt idx="4595">
                  <c:v>1107.7338917501163</c:v>
                </c:pt>
                <c:pt idx="4596">
                  <c:v>1116.0174877535164</c:v>
                </c:pt>
                <c:pt idx="4597">
                  <c:v>1118.3392968013272</c:v>
                </c:pt>
                <c:pt idx="4598">
                  <c:v>1103.4952477966981</c:v>
                </c:pt>
                <c:pt idx="4599">
                  <c:v>1079.0649656695007</c:v>
                </c:pt>
                <c:pt idx="4600">
                  <c:v>1116.8261462765752</c:v>
                </c:pt>
                <c:pt idx="4601">
                  <c:v>1136.864539834088</c:v>
                </c:pt>
                <c:pt idx="4602">
                  <c:v>1163.1500622988301</c:v>
                </c:pt>
                <c:pt idx="4603">
                  <c:v>1108.4649456277582</c:v>
                </c:pt>
                <c:pt idx="4604">
                  <c:v>1080.0011331009205</c:v>
                </c:pt>
                <c:pt idx="4605">
                  <c:v>1054.6629676482646</c:v>
                </c:pt>
                <c:pt idx="4606">
                  <c:v>1054.2499207576438</c:v>
                </c:pt>
                <c:pt idx="4607">
                  <c:v>1037.8070209004843</c:v>
                </c:pt>
                <c:pt idx="4608">
                  <c:v>1025.9767029596605</c:v>
                </c:pt>
                <c:pt idx="4609">
                  <c:v>1021.4443587239732</c:v>
                </c:pt>
                <c:pt idx="4610">
                  <c:v>1016.6657241294879</c:v>
                </c:pt>
                <c:pt idx="4611">
                  <c:v>1019.5135494015974</c:v>
                </c:pt>
                <c:pt idx="4612">
                  <c:v>1075.3223370648702</c:v>
                </c:pt>
                <c:pt idx="4613">
                  <c:v>1143.7908733391137</c:v>
                </c:pt>
                <c:pt idx="4614">
                  <c:v>1161.327423655297</c:v>
                </c:pt>
                <c:pt idx="4615">
                  <c:v>1179.8126272974694</c:v>
                </c:pt>
                <c:pt idx="4616">
                  <c:v>1183.4470770325629</c:v>
                </c:pt>
                <c:pt idx="4617">
                  <c:v>1180.4921109249224</c:v>
                </c:pt>
                <c:pt idx="4618">
                  <c:v>1179.700740773593</c:v>
                </c:pt>
                <c:pt idx="4619">
                  <c:v>1174.4772193290564</c:v>
                </c:pt>
                <c:pt idx="4620">
                  <c:v>1162.6787375253396</c:v>
                </c:pt>
                <c:pt idx="4621">
                  <c:v>1154.0445011702216</c:v>
                </c:pt>
                <c:pt idx="4622">
                  <c:v>1083.7681585079417</c:v>
                </c:pt>
                <c:pt idx="4623">
                  <c:v>943.20895502876488</c:v>
                </c:pt>
                <c:pt idx="4624">
                  <c:v>998.71494800873427</c:v>
                </c:pt>
                <c:pt idx="4625">
                  <c:v>1020.4076696302038</c:v>
                </c:pt>
                <c:pt idx="4626">
                  <c:v>1056.1726687985745</c:v>
                </c:pt>
                <c:pt idx="4627">
                  <c:v>1113.7463332362588</c:v>
                </c:pt>
                <c:pt idx="4628">
                  <c:v>1090.8418759143547</c:v>
                </c:pt>
                <c:pt idx="4629">
                  <c:v>1055.4906504242226</c:v>
                </c:pt>
                <c:pt idx="4630">
                  <c:v>1050.9979060118567</c:v>
                </c:pt>
                <c:pt idx="4631">
                  <c:v>1012.7341946316087</c:v>
                </c:pt>
                <c:pt idx="4632">
                  <c:v>1015.3863343852606</c:v>
                </c:pt>
                <c:pt idx="4633">
                  <c:v>1023.9531334769649</c:v>
                </c:pt>
                <c:pt idx="4634">
                  <c:v>1015.3195971531965</c:v>
                </c:pt>
                <c:pt idx="4635">
                  <c:v>1017.7493475404059</c:v>
                </c:pt>
                <c:pt idx="4636">
                  <c:v>1041.9248985251854</c:v>
                </c:pt>
                <c:pt idx="4637">
                  <c:v>1061.5370969433534</c:v>
                </c:pt>
                <c:pt idx="4638">
                  <c:v>1057.0642449974951</c:v>
                </c:pt>
                <c:pt idx="4639">
                  <c:v>1115.0534708689861</c:v>
                </c:pt>
                <c:pt idx="4640">
                  <c:v>1168.7126091443549</c:v>
                </c:pt>
                <c:pt idx="4641">
                  <c:v>1219.7933796125476</c:v>
                </c:pt>
                <c:pt idx="4642">
                  <c:v>1274.5285796497487</c:v>
                </c:pt>
                <c:pt idx="4643">
                  <c:v>1265.9106870062706</c:v>
                </c:pt>
                <c:pt idx="4644">
                  <c:v>1239.1322551040637</c:v>
                </c:pt>
                <c:pt idx="4645">
                  <c:v>1232.7936863764546</c:v>
                </c:pt>
                <c:pt idx="4646">
                  <c:v>1200.9467921578137</c:v>
                </c:pt>
                <c:pt idx="4647">
                  <c:v>1140.8008166584514</c:v>
                </c:pt>
                <c:pt idx="4648">
                  <c:v>1119.0518124072717</c:v>
                </c:pt>
                <c:pt idx="4649">
                  <c:v>1095.7048965031877</c:v>
                </c:pt>
                <c:pt idx="4650">
                  <c:v>1084.6294329598431</c:v>
                </c:pt>
                <c:pt idx="4651">
                  <c:v>1060.1730432672143</c:v>
                </c:pt>
                <c:pt idx="4652">
                  <c:v>1040.9634305847576</c:v>
                </c:pt>
                <c:pt idx="4653">
                  <c:v>1013.5846486301389</c:v>
                </c:pt>
                <c:pt idx="4654">
                  <c:v>992.05445550403397</c:v>
                </c:pt>
                <c:pt idx="4655">
                  <c:v>979.202449999289</c:v>
                </c:pt>
                <c:pt idx="4656">
                  <c:v>969.55617089594898</c:v>
                </c:pt>
                <c:pt idx="4657">
                  <c:v>967.76070733835274</c:v>
                </c:pt>
                <c:pt idx="4658">
                  <c:v>964.8158348964655</c:v>
                </c:pt>
                <c:pt idx="4659">
                  <c:v>975.57400349715692</c:v>
                </c:pt>
                <c:pt idx="4660">
                  <c:v>1002.2220477349383</c:v>
                </c:pt>
                <c:pt idx="4661">
                  <c:v>1073.0801819742196</c:v>
                </c:pt>
                <c:pt idx="4662">
                  <c:v>1092.2620702481672</c:v>
                </c:pt>
                <c:pt idx="4663">
                  <c:v>1106.368392689436</c:v>
                </c:pt>
                <c:pt idx="4664">
                  <c:v>1103.3823603699639</c:v>
                </c:pt>
                <c:pt idx="4665">
                  <c:v>1111.1388447801987</c:v>
                </c:pt>
                <c:pt idx="4666">
                  <c:v>1118.044519169719</c:v>
                </c:pt>
                <c:pt idx="4667">
                  <c:v>1115.0092318363468</c:v>
                </c:pt>
                <c:pt idx="4668">
                  <c:v>1110.8283317325227</c:v>
                </c:pt>
                <c:pt idx="4669">
                  <c:v>1116.0782572456283</c:v>
                </c:pt>
                <c:pt idx="4670">
                  <c:v>1131.8102206627273</c:v>
                </c:pt>
                <c:pt idx="4671">
                  <c:v>1137.4524170970415</c:v>
                </c:pt>
                <c:pt idx="4672">
                  <c:v>1142.5998382537025</c:v>
                </c:pt>
                <c:pt idx="4673">
                  <c:v>1150.2173320401421</c:v>
                </c:pt>
                <c:pt idx="4674">
                  <c:v>1164.5895287905598</c:v>
                </c:pt>
                <c:pt idx="4675">
                  <c:v>1140.8169141032124</c:v>
                </c:pt>
                <c:pt idx="4676">
                  <c:v>1090.505204518942</c:v>
                </c:pt>
                <c:pt idx="4677">
                  <c:v>1029.9489735176167</c:v>
                </c:pt>
                <c:pt idx="4678">
                  <c:v>1010.1448676753025</c:v>
                </c:pt>
                <c:pt idx="4679">
                  <c:v>1005.9913173922297</c:v>
                </c:pt>
                <c:pt idx="4680">
                  <c:v>995.17959912353194</c:v>
                </c:pt>
                <c:pt idx="4681">
                  <c:v>988.50011785894128</c:v>
                </c:pt>
                <c:pt idx="4682">
                  <c:v>1000.2373179791223</c:v>
                </c:pt>
                <c:pt idx="4683">
                  <c:v>1008.8641843474038</c:v>
                </c:pt>
                <c:pt idx="4684">
                  <c:v>1086.5496560827078</c:v>
                </c:pt>
                <c:pt idx="4685">
                  <c:v>1099.8452117161751</c:v>
                </c:pt>
                <c:pt idx="4686">
                  <c:v>1118.5456433276381</c:v>
                </c:pt>
                <c:pt idx="4687">
                  <c:v>1114.8901844613647</c:v>
                </c:pt>
                <c:pt idx="4688">
                  <c:v>722.77295944946343</c:v>
                </c:pt>
                <c:pt idx="4689">
                  <c:v>655.25555336720106</c:v>
                </c:pt>
                <c:pt idx="4690">
                  <c:v>597.82305281756362</c:v>
                </c:pt>
                <c:pt idx="4691">
                  <c:v>992.53857796452826</c:v>
                </c:pt>
                <c:pt idx="4692">
                  <c:v>1072.6458709487997</c:v>
                </c:pt>
                <c:pt idx="4693">
                  <c:v>1154.0099582816331</c:v>
                </c:pt>
                <c:pt idx="4694">
                  <c:v>1084.4540357914566</c:v>
                </c:pt>
                <c:pt idx="4695">
                  <c:v>1089.8931854572174</c:v>
                </c:pt>
                <c:pt idx="4696">
                  <c:v>1075.4367779933123</c:v>
                </c:pt>
                <c:pt idx="4697">
                  <c:v>1091.3563765683493</c:v>
                </c:pt>
                <c:pt idx="4698">
                  <c:v>1139.3480091636552</c:v>
                </c:pt>
                <c:pt idx="4699">
                  <c:v>1125.861573765168</c:v>
                </c:pt>
                <c:pt idx="4700">
                  <c:v>1115.0043201499279</c:v>
                </c:pt>
                <c:pt idx="4701">
                  <c:v>1076.5906235037457</c:v>
                </c:pt>
                <c:pt idx="4702">
                  <c:v>1056.38335584688</c:v>
                </c:pt>
                <c:pt idx="4703">
                  <c:v>1041.8247323389737</c:v>
                </c:pt>
                <c:pt idx="4704">
                  <c:v>1032.2880867724991</c:v>
                </c:pt>
                <c:pt idx="4705">
                  <c:v>1009.4261992197121</c:v>
                </c:pt>
                <c:pt idx="4706">
                  <c:v>997.14772142734796</c:v>
                </c:pt>
                <c:pt idx="4707">
                  <c:v>1005.6688524832604</c:v>
                </c:pt>
                <c:pt idx="4708">
                  <c:v>1026.271320053658</c:v>
                </c:pt>
                <c:pt idx="4709">
                  <c:v>1044.3806325253174</c:v>
                </c:pt>
                <c:pt idx="4710">
                  <c:v>1041.5815402468506</c:v>
                </c:pt>
                <c:pt idx="4711">
                  <c:v>1037.2092962386564</c:v>
                </c:pt>
                <c:pt idx="4712">
                  <c:v>1033.2897672001909</c:v>
                </c:pt>
                <c:pt idx="4713">
                  <c:v>1039.2351907864738</c:v>
                </c:pt>
                <c:pt idx="4714">
                  <c:v>1012.6567243135805</c:v>
                </c:pt>
                <c:pt idx="4715">
                  <c:v>1043.4947319315816</c:v>
                </c:pt>
                <c:pt idx="4716">
                  <c:v>1063.5879998654113</c:v>
                </c:pt>
                <c:pt idx="4717">
                  <c:v>1070.30950703701</c:v>
                </c:pt>
                <c:pt idx="4718">
                  <c:v>1060.626280803247</c:v>
                </c:pt>
                <c:pt idx="4719">
                  <c:v>1065.5700889413472</c:v>
                </c:pt>
                <c:pt idx="4720">
                  <c:v>1075.014906994573</c:v>
                </c:pt>
                <c:pt idx="4721">
                  <c:v>1081.6222943129508</c:v>
                </c:pt>
                <c:pt idx="4722">
                  <c:v>1046.220644723802</c:v>
                </c:pt>
                <c:pt idx="4723">
                  <c:v>1068.9711628585537</c:v>
                </c:pt>
                <c:pt idx="4724">
                  <c:v>1068.263753877555</c:v>
                </c:pt>
                <c:pt idx="4725">
                  <c:v>1043.5096411796058</c:v>
                </c:pt>
                <c:pt idx="4726">
                  <c:v>1027.055201726105</c:v>
                </c:pt>
                <c:pt idx="4727">
                  <c:v>1021.3257274362675</c:v>
                </c:pt>
                <c:pt idx="4728">
                  <c:v>1021.0824911143947</c:v>
                </c:pt>
                <c:pt idx="4729">
                  <c:v>1020.1557806587488</c:v>
                </c:pt>
                <c:pt idx="4730">
                  <c:v>1012.7056347722689</c:v>
                </c:pt>
                <c:pt idx="4731">
                  <c:v>1002.1842744364719</c:v>
                </c:pt>
                <c:pt idx="4732">
                  <c:v>1010.2389197811552</c:v>
                </c:pt>
                <c:pt idx="4733">
                  <c:v>1029.1636147899433</c:v>
                </c:pt>
                <c:pt idx="4734">
                  <c:v>1013.8857352806332</c:v>
                </c:pt>
                <c:pt idx="4735">
                  <c:v>1008.6781327237195</c:v>
                </c:pt>
                <c:pt idx="4736">
                  <c:v>1061.2508665743926</c:v>
                </c:pt>
                <c:pt idx="4737">
                  <c:v>1068.0162627629556</c:v>
                </c:pt>
                <c:pt idx="4738">
                  <c:v>1071.0100325584203</c:v>
                </c:pt>
                <c:pt idx="4739">
                  <c:v>1066.8798885497602</c:v>
                </c:pt>
                <c:pt idx="4740">
                  <c:v>1069.5733323372185</c:v>
                </c:pt>
                <c:pt idx="4741">
                  <c:v>1061.4483480391127</c:v>
                </c:pt>
                <c:pt idx="4742">
                  <c:v>1051.6657353732467</c:v>
                </c:pt>
                <c:pt idx="4743">
                  <c:v>1059.1707490834876</c:v>
                </c:pt>
                <c:pt idx="4744">
                  <c:v>1059.9511480726685</c:v>
                </c:pt>
                <c:pt idx="4745">
                  <c:v>1144.8458244051553</c:v>
                </c:pt>
                <c:pt idx="4746">
                  <c:v>1237.6981808194917</c:v>
                </c:pt>
                <c:pt idx="4747">
                  <c:v>1123.4355719857701</c:v>
                </c:pt>
                <c:pt idx="4748">
                  <c:v>1083.1827799528319</c:v>
                </c:pt>
                <c:pt idx="4749">
                  <c:v>1082.2196252754004</c:v>
                </c:pt>
                <c:pt idx="4750">
                  <c:v>1071.6571307261943</c:v>
                </c:pt>
                <c:pt idx="4751">
                  <c:v>1064.9043935288762</c:v>
                </c:pt>
                <c:pt idx="4752">
                  <c:v>1055.6137620217744</c:v>
                </c:pt>
                <c:pt idx="4753">
                  <c:v>1041.0573112320737</c:v>
                </c:pt>
                <c:pt idx="4754">
                  <c:v>1002.5866974503871</c:v>
                </c:pt>
                <c:pt idx="4755">
                  <c:v>974.79061381242127</c:v>
                </c:pt>
                <c:pt idx="4756">
                  <c:v>972.85915906332548</c:v>
                </c:pt>
                <c:pt idx="4757">
                  <c:v>980.46041507110624</c:v>
                </c:pt>
                <c:pt idx="4758">
                  <c:v>996.0725764772443</c:v>
                </c:pt>
                <c:pt idx="4759">
                  <c:v>1004.378321756487</c:v>
                </c:pt>
                <c:pt idx="4760">
                  <c:v>1004.8289519214635</c:v>
                </c:pt>
                <c:pt idx="4761">
                  <c:v>1019.1238874895838</c:v>
                </c:pt>
                <c:pt idx="4762">
                  <c:v>1013.7517224148587</c:v>
                </c:pt>
                <c:pt idx="4763">
                  <c:v>1046.9165348582187</c:v>
                </c:pt>
                <c:pt idx="4764">
                  <c:v>1051.5638212928461</c:v>
                </c:pt>
                <c:pt idx="4765">
                  <c:v>1050.6779463632863</c:v>
                </c:pt>
                <c:pt idx="4766">
                  <c:v>1053.7155320055119</c:v>
                </c:pt>
                <c:pt idx="4767">
                  <c:v>1051.8212662853475</c:v>
                </c:pt>
                <c:pt idx="4768">
                  <c:v>1080.9205926078221</c:v>
                </c:pt>
                <c:pt idx="4769">
                  <c:v>1095.1333280049114</c:v>
                </c:pt>
                <c:pt idx="4770">
                  <c:v>1105.0573306219903</c:v>
                </c:pt>
                <c:pt idx="4771">
                  <c:v>1110.3709513432539</c:v>
                </c:pt>
                <c:pt idx="4772">
                  <c:v>1101.3011420497294</c:v>
                </c:pt>
                <c:pt idx="4773">
                  <c:v>1088.8612748145711</c:v>
                </c:pt>
                <c:pt idx="4774">
                  <c:v>1084.6987049388063</c:v>
                </c:pt>
                <c:pt idx="4775">
                  <c:v>1086.5691652247167</c:v>
                </c:pt>
                <c:pt idx="4776">
                  <c:v>1094.6087151195893</c:v>
                </c:pt>
                <c:pt idx="4777">
                  <c:v>1099.7379682239407</c:v>
                </c:pt>
                <c:pt idx="4778">
                  <c:v>1103.8595808052962</c:v>
                </c:pt>
                <c:pt idx="4779">
                  <c:v>1083.7462025324871</c:v>
                </c:pt>
                <c:pt idx="4780">
                  <c:v>1079.7792766756615</c:v>
                </c:pt>
                <c:pt idx="4781">
                  <c:v>1099.7187140855513</c:v>
                </c:pt>
                <c:pt idx="4782">
                  <c:v>1093.2151236151974</c:v>
                </c:pt>
                <c:pt idx="4783">
                  <c:v>1099.6971365201789</c:v>
                </c:pt>
                <c:pt idx="4784">
                  <c:v>1112.7638993023083</c:v>
                </c:pt>
                <c:pt idx="4785">
                  <c:v>1117.6392294127579</c:v>
                </c:pt>
                <c:pt idx="4786">
                  <c:v>1105.1428649516954</c:v>
                </c:pt>
                <c:pt idx="4787">
                  <c:v>1088.9642307513013</c:v>
                </c:pt>
                <c:pt idx="4788">
                  <c:v>1091.2740917601427</c:v>
                </c:pt>
                <c:pt idx="4789">
                  <c:v>1090.7659378022286</c:v>
                </c:pt>
                <c:pt idx="4790">
                  <c:v>1097.4493473238617</c:v>
                </c:pt>
                <c:pt idx="4791">
                  <c:v>1118.2946831809297</c:v>
                </c:pt>
                <c:pt idx="4792">
                  <c:v>1153.5339527993062</c:v>
                </c:pt>
                <c:pt idx="4793">
                  <c:v>1206.4152606872635</c:v>
                </c:pt>
                <c:pt idx="4794">
                  <c:v>1229.8647639468288</c:v>
                </c:pt>
                <c:pt idx="4795">
                  <c:v>1225.3925776314036</c:v>
                </c:pt>
                <c:pt idx="4796">
                  <c:v>1223.1192138108386</c:v>
                </c:pt>
                <c:pt idx="4797">
                  <c:v>1224.3628522660279</c:v>
                </c:pt>
                <c:pt idx="4798">
                  <c:v>1221.7706765862033</c:v>
                </c:pt>
                <c:pt idx="4799">
                  <c:v>1223.9379834731317</c:v>
                </c:pt>
                <c:pt idx="4800">
                  <c:v>1224.4964779849795</c:v>
                </c:pt>
                <c:pt idx="4801">
                  <c:v>1223.0260069846497</c:v>
                </c:pt>
                <c:pt idx="4802">
                  <c:v>1220.3200041324185</c:v>
                </c:pt>
                <c:pt idx="4803">
                  <c:v>1189.5984234132322</c:v>
                </c:pt>
                <c:pt idx="4804">
                  <c:v>1127.9884486542223</c:v>
                </c:pt>
                <c:pt idx="4805">
                  <c:v>1132.1468418218808</c:v>
                </c:pt>
                <c:pt idx="4806">
                  <c:v>1135.2341602685146</c:v>
                </c:pt>
                <c:pt idx="4807">
                  <c:v>1127.7926763144039</c:v>
                </c:pt>
                <c:pt idx="4808">
                  <c:v>1185.6603140575046</c:v>
                </c:pt>
                <c:pt idx="4809">
                  <c:v>1177.2487734008002</c:v>
                </c:pt>
                <c:pt idx="4810">
                  <c:v>1129.1580284886311</c:v>
                </c:pt>
                <c:pt idx="4811">
                  <c:v>1131.6511541008697</c:v>
                </c:pt>
                <c:pt idx="4812">
                  <c:v>1136.2735206207562</c:v>
                </c:pt>
                <c:pt idx="4813">
                  <c:v>1200.8566273555314</c:v>
                </c:pt>
                <c:pt idx="4814">
                  <c:v>1177.4261205005043</c:v>
                </c:pt>
                <c:pt idx="4815">
                  <c:v>1169.9669697645822</c:v>
                </c:pt>
                <c:pt idx="4816">
                  <c:v>1176.3576739002949</c:v>
                </c:pt>
                <c:pt idx="4817">
                  <c:v>1248.3595725433213</c:v>
                </c:pt>
                <c:pt idx="4818">
                  <c:v>1329.489417482798</c:v>
                </c:pt>
                <c:pt idx="4819">
                  <c:v>1339.4495350557472</c:v>
                </c:pt>
                <c:pt idx="4820">
                  <c:v>1327.3779263559979</c:v>
                </c:pt>
                <c:pt idx="4821">
                  <c:v>1327.4855280546014</c:v>
                </c:pt>
                <c:pt idx="4822">
                  <c:v>1331.0299778933938</c:v>
                </c:pt>
                <c:pt idx="4823">
                  <c:v>1346.4914234236553</c:v>
                </c:pt>
                <c:pt idx="4824">
                  <c:v>1363.0032446980572</c:v>
                </c:pt>
                <c:pt idx="4825">
                  <c:v>1389.4917320244085</c:v>
                </c:pt>
                <c:pt idx="4826">
                  <c:v>1400.4134879042294</c:v>
                </c:pt>
                <c:pt idx="4827">
                  <c:v>1379.9885530892759</c:v>
                </c:pt>
                <c:pt idx="4828">
                  <c:v>1331.9070816813255</c:v>
                </c:pt>
                <c:pt idx="4829">
                  <c:v>1339.5702282142609</c:v>
                </c:pt>
                <c:pt idx="4830">
                  <c:v>1302.5639986548597</c:v>
                </c:pt>
                <c:pt idx="4831">
                  <c:v>1303.2244951605612</c:v>
                </c:pt>
                <c:pt idx="4832">
                  <c:v>1298.0782054118224</c:v>
                </c:pt>
                <c:pt idx="4833">
                  <c:v>1289.3886529289355</c:v>
                </c:pt>
                <c:pt idx="4834">
                  <c:v>1273.1255890504897</c:v>
                </c:pt>
                <c:pt idx="4835">
                  <c:v>1266.5963436870825</c:v>
                </c:pt>
                <c:pt idx="4836">
                  <c:v>1234.6162021595717</c:v>
                </c:pt>
                <c:pt idx="4837">
                  <c:v>1225.8115846173282</c:v>
                </c:pt>
                <c:pt idx="4838">
                  <c:v>1230.9720633790291</c:v>
                </c:pt>
                <c:pt idx="4839">
                  <c:v>1265.0633886092762</c:v>
                </c:pt>
                <c:pt idx="4840">
                  <c:v>1282.8766566219242</c:v>
                </c:pt>
                <c:pt idx="4841">
                  <c:v>1317.1588736302097</c:v>
                </c:pt>
                <c:pt idx="4842">
                  <c:v>1403.845375213833</c:v>
                </c:pt>
                <c:pt idx="4843">
                  <c:v>1475.3860553081863</c:v>
                </c:pt>
                <c:pt idx="4844">
                  <c:v>1393.2426234015668</c:v>
                </c:pt>
                <c:pt idx="4845">
                  <c:v>1390.8465722614208</c:v>
                </c:pt>
                <c:pt idx="4846">
                  <c:v>1399.0213248569439</c:v>
                </c:pt>
                <c:pt idx="4847">
                  <c:v>1402.2537747640001</c:v>
                </c:pt>
                <c:pt idx="4848">
                  <c:v>1419.9811573391755</c:v>
                </c:pt>
                <c:pt idx="4849">
                  <c:v>1450.6453655202481</c:v>
                </c:pt>
                <c:pt idx="4850">
                  <c:v>1444.0891482001252</c:v>
                </c:pt>
                <c:pt idx="4851">
                  <c:v>1391.5247726800819</c:v>
                </c:pt>
                <c:pt idx="4852">
                  <c:v>1350.1667627434181</c:v>
                </c:pt>
                <c:pt idx="4853">
                  <c:v>1363.9548275624163</c:v>
                </c:pt>
                <c:pt idx="4854">
                  <c:v>1339.0007674546812</c:v>
                </c:pt>
                <c:pt idx="4855">
                  <c:v>1326.5541996854433</c:v>
                </c:pt>
                <c:pt idx="4856">
                  <c:v>1344.6961422455215</c:v>
                </c:pt>
                <c:pt idx="4857">
                  <c:v>1319.7898611885528</c:v>
                </c:pt>
                <c:pt idx="4858">
                  <c:v>1294.134730059159</c:v>
                </c:pt>
                <c:pt idx="4859">
                  <c:v>1258.9542101076513</c:v>
                </c:pt>
                <c:pt idx="4860">
                  <c:v>1258.3177762240082</c:v>
                </c:pt>
                <c:pt idx="4861">
                  <c:v>1261.6058333015087</c:v>
                </c:pt>
                <c:pt idx="4862">
                  <c:v>1220.8647814153028</c:v>
                </c:pt>
                <c:pt idx="4863">
                  <c:v>1219.4757865286176</c:v>
                </c:pt>
                <c:pt idx="4864">
                  <c:v>1237.8352641035804</c:v>
                </c:pt>
                <c:pt idx="4865">
                  <c:v>1281.2607909668577</c:v>
                </c:pt>
                <c:pt idx="4866">
                  <c:v>1308.931360403576</c:v>
                </c:pt>
                <c:pt idx="4867">
                  <c:v>1300.0082546377562</c:v>
                </c:pt>
                <c:pt idx="4868">
                  <c:v>1258.9753104285624</c:v>
                </c:pt>
                <c:pt idx="4869">
                  <c:v>1273.3295264205494</c:v>
                </c:pt>
                <c:pt idx="4870">
                  <c:v>1323.2266547241118</c:v>
                </c:pt>
                <c:pt idx="4871">
                  <c:v>1409.0992775821012</c:v>
                </c:pt>
                <c:pt idx="4872">
                  <c:v>1424.034501028611</c:v>
                </c:pt>
                <c:pt idx="4873">
                  <c:v>1362.3476303922746</c:v>
                </c:pt>
                <c:pt idx="4874">
                  <c:v>1322.3352292339687</c:v>
                </c:pt>
                <c:pt idx="4875">
                  <c:v>1371.0737586941041</c:v>
                </c:pt>
                <c:pt idx="4876">
                  <c:v>1357.5312825644153</c:v>
                </c:pt>
                <c:pt idx="4877">
                  <c:v>1313.4141662273364</c:v>
                </c:pt>
                <c:pt idx="4878">
                  <c:v>1266.057830101242</c:v>
                </c:pt>
                <c:pt idx="4879">
                  <c:v>1271.7908788101233</c:v>
                </c:pt>
                <c:pt idx="4880">
                  <c:v>1325.7128930544384</c:v>
                </c:pt>
                <c:pt idx="4881">
                  <c:v>1323.0897723850599</c:v>
                </c:pt>
                <c:pt idx="4882">
                  <c:v>1413.5569816577045</c:v>
                </c:pt>
                <c:pt idx="4883">
                  <c:v>1411.357428006856</c:v>
                </c:pt>
                <c:pt idx="4884">
                  <c:v>1405.8227764823307</c:v>
                </c:pt>
                <c:pt idx="4885">
                  <c:v>1373.7056630641755</c:v>
                </c:pt>
                <c:pt idx="4886">
                  <c:v>1354.9316801089396</c:v>
                </c:pt>
                <c:pt idx="4887">
                  <c:v>1335.188973350115</c:v>
                </c:pt>
                <c:pt idx="4888">
                  <c:v>1347.2692057589929</c:v>
                </c:pt>
                <c:pt idx="4889">
                  <c:v>1373.5038367090904</c:v>
                </c:pt>
                <c:pt idx="4890">
                  <c:v>1413.9094960403049</c:v>
                </c:pt>
                <c:pt idx="4891">
                  <c:v>1428.0690055748407</c:v>
                </c:pt>
                <c:pt idx="4892">
                  <c:v>1415.2755657193632</c:v>
                </c:pt>
                <c:pt idx="4893">
                  <c:v>1414.4372306722926</c:v>
                </c:pt>
                <c:pt idx="4894">
                  <c:v>1374.2983744749738</c:v>
                </c:pt>
                <c:pt idx="4895">
                  <c:v>1320.5253981062722</c:v>
                </c:pt>
                <c:pt idx="4896">
                  <c:v>1351.6569400084688</c:v>
                </c:pt>
                <c:pt idx="4897">
                  <c:v>1379.8350026870851</c:v>
                </c:pt>
                <c:pt idx="4898">
                  <c:v>1411.7666771454985</c:v>
                </c:pt>
                <c:pt idx="4899">
                  <c:v>1423.7244979881739</c:v>
                </c:pt>
                <c:pt idx="4900">
                  <c:v>1369.6521692120093</c:v>
                </c:pt>
                <c:pt idx="4901">
                  <c:v>1348.4945478409934</c:v>
                </c:pt>
                <c:pt idx="4902">
                  <c:v>1343.0207351564595</c:v>
                </c:pt>
                <c:pt idx="4903">
                  <c:v>1350.2492119115593</c:v>
                </c:pt>
                <c:pt idx="4904">
                  <c:v>1355.11467605756</c:v>
                </c:pt>
                <c:pt idx="4905">
                  <c:v>1332.876616909708</c:v>
                </c:pt>
                <c:pt idx="4906">
                  <c:v>1320.2813683791335</c:v>
                </c:pt>
                <c:pt idx="4907">
                  <c:v>1302.4968360527321</c:v>
                </c:pt>
                <c:pt idx="4908">
                  <c:v>1288.6506910196222</c:v>
                </c:pt>
                <c:pt idx="4909">
                  <c:v>1268.4777003267995</c:v>
                </c:pt>
                <c:pt idx="4910">
                  <c:v>1250.5116310874766</c:v>
                </c:pt>
                <c:pt idx="4911">
                  <c:v>1271.5408267384028</c:v>
                </c:pt>
                <c:pt idx="4912">
                  <c:v>1284.6807886644453</c:v>
                </c:pt>
                <c:pt idx="4913">
                  <c:v>1280.8127861924652</c:v>
                </c:pt>
                <c:pt idx="4914">
                  <c:v>1290.66609055766</c:v>
                </c:pt>
                <c:pt idx="4915">
                  <c:v>1275.742336267519</c:v>
                </c:pt>
                <c:pt idx="4916">
                  <c:v>1251.4376502485136</c:v>
                </c:pt>
                <c:pt idx="4917">
                  <c:v>1238.5810180935157</c:v>
                </c:pt>
                <c:pt idx="4918">
                  <c:v>1235.1872611966553</c:v>
                </c:pt>
                <c:pt idx="4919">
                  <c:v>1240.3021581978785</c:v>
                </c:pt>
                <c:pt idx="4920">
                  <c:v>1257.8826788919243</c:v>
                </c:pt>
                <c:pt idx="4921">
                  <c:v>1267.4879122413552</c:v>
                </c:pt>
                <c:pt idx="4922">
                  <c:v>1273.0681083952095</c:v>
                </c:pt>
                <c:pt idx="4923">
                  <c:v>1236.5668913893903</c:v>
                </c:pt>
                <c:pt idx="4924">
                  <c:v>1190.5420148900716</c:v>
                </c:pt>
                <c:pt idx="4925">
                  <c:v>1168.107074382377</c:v>
                </c:pt>
                <c:pt idx="4926">
                  <c:v>1176.8209565039606</c:v>
                </c:pt>
                <c:pt idx="4927">
                  <c:v>1189.9771114328655</c:v>
                </c:pt>
                <c:pt idx="4928">
                  <c:v>1198.9596335880797</c:v>
                </c:pt>
                <c:pt idx="4929">
                  <c:v>1207.3501711201136</c:v>
                </c:pt>
                <c:pt idx="4930">
                  <c:v>1216.8658053712231</c:v>
                </c:pt>
                <c:pt idx="4931">
                  <c:v>1202.8993444975888</c:v>
                </c:pt>
                <c:pt idx="4932">
                  <c:v>1190.768793376629</c:v>
                </c:pt>
                <c:pt idx="4933">
                  <c:v>1187.447518664897</c:v>
                </c:pt>
                <c:pt idx="4934">
                  <c:v>1194.7665500993332</c:v>
                </c:pt>
                <c:pt idx="4935">
                  <c:v>1208.2133834903138</c:v>
                </c:pt>
                <c:pt idx="4936">
                  <c:v>1231.2305087283419</c:v>
                </c:pt>
                <c:pt idx="4937">
                  <c:v>1242.8253988093036</c:v>
                </c:pt>
                <c:pt idx="4938">
                  <c:v>1257.3003925969801</c:v>
                </c:pt>
                <c:pt idx="4939">
                  <c:v>1245.9266933108445</c:v>
                </c:pt>
                <c:pt idx="4940">
                  <c:v>1196.6061423882174</c:v>
                </c:pt>
                <c:pt idx="4941">
                  <c:v>1160.3411559303129</c:v>
                </c:pt>
                <c:pt idx="4942">
                  <c:v>1139.0086812530199</c:v>
                </c:pt>
                <c:pt idx="4943">
                  <c:v>1125.4250173973853</c:v>
                </c:pt>
                <c:pt idx="4944">
                  <c:v>1124.5524146690589</c:v>
                </c:pt>
                <c:pt idx="4945">
                  <c:v>1132.9427523481488</c:v>
                </c:pt>
                <c:pt idx="4946">
                  <c:v>1138.0711306863363</c:v>
                </c:pt>
                <c:pt idx="4947">
                  <c:v>1138.1991610689086</c:v>
                </c:pt>
                <c:pt idx="4948">
                  <c:v>1158.0767390782828</c:v>
                </c:pt>
                <c:pt idx="4949">
                  <c:v>1154.5778207637088</c:v>
                </c:pt>
                <c:pt idx="4950">
                  <c:v>1164.2919188168223</c:v>
                </c:pt>
                <c:pt idx="4951">
                  <c:v>1193.641174350601</c:v>
                </c:pt>
                <c:pt idx="4952">
                  <c:v>1200.0706636085638</c:v>
                </c:pt>
                <c:pt idx="4953">
                  <c:v>1197.7851469816687</c:v>
                </c:pt>
                <c:pt idx="4954">
                  <c:v>1200.204308439136</c:v>
                </c:pt>
                <c:pt idx="4955">
                  <c:v>1175.9743204611214</c:v>
                </c:pt>
                <c:pt idx="4956">
                  <c:v>1174.6938768475459</c:v>
                </c:pt>
                <c:pt idx="4957">
                  <c:v>1168.5544408286517</c:v>
                </c:pt>
                <c:pt idx="4958">
                  <c:v>1165.6451291056455</c:v>
                </c:pt>
                <c:pt idx="4959">
                  <c:v>1167.6204018856877</c:v>
                </c:pt>
                <c:pt idx="4960">
                  <c:v>1183.3689208803887</c:v>
                </c:pt>
                <c:pt idx="4961">
                  <c:v>1208.8812221344908</c:v>
                </c:pt>
                <c:pt idx="4962">
                  <c:v>1226.4130840971898</c:v>
                </c:pt>
                <c:pt idx="4963">
                  <c:v>1211.9349581879683</c:v>
                </c:pt>
                <c:pt idx="4964">
                  <c:v>1208.6811163712796</c:v>
                </c:pt>
                <c:pt idx="4965">
                  <c:v>1202.322662275765</c:v>
                </c:pt>
                <c:pt idx="4966">
                  <c:v>1177.239171176712</c:v>
                </c:pt>
                <c:pt idx="4967">
                  <c:v>1168.9134646291286</c:v>
                </c:pt>
                <c:pt idx="4968">
                  <c:v>1170.0517456359844</c:v>
                </c:pt>
                <c:pt idx="4969">
                  <c:v>1177.1057922706852</c:v>
                </c:pt>
                <c:pt idx="4970">
                  <c:v>1175.3342384421851</c:v>
                </c:pt>
                <c:pt idx="4971">
                  <c:v>1173.774635759162</c:v>
                </c:pt>
                <c:pt idx="4972">
                  <c:v>1176.913035198505</c:v>
                </c:pt>
                <c:pt idx="4973">
                  <c:v>1179.2576657051468</c:v>
                </c:pt>
                <c:pt idx="4974">
                  <c:v>1195.801309465498</c:v>
                </c:pt>
                <c:pt idx="4975">
                  <c:v>1204.7114854011111</c:v>
                </c:pt>
                <c:pt idx="4976">
                  <c:v>1222.4039925455049</c:v>
                </c:pt>
                <c:pt idx="4977">
                  <c:v>1218.9833379542251</c:v>
                </c:pt>
                <c:pt idx="4978">
                  <c:v>1197.0566141997685</c:v>
                </c:pt>
                <c:pt idx="4979">
                  <c:v>1137.0716666605538</c:v>
                </c:pt>
                <c:pt idx="4980">
                  <c:v>1120.1925757405822</c:v>
                </c:pt>
                <c:pt idx="4981">
                  <c:v>1116.4962529538157</c:v>
                </c:pt>
                <c:pt idx="4982">
                  <c:v>1129.1569380341812</c:v>
                </c:pt>
                <c:pt idx="4983">
                  <c:v>1141.1988969661868</c:v>
                </c:pt>
                <c:pt idx="4984">
                  <c:v>1161.8871243834092</c:v>
                </c:pt>
                <c:pt idx="4985">
                  <c:v>1182.5493305105147</c:v>
                </c:pt>
                <c:pt idx="4986">
                  <c:v>1197.0718052076809</c:v>
                </c:pt>
                <c:pt idx="4987">
                  <c:v>1185.932222724254</c:v>
                </c:pt>
                <c:pt idx="4988">
                  <c:v>1179.4645768433261</c:v>
                </c:pt>
                <c:pt idx="4989">
                  <c:v>1128.1913638256187</c:v>
                </c:pt>
                <c:pt idx="4990">
                  <c:v>1116.5290146393916</c:v>
                </c:pt>
                <c:pt idx="4991">
                  <c:v>1095.1245055349316</c:v>
                </c:pt>
                <c:pt idx="4992">
                  <c:v>1112.3307568159587</c:v>
                </c:pt>
                <c:pt idx="4993">
                  <c:v>1083.9258566777853</c:v>
                </c:pt>
                <c:pt idx="4994">
                  <c:v>1084.944174043977</c:v>
                </c:pt>
                <c:pt idx="4995">
                  <c:v>1093.1900153144848</c:v>
                </c:pt>
                <c:pt idx="4996">
                  <c:v>1089.3866133954184</c:v>
                </c:pt>
                <c:pt idx="4997">
                  <c:v>1102.9100609038376</c:v>
                </c:pt>
                <c:pt idx="4998">
                  <c:v>1130.0453548092416</c:v>
                </c:pt>
                <c:pt idx="4999">
                  <c:v>1162.403080796825</c:v>
                </c:pt>
                <c:pt idx="5000">
                  <c:v>1174.1237433589315</c:v>
                </c:pt>
                <c:pt idx="5001">
                  <c:v>1179.2137084323956</c:v>
                </c:pt>
                <c:pt idx="5002">
                  <c:v>1172.8551664234274</c:v>
                </c:pt>
                <c:pt idx="5003">
                  <c:v>1167.4927275252994</c:v>
                </c:pt>
                <c:pt idx="5004">
                  <c:v>1158.7577155963049</c:v>
                </c:pt>
                <c:pt idx="5005">
                  <c:v>1155.3172373403506</c:v>
                </c:pt>
                <c:pt idx="5006">
                  <c:v>1150.5064755660837</c:v>
                </c:pt>
                <c:pt idx="5007">
                  <c:v>1162.9228933891723</c:v>
                </c:pt>
                <c:pt idx="5008">
                  <c:v>1188.5838781348427</c:v>
                </c:pt>
                <c:pt idx="5009">
                  <c:v>1223.1613178024666</c:v>
                </c:pt>
                <c:pt idx="5010">
                  <c:v>1234.5428157217798</c:v>
                </c:pt>
                <c:pt idx="5011">
                  <c:v>1206.3244679317427</c:v>
                </c:pt>
                <c:pt idx="5012">
                  <c:v>1167.872120490699</c:v>
                </c:pt>
                <c:pt idx="5013">
                  <c:v>1088.3936620637903</c:v>
                </c:pt>
                <c:pt idx="5014">
                  <c:v>1022.1408538776841</c:v>
                </c:pt>
                <c:pt idx="5015">
                  <c:v>1045.0192571466939</c:v>
                </c:pt>
                <c:pt idx="5016">
                  <c:v>1067.6897598416385</c:v>
                </c:pt>
                <c:pt idx="5017">
                  <c:v>1060.4535925705275</c:v>
                </c:pt>
                <c:pt idx="5018">
                  <c:v>1056.1324437522458</c:v>
                </c:pt>
                <c:pt idx="5019">
                  <c:v>1070.2674221570023</c:v>
                </c:pt>
                <c:pt idx="5020">
                  <c:v>1099.0960121741216</c:v>
                </c:pt>
                <c:pt idx="5021">
                  <c:v>1131.3515122888705</c:v>
                </c:pt>
                <c:pt idx="5022">
                  <c:v>1146.5706721638578</c:v>
                </c:pt>
                <c:pt idx="5023">
                  <c:v>1149.1732194469994</c:v>
                </c:pt>
                <c:pt idx="5024">
                  <c:v>1137.1633412808401</c:v>
                </c:pt>
                <c:pt idx="5025">
                  <c:v>1139.3048999007992</c:v>
                </c:pt>
                <c:pt idx="5026">
                  <c:v>1109.0974610831922</c:v>
                </c:pt>
                <c:pt idx="5027">
                  <c:v>1092.6875773691813</c:v>
                </c:pt>
                <c:pt idx="5028">
                  <c:v>1070.3285143624742</c:v>
                </c:pt>
                <c:pt idx="5029">
                  <c:v>1072.0148161672034</c:v>
                </c:pt>
                <c:pt idx="5030">
                  <c:v>1077.4229301997254</c:v>
                </c:pt>
                <c:pt idx="5031">
                  <c:v>1083.9255022937402</c:v>
                </c:pt>
                <c:pt idx="5032">
                  <c:v>1116.7495441721551</c:v>
                </c:pt>
                <c:pt idx="5033">
                  <c:v>1141.7615092131412</c:v>
                </c:pt>
                <c:pt idx="5034">
                  <c:v>1165.176593536627</c:v>
                </c:pt>
                <c:pt idx="5035">
                  <c:v>1159.3146320343617</c:v>
                </c:pt>
                <c:pt idx="5036">
                  <c:v>1133.0754563409555</c:v>
                </c:pt>
                <c:pt idx="5037">
                  <c:v>1104.832897950314</c:v>
                </c:pt>
                <c:pt idx="5038">
                  <c:v>1077.6150696935467</c:v>
                </c:pt>
                <c:pt idx="5039">
                  <c:v>1032.836546045547</c:v>
                </c:pt>
                <c:pt idx="5040">
                  <c:v>1036.6133407668226</c:v>
                </c:pt>
                <c:pt idx="5041">
                  <c:v>1052.0344072657006</c:v>
                </c:pt>
                <c:pt idx="5042">
                  <c:v>1053.6489127194475</c:v>
                </c:pt>
                <c:pt idx="5043">
                  <c:v>1087.398137215976</c:v>
                </c:pt>
                <c:pt idx="5044">
                  <c:v>1106.3672727484859</c:v>
                </c:pt>
                <c:pt idx="5045">
                  <c:v>1146.8765836794103</c:v>
                </c:pt>
                <c:pt idx="5046">
                  <c:v>1159.4586572049916</c:v>
                </c:pt>
                <c:pt idx="5047">
                  <c:v>1190.1725113691111</c:v>
                </c:pt>
                <c:pt idx="5048">
                  <c:v>1216.2640377826308</c:v>
                </c:pt>
                <c:pt idx="5049">
                  <c:v>1302.4419491173505</c:v>
                </c:pt>
                <c:pt idx="5050">
                  <c:v>1339.6550384865795</c:v>
                </c:pt>
                <c:pt idx="5051">
                  <c:v>1281.4491578268305</c:v>
                </c:pt>
                <c:pt idx="5052">
                  <c:v>1285.3226862873107</c:v>
                </c:pt>
                <c:pt idx="5053">
                  <c:v>1298.3482744486055</c:v>
                </c:pt>
                <c:pt idx="5054">
                  <c:v>1283.6644195914323</c:v>
                </c:pt>
                <c:pt idx="5055">
                  <c:v>1284.0304125807654</c:v>
                </c:pt>
                <c:pt idx="5056">
                  <c:v>1295.1914737951852</c:v>
                </c:pt>
                <c:pt idx="5057">
                  <c:v>1355.0166061430727</c:v>
                </c:pt>
                <c:pt idx="5058">
                  <c:v>1355.81476692612</c:v>
                </c:pt>
                <c:pt idx="5059">
                  <c:v>1364.6762535517939</c:v>
                </c:pt>
                <c:pt idx="5060">
                  <c:v>1357.9123983058739</c:v>
                </c:pt>
                <c:pt idx="5061">
                  <c:v>1335.2374562545551</c:v>
                </c:pt>
                <c:pt idx="5062">
                  <c:v>1365.8243672142744</c:v>
                </c:pt>
                <c:pt idx="5063">
                  <c:v>1380.5016940879973</c:v>
                </c:pt>
                <c:pt idx="5064">
                  <c:v>1383.7957483919499</c:v>
                </c:pt>
                <c:pt idx="5065">
                  <c:v>1357.9414517910639</c:v>
                </c:pt>
                <c:pt idx="5066">
                  <c:v>1332.6432121513672</c:v>
                </c:pt>
                <c:pt idx="5067">
                  <c:v>1315.0427553071104</c:v>
                </c:pt>
                <c:pt idx="5068">
                  <c:v>1299.3528363625933</c:v>
                </c:pt>
                <c:pt idx="5069">
                  <c:v>1265.3554354633657</c:v>
                </c:pt>
                <c:pt idx="5070">
                  <c:v>1271.0949499064197</c:v>
                </c:pt>
                <c:pt idx="5071">
                  <c:v>1275.3840539979101</c:v>
                </c:pt>
                <c:pt idx="5072">
                  <c:v>1259.8245893354667</c:v>
                </c:pt>
                <c:pt idx="5073">
                  <c:v>1261.3845726127568</c:v>
                </c:pt>
                <c:pt idx="5074">
                  <c:v>1265.558897227103</c:v>
                </c:pt>
                <c:pt idx="5075">
                  <c:v>1245.4975386005831</c:v>
                </c:pt>
                <c:pt idx="5076">
                  <c:v>1225.8311483639666</c:v>
                </c:pt>
                <c:pt idx="5077">
                  <c:v>1238.7961461363341</c:v>
                </c:pt>
                <c:pt idx="5078">
                  <c:v>1246.8236748220338</c:v>
                </c:pt>
                <c:pt idx="5079">
                  <c:v>1254.028034896492</c:v>
                </c:pt>
                <c:pt idx="5080">
                  <c:v>1281.7452607127952</c:v>
                </c:pt>
                <c:pt idx="5081">
                  <c:v>1291.5651432224442</c:v>
                </c:pt>
                <c:pt idx="5082">
                  <c:v>1275.4482968905011</c:v>
                </c:pt>
                <c:pt idx="5083">
                  <c:v>1307.6623690189344</c:v>
                </c:pt>
                <c:pt idx="5084">
                  <c:v>1308.0380674351059</c:v>
                </c:pt>
                <c:pt idx="5085">
                  <c:v>1286.1589092273143</c:v>
                </c:pt>
                <c:pt idx="5086">
                  <c:v>1256.4676670834926</c:v>
                </c:pt>
                <c:pt idx="5087">
                  <c:v>1257.1424263184058</c:v>
                </c:pt>
                <c:pt idx="5088">
                  <c:v>1252.8932535003376</c:v>
                </c:pt>
                <c:pt idx="5089">
                  <c:v>1226.4361627438257</c:v>
                </c:pt>
                <c:pt idx="5090">
                  <c:v>1205.5043850281111</c:v>
                </c:pt>
                <c:pt idx="5091">
                  <c:v>1191.0706641496024</c:v>
                </c:pt>
                <c:pt idx="5092">
                  <c:v>1231.4346585104101</c:v>
                </c:pt>
                <c:pt idx="5093">
                  <c:v>1266.1302112678059</c:v>
                </c:pt>
                <c:pt idx="5094">
                  <c:v>1237.0598772733365</c:v>
                </c:pt>
                <c:pt idx="5095">
                  <c:v>1249.3237286696567</c:v>
                </c:pt>
                <c:pt idx="5096">
                  <c:v>1263.4206935155771</c:v>
                </c:pt>
                <c:pt idx="5097">
                  <c:v>1266.1236155746151</c:v>
                </c:pt>
                <c:pt idx="5098">
                  <c:v>1266.1705204052639</c:v>
                </c:pt>
                <c:pt idx="5099">
                  <c:v>1263.4773163321288</c:v>
                </c:pt>
                <c:pt idx="5100">
                  <c:v>1262.7546606464959</c:v>
                </c:pt>
                <c:pt idx="5101">
                  <c:v>1241.2403443624492</c:v>
                </c:pt>
                <c:pt idx="5102">
                  <c:v>1240.9459216609323</c:v>
                </c:pt>
                <c:pt idx="5103">
                  <c:v>1278.4515597007953</c:v>
                </c:pt>
                <c:pt idx="5104">
                  <c:v>1311.235349776613</c:v>
                </c:pt>
                <c:pt idx="5105">
                  <c:v>1341.2944791443633</c:v>
                </c:pt>
                <c:pt idx="5106">
                  <c:v>1356.9642189480683</c:v>
                </c:pt>
                <c:pt idx="5107">
                  <c:v>1375.0224433284168</c:v>
                </c:pt>
                <c:pt idx="5108">
                  <c:v>1339.3879661518602</c:v>
                </c:pt>
                <c:pt idx="5109">
                  <c:v>1311.3349589956042</c:v>
                </c:pt>
                <c:pt idx="5110">
                  <c:v>1307.0489919400757</c:v>
                </c:pt>
                <c:pt idx="5111">
                  <c:v>1299.618752717307</c:v>
                </c:pt>
                <c:pt idx="5112">
                  <c:v>1292.952638666005</c:v>
                </c:pt>
                <c:pt idx="5113">
                  <c:v>1294.10927938742</c:v>
                </c:pt>
                <c:pt idx="5114">
                  <c:v>1273.9002561917175</c:v>
                </c:pt>
                <c:pt idx="5115">
                  <c:v>1302.1349389566535</c:v>
                </c:pt>
                <c:pt idx="5116">
                  <c:v>1316.6421893370834</c:v>
                </c:pt>
                <c:pt idx="5117">
                  <c:v>1325.1776541082259</c:v>
                </c:pt>
                <c:pt idx="5118">
                  <c:v>1315.9087006390146</c:v>
                </c:pt>
                <c:pt idx="5119">
                  <c:v>1309.0530413598362</c:v>
                </c:pt>
                <c:pt idx="5120">
                  <c:v>1335.1744419661266</c:v>
                </c:pt>
                <c:pt idx="5121">
                  <c:v>1323.7869009524725</c:v>
                </c:pt>
                <c:pt idx="5122">
                  <c:v>1316.0915027412004</c:v>
                </c:pt>
                <c:pt idx="5123">
                  <c:v>1325.5682350161528</c:v>
                </c:pt>
                <c:pt idx="5124">
                  <c:v>1290.4523980705494</c:v>
                </c:pt>
                <c:pt idx="5125">
                  <c:v>1293.0555443664762</c:v>
                </c:pt>
                <c:pt idx="5126">
                  <c:v>1297.1875815176395</c:v>
                </c:pt>
                <c:pt idx="5127">
                  <c:v>1302.1689570947531</c:v>
                </c:pt>
                <c:pt idx="5128">
                  <c:v>1322.7220855601211</c:v>
                </c:pt>
                <c:pt idx="5129">
                  <c:v>1349.5727566568555</c:v>
                </c:pt>
                <c:pt idx="5130">
                  <c:v>1348.1442007161356</c:v>
                </c:pt>
                <c:pt idx="5131">
                  <c:v>1341.9524638371104</c:v>
                </c:pt>
                <c:pt idx="5132">
                  <c:v>1308.9972419810967</c:v>
                </c:pt>
                <c:pt idx="5133">
                  <c:v>1205.8031826525391</c:v>
                </c:pt>
                <c:pt idx="5134">
                  <c:v>1148.1838370739517</c:v>
                </c:pt>
                <c:pt idx="5135">
                  <c:v>1129.56154141095</c:v>
                </c:pt>
                <c:pt idx="5136">
                  <c:v>1154.2282555771449</c:v>
                </c:pt>
                <c:pt idx="5137">
                  <c:v>1153.3063399540108</c:v>
                </c:pt>
                <c:pt idx="5138">
                  <c:v>1181.1563817026113</c:v>
                </c:pt>
                <c:pt idx="5139">
                  <c:v>1217.2598247326664</c:v>
                </c:pt>
                <c:pt idx="5140">
                  <c:v>1260.4762240558553</c:v>
                </c:pt>
                <c:pt idx="5141">
                  <c:v>1258.5563383896003</c:v>
                </c:pt>
                <c:pt idx="5142">
                  <c:v>1297.4730703557323</c:v>
                </c:pt>
                <c:pt idx="5143">
                  <c:v>1328.8227015098025</c:v>
                </c:pt>
                <c:pt idx="5144">
                  <c:v>1370.8036994861541</c:v>
                </c:pt>
                <c:pt idx="5145">
                  <c:v>1381.6692213343852</c:v>
                </c:pt>
                <c:pt idx="5146">
                  <c:v>1337.6821186200202</c:v>
                </c:pt>
                <c:pt idx="5147">
                  <c:v>1311.7507612358268</c:v>
                </c:pt>
                <c:pt idx="5148">
                  <c:v>1278.1193680691824</c:v>
                </c:pt>
                <c:pt idx="5149">
                  <c:v>1263.9427006679819</c:v>
                </c:pt>
                <c:pt idx="5150">
                  <c:v>1437.9819185377255</c:v>
                </c:pt>
                <c:pt idx="5151">
                  <c:v>1416.8164193568191</c:v>
                </c:pt>
                <c:pt idx="5152">
                  <c:v>1407.0502978350924</c:v>
                </c:pt>
                <c:pt idx="5153">
                  <c:v>1452.5220452734527</c:v>
                </c:pt>
                <c:pt idx="5154">
                  <c:v>1559.1620515116037</c:v>
                </c:pt>
                <c:pt idx="5155">
                  <c:v>1608.8982943731019</c:v>
                </c:pt>
                <c:pt idx="5156">
                  <c:v>1690.5440220097446</c:v>
                </c:pt>
                <c:pt idx="5157">
                  <c:v>1696.768338194883</c:v>
                </c:pt>
                <c:pt idx="5158">
                  <c:v>1666.370642651078</c:v>
                </c:pt>
                <c:pt idx="5159">
                  <c:v>1725.1683943563785</c:v>
                </c:pt>
                <c:pt idx="5160">
                  <c:v>1802.2548631354791</c:v>
                </c:pt>
                <c:pt idx="5161">
                  <c:v>1912.5465408628052</c:v>
                </c:pt>
                <c:pt idx="5162">
                  <c:v>2008.5375691935851</c:v>
                </c:pt>
                <c:pt idx="5163">
                  <c:v>2010.900051045686</c:v>
                </c:pt>
                <c:pt idx="5164">
                  <c:v>1851.0984327910508</c:v>
                </c:pt>
                <c:pt idx="5165">
                  <c:v>1706.1902212116486</c:v>
                </c:pt>
                <c:pt idx="5166">
                  <c:v>1533.9415453842494</c:v>
                </c:pt>
                <c:pt idx="5167">
                  <c:v>1447.5658451607458</c:v>
                </c:pt>
                <c:pt idx="5168">
                  <c:v>1504.8629857484</c:v>
                </c:pt>
                <c:pt idx="5169">
                  <c:v>1545.2221077381221</c:v>
                </c:pt>
                <c:pt idx="5170">
                  <c:v>1435.5703307423628</c:v>
                </c:pt>
                <c:pt idx="5171">
                  <c:v>1425.7381398031898</c:v>
                </c:pt>
                <c:pt idx="5172">
                  <c:v>1358.9997566734462</c:v>
                </c:pt>
                <c:pt idx="5173">
                  <c:v>1357.5082153847516</c:v>
                </c:pt>
                <c:pt idx="5174">
                  <c:v>1368.5537479465111</c:v>
                </c:pt>
                <c:pt idx="5175">
                  <c:v>1476.2137970571441</c:v>
                </c:pt>
                <c:pt idx="5176">
                  <c:v>1515.0421088389046</c:v>
                </c:pt>
                <c:pt idx="5177">
                  <c:v>1549.0444034050231</c:v>
                </c:pt>
                <c:pt idx="5178">
                  <c:v>1648.5470150481312</c:v>
                </c:pt>
                <c:pt idx="5179">
                  <c:v>1710.3776547593859</c:v>
                </c:pt>
                <c:pt idx="5180">
                  <c:v>1687.0422183865505</c:v>
                </c:pt>
                <c:pt idx="5181">
                  <c:v>1694.7396069365659</c:v>
                </c:pt>
                <c:pt idx="5182">
                  <c:v>1707.9347856099516</c:v>
                </c:pt>
                <c:pt idx="5183">
                  <c:v>1726.1937284174539</c:v>
                </c:pt>
                <c:pt idx="5184">
                  <c:v>1819.2246780091384</c:v>
                </c:pt>
                <c:pt idx="5185">
                  <c:v>1885.5398758067122</c:v>
                </c:pt>
                <c:pt idx="5186">
                  <c:v>1947.1349926460493</c:v>
                </c:pt>
                <c:pt idx="5187">
                  <c:v>1952.0426907426961</c:v>
                </c:pt>
                <c:pt idx="5188">
                  <c:v>1832.6973852577362</c:v>
                </c:pt>
                <c:pt idx="5189">
                  <c:v>1710.1985280948081</c:v>
                </c:pt>
                <c:pt idx="5190">
                  <c:v>1560.2323584915384</c:v>
                </c:pt>
                <c:pt idx="5191">
                  <c:v>1495.7554517545291</c:v>
                </c:pt>
                <c:pt idx="5192">
                  <c:v>1499.1138707193966</c:v>
                </c:pt>
                <c:pt idx="5193">
                  <c:v>1444.1860888908757</c:v>
                </c:pt>
                <c:pt idx="5194">
                  <c:v>1404.3429877480321</c:v>
                </c:pt>
                <c:pt idx="5195">
                  <c:v>1366.2340706634338</c:v>
                </c:pt>
                <c:pt idx="5196">
                  <c:v>1310.8675613870635</c:v>
                </c:pt>
                <c:pt idx="5197">
                  <c:v>1302.52228836261</c:v>
                </c:pt>
                <c:pt idx="5198">
                  <c:v>1306.0339295558454</c:v>
                </c:pt>
                <c:pt idx="5199">
                  <c:v>1336.9783621426852</c:v>
                </c:pt>
                <c:pt idx="5200">
                  <c:v>1417.3049243848729</c:v>
                </c:pt>
                <c:pt idx="5201">
                  <c:v>1465.407241656161</c:v>
                </c:pt>
                <c:pt idx="5202">
                  <c:v>1562.6904934572271</c:v>
                </c:pt>
                <c:pt idx="5203">
                  <c:v>1623.6339499120002</c:v>
                </c:pt>
                <c:pt idx="5204">
                  <c:v>1603.7161037186402</c:v>
                </c:pt>
                <c:pt idx="5205">
                  <c:v>1581.3334880971136</c:v>
                </c:pt>
                <c:pt idx="5206">
                  <c:v>1609.9276178484047</c:v>
                </c:pt>
                <c:pt idx="5207">
                  <c:v>1611.494855350717</c:v>
                </c:pt>
                <c:pt idx="5208">
                  <c:v>1620.3173826653729</c:v>
                </c:pt>
                <c:pt idx="5209">
                  <c:v>1658.3587019489466</c:v>
                </c:pt>
                <c:pt idx="5210">
                  <c:v>1740.2146666917486</c:v>
                </c:pt>
                <c:pt idx="5211">
                  <c:v>1790.2324472003525</c:v>
                </c:pt>
                <c:pt idx="5212">
                  <c:v>1685.0655084126615</c:v>
                </c:pt>
                <c:pt idx="5213">
                  <c:v>1521.0607517728135</c:v>
                </c:pt>
                <c:pt idx="5214">
                  <c:v>1411.0019158300988</c:v>
                </c:pt>
                <c:pt idx="5215">
                  <c:v>1380.8872371728116</c:v>
                </c:pt>
                <c:pt idx="5216">
                  <c:v>1360.966691872618</c:v>
                </c:pt>
                <c:pt idx="5217">
                  <c:v>1325.2809704355104</c:v>
                </c:pt>
                <c:pt idx="5218">
                  <c:v>1286.0620225951473</c:v>
                </c:pt>
                <c:pt idx="5219">
                  <c:v>1283.5013537865138</c:v>
                </c:pt>
                <c:pt idx="5220">
                  <c:v>1277.1521033012925</c:v>
                </c:pt>
                <c:pt idx="5221">
                  <c:v>1281.851783423921</c:v>
                </c:pt>
                <c:pt idx="5222">
                  <c:v>1288.8644091709084</c:v>
                </c:pt>
                <c:pt idx="5223">
                  <c:v>1304.3135986920906</c:v>
                </c:pt>
                <c:pt idx="5224">
                  <c:v>1313.0343599048917</c:v>
                </c:pt>
                <c:pt idx="5225">
                  <c:v>1321.625548700385</c:v>
                </c:pt>
                <c:pt idx="5226">
                  <c:v>1349.5568284864457</c:v>
                </c:pt>
                <c:pt idx="5227">
                  <c:v>1346.2882527025931</c:v>
                </c:pt>
                <c:pt idx="5228">
                  <c:v>1335.0125681802692</c:v>
                </c:pt>
                <c:pt idx="5229">
                  <c:v>1312.8207700744847</c:v>
                </c:pt>
                <c:pt idx="5230">
                  <c:v>1289.653221095348</c:v>
                </c:pt>
                <c:pt idx="5231">
                  <c:v>1299.8031760309411</c:v>
                </c:pt>
                <c:pt idx="5232">
                  <c:v>1314.763974647745</c:v>
                </c:pt>
                <c:pt idx="5233">
                  <c:v>1300.6556110854276</c:v>
                </c:pt>
                <c:pt idx="5234">
                  <c:v>1340.7927936508538</c:v>
                </c:pt>
                <c:pt idx="5235">
                  <c:v>1355.4102197921193</c:v>
                </c:pt>
                <c:pt idx="5236">
                  <c:v>1337.3907930930859</c:v>
                </c:pt>
                <c:pt idx="5237">
                  <c:v>1296.376075363155</c:v>
                </c:pt>
                <c:pt idx="5238">
                  <c:v>1314.3252089766547</c:v>
                </c:pt>
                <c:pt idx="5239">
                  <c:v>1345.1324578068884</c:v>
                </c:pt>
                <c:pt idx="5240">
                  <c:v>1365.8526191035041</c:v>
                </c:pt>
                <c:pt idx="5241">
                  <c:v>1385.3489738002997</c:v>
                </c:pt>
                <c:pt idx="5242">
                  <c:v>1416.1707774945125</c:v>
                </c:pt>
                <c:pt idx="5243">
                  <c:v>1476.6089822274262</c:v>
                </c:pt>
                <c:pt idx="5244">
                  <c:v>1492.2769899722853</c:v>
                </c:pt>
                <c:pt idx="5245">
                  <c:v>1519.0709208525143</c:v>
                </c:pt>
                <c:pt idx="5246">
                  <c:v>1534.2996518269515</c:v>
                </c:pt>
                <c:pt idx="5247">
                  <c:v>1568.6271218758452</c:v>
                </c:pt>
                <c:pt idx="5248">
                  <c:v>1564.8697729552084</c:v>
                </c:pt>
                <c:pt idx="5249">
                  <c:v>1572.5954456111847</c:v>
                </c:pt>
                <c:pt idx="5250">
                  <c:v>1560.1798310221955</c:v>
                </c:pt>
                <c:pt idx="5251">
                  <c:v>1496.2747204847674</c:v>
                </c:pt>
                <c:pt idx="5252">
                  <c:v>1422.0274969523509</c:v>
                </c:pt>
                <c:pt idx="5253">
                  <c:v>1403.7776987821424</c:v>
                </c:pt>
                <c:pt idx="5254">
                  <c:v>1370.7380953001511</c:v>
                </c:pt>
                <c:pt idx="5255">
                  <c:v>1357.1720796607538</c:v>
                </c:pt>
                <c:pt idx="5256">
                  <c:v>1344.8091672759217</c:v>
                </c:pt>
                <c:pt idx="5257">
                  <c:v>1322.7455235052189</c:v>
                </c:pt>
                <c:pt idx="5258">
                  <c:v>1291.0638830989981</c:v>
                </c:pt>
                <c:pt idx="5259">
                  <c:v>1274.868847852103</c:v>
                </c:pt>
                <c:pt idx="5260">
                  <c:v>1279.4195572628125</c:v>
                </c:pt>
                <c:pt idx="5261">
                  <c:v>1300.0641719624953</c:v>
                </c:pt>
                <c:pt idx="5262">
                  <c:v>1337.9299395465816</c:v>
                </c:pt>
                <c:pt idx="5263">
                  <c:v>1354.7993949336408</c:v>
                </c:pt>
                <c:pt idx="5264">
                  <c:v>1344.6153552423004</c:v>
                </c:pt>
                <c:pt idx="5265">
                  <c:v>1320.0886123990456</c:v>
                </c:pt>
                <c:pt idx="5266">
                  <c:v>1312.2861612656961</c:v>
                </c:pt>
                <c:pt idx="5267">
                  <c:v>1310.1829143458499</c:v>
                </c:pt>
                <c:pt idx="5268">
                  <c:v>1280.8163900980085</c:v>
                </c:pt>
                <c:pt idx="5269">
                  <c:v>1280.4161223288177</c:v>
                </c:pt>
                <c:pt idx="5270">
                  <c:v>1274.9506876325797</c:v>
                </c:pt>
                <c:pt idx="5271">
                  <c:v>1287.2415535772266</c:v>
                </c:pt>
                <c:pt idx="5272">
                  <c:v>1311.4692022929153</c:v>
                </c:pt>
                <c:pt idx="5273">
                  <c:v>1336.2511120235308</c:v>
                </c:pt>
                <c:pt idx="5274">
                  <c:v>1360.0888853231052</c:v>
                </c:pt>
                <c:pt idx="5275">
                  <c:v>1369.8456689071502</c:v>
                </c:pt>
                <c:pt idx="5276">
                  <c:v>1317.2165131849617</c:v>
                </c:pt>
                <c:pt idx="5277">
                  <c:v>1293.7498984726665</c:v>
                </c:pt>
                <c:pt idx="5278">
                  <c:v>1260.5220810236651</c:v>
                </c:pt>
                <c:pt idx="5279">
                  <c:v>1251.7291286684103</c:v>
                </c:pt>
                <c:pt idx="5280">
                  <c:v>1259.7834365564836</c:v>
                </c:pt>
                <c:pt idx="5281">
                  <c:v>1259.9770105139207</c:v>
                </c:pt>
                <c:pt idx="5282">
                  <c:v>1301.2169772547379</c:v>
                </c:pt>
                <c:pt idx="5283">
                  <c:v>1348.8659428663177</c:v>
                </c:pt>
                <c:pt idx="5284">
                  <c:v>1346.429445531094</c:v>
                </c:pt>
                <c:pt idx="5285">
                  <c:v>1360.5682713780411</c:v>
                </c:pt>
                <c:pt idx="5286">
                  <c:v>1376.5556222852038</c:v>
                </c:pt>
                <c:pt idx="5287">
                  <c:v>1391.7205564868723</c:v>
                </c:pt>
                <c:pt idx="5288">
                  <c:v>1399.2473787400684</c:v>
                </c:pt>
                <c:pt idx="5289">
                  <c:v>1416.0112402407487</c:v>
                </c:pt>
                <c:pt idx="5290">
                  <c:v>1340.4989393835294</c:v>
                </c:pt>
                <c:pt idx="5291">
                  <c:v>1267.1539929192666</c:v>
                </c:pt>
                <c:pt idx="5292">
                  <c:v>1255.189917662334</c:v>
                </c:pt>
                <c:pt idx="5293">
                  <c:v>1242.5800181636323</c:v>
                </c:pt>
                <c:pt idx="5294">
                  <c:v>1244.2079099422883</c:v>
                </c:pt>
                <c:pt idx="5295">
                  <c:v>1306.5466200663736</c:v>
                </c:pt>
                <c:pt idx="5296">
                  <c:v>1374.2950086456146</c:v>
                </c:pt>
                <c:pt idx="5297">
                  <c:v>1419.1986424206041</c:v>
                </c:pt>
                <c:pt idx="5298">
                  <c:v>1427.7463260696775</c:v>
                </c:pt>
                <c:pt idx="5299">
                  <c:v>1416.7000530691428</c:v>
                </c:pt>
                <c:pt idx="5300">
                  <c:v>1418.1414514726625</c:v>
                </c:pt>
                <c:pt idx="5301">
                  <c:v>1394.3236924079195</c:v>
                </c:pt>
                <c:pt idx="5302">
                  <c:v>1380.6642411489361</c:v>
                </c:pt>
                <c:pt idx="5303">
                  <c:v>1312.9496577497396</c:v>
                </c:pt>
                <c:pt idx="5304">
                  <c:v>1302.8137711508773</c:v>
                </c:pt>
                <c:pt idx="5305">
                  <c:v>1297.6858154525216</c:v>
                </c:pt>
                <c:pt idx="5306">
                  <c:v>1299.1652776511364</c:v>
                </c:pt>
                <c:pt idx="5307">
                  <c:v>1339.0805606536462</c:v>
                </c:pt>
                <c:pt idx="5308">
                  <c:v>1382.5177456053107</c:v>
                </c:pt>
                <c:pt idx="5309">
                  <c:v>1377.5983839598139</c:v>
                </c:pt>
                <c:pt idx="5310">
                  <c:v>1380.2477596271233</c:v>
                </c:pt>
                <c:pt idx="5311">
                  <c:v>1373.9518878974181</c:v>
                </c:pt>
                <c:pt idx="5312">
                  <c:v>1371.9554667443911</c:v>
                </c:pt>
                <c:pt idx="5313">
                  <c:v>1352.1485678752806</c:v>
                </c:pt>
                <c:pt idx="5314">
                  <c:v>1307.271920800257</c:v>
                </c:pt>
                <c:pt idx="5315">
                  <c:v>1288.7222913399848</c:v>
                </c:pt>
                <c:pt idx="5316">
                  <c:v>1309.9460323647058</c:v>
                </c:pt>
                <c:pt idx="5317">
                  <c:v>1316.7855013712531</c:v>
                </c:pt>
                <c:pt idx="5318">
                  <c:v>1323.1008664076246</c:v>
                </c:pt>
                <c:pt idx="5319">
                  <c:v>1342.0392076593578</c:v>
                </c:pt>
                <c:pt idx="5320">
                  <c:v>1366.5353391473443</c:v>
                </c:pt>
                <c:pt idx="5321">
                  <c:v>1413.8647814013434</c:v>
                </c:pt>
                <c:pt idx="5322">
                  <c:v>1466.1973236842814</c:v>
                </c:pt>
                <c:pt idx="5323">
                  <c:v>1497.0010969298505</c:v>
                </c:pt>
                <c:pt idx="5324">
                  <c:v>1505.3933643365451</c:v>
                </c:pt>
                <c:pt idx="5325">
                  <c:v>1486.7593674474995</c:v>
                </c:pt>
                <c:pt idx="5326">
                  <c:v>1464.9301752058836</c:v>
                </c:pt>
                <c:pt idx="5327">
                  <c:v>1469.8501265813786</c:v>
                </c:pt>
                <c:pt idx="5328">
                  <c:v>1461.3208638040487</c:v>
                </c:pt>
                <c:pt idx="5329">
                  <c:v>1479.4561888290841</c:v>
                </c:pt>
                <c:pt idx="5330">
                  <c:v>1508.4264418205639</c:v>
                </c:pt>
                <c:pt idx="5331">
                  <c:v>1542.5896283813026</c:v>
                </c:pt>
                <c:pt idx="5332">
                  <c:v>1570.3720745130638</c:v>
                </c:pt>
                <c:pt idx="5333">
                  <c:v>1454.4130030451654</c:v>
                </c:pt>
                <c:pt idx="5334">
                  <c:v>1400.0703895439308</c:v>
                </c:pt>
                <c:pt idx="5335">
                  <c:v>1377.4439020026446</c:v>
                </c:pt>
                <c:pt idx="5336">
                  <c:v>1349.2944663470628</c:v>
                </c:pt>
                <c:pt idx="5337">
                  <c:v>1342.5330912434122</c:v>
                </c:pt>
                <c:pt idx="5338">
                  <c:v>1323.7273387687176</c:v>
                </c:pt>
                <c:pt idx="5339">
                  <c:v>1324.1075655468089</c:v>
                </c:pt>
                <c:pt idx="5340">
                  <c:v>1293.9548837055652</c:v>
                </c:pt>
                <c:pt idx="5341">
                  <c:v>1287.7575514901605</c:v>
                </c:pt>
                <c:pt idx="5342">
                  <c:v>1300.9251641084625</c:v>
                </c:pt>
                <c:pt idx="5343">
                  <c:v>1340.4437936222046</c:v>
                </c:pt>
                <c:pt idx="5344">
                  <c:v>1348.847017993844</c:v>
                </c:pt>
                <c:pt idx="5345">
                  <c:v>1408.7969366632683</c:v>
                </c:pt>
                <c:pt idx="5346">
                  <c:v>1475.0821783611273</c:v>
                </c:pt>
                <c:pt idx="5347">
                  <c:v>1422.0203655877451</c:v>
                </c:pt>
                <c:pt idx="5348">
                  <c:v>1381.9259788546019</c:v>
                </c:pt>
                <c:pt idx="5349">
                  <c:v>1320.4488511525278</c:v>
                </c:pt>
                <c:pt idx="5350">
                  <c:v>1282.3567888789012</c:v>
                </c:pt>
                <c:pt idx="5351">
                  <c:v>1246.7478890568241</c:v>
                </c:pt>
                <c:pt idx="5352">
                  <c:v>1234.8660183392931</c:v>
                </c:pt>
                <c:pt idx="5353">
                  <c:v>1222.7781538413572</c:v>
                </c:pt>
                <c:pt idx="5354">
                  <c:v>1231.4165849241092</c:v>
                </c:pt>
                <c:pt idx="5355">
                  <c:v>1289.8858046000621</c:v>
                </c:pt>
                <c:pt idx="5356">
                  <c:v>1339.2692191023402</c:v>
                </c:pt>
                <c:pt idx="5357">
                  <c:v>1323.9298826286338</c:v>
                </c:pt>
                <c:pt idx="5358">
                  <c:v>1286.5536340805702</c:v>
                </c:pt>
                <c:pt idx="5359">
                  <c:v>1293.9474072397013</c:v>
                </c:pt>
                <c:pt idx="5360">
                  <c:v>1320.5412181595157</c:v>
                </c:pt>
                <c:pt idx="5361">
                  <c:v>1308.9906473799983</c:v>
                </c:pt>
                <c:pt idx="5362">
                  <c:v>1322.4234981635166</c:v>
                </c:pt>
                <c:pt idx="5363">
                  <c:v>1287.5379480519125</c:v>
                </c:pt>
                <c:pt idx="5364">
                  <c:v>1283.2771717500866</c:v>
                </c:pt>
                <c:pt idx="5365">
                  <c:v>1283.1489841061814</c:v>
                </c:pt>
                <c:pt idx="5366">
                  <c:v>1286.182886666151</c:v>
                </c:pt>
                <c:pt idx="5367">
                  <c:v>1337.6838097253942</c:v>
                </c:pt>
                <c:pt idx="5368">
                  <c:v>1359.36043281001</c:v>
                </c:pt>
                <c:pt idx="5369">
                  <c:v>1383.9372049608107</c:v>
                </c:pt>
                <c:pt idx="5370">
                  <c:v>1412.9321561722359</c:v>
                </c:pt>
                <c:pt idx="5371">
                  <c:v>1461.2827159178244</c:v>
                </c:pt>
                <c:pt idx="5372">
                  <c:v>1435.428828305613</c:v>
                </c:pt>
                <c:pt idx="5373">
                  <c:v>1380.9821798801704</c:v>
                </c:pt>
                <c:pt idx="5374">
                  <c:v>1369.246953717344</c:v>
                </c:pt>
                <c:pt idx="5375">
                  <c:v>1382.4035067139978</c:v>
                </c:pt>
                <c:pt idx="5376">
                  <c:v>1369.2302146681868</c:v>
                </c:pt>
                <c:pt idx="5377">
                  <c:v>1373.0497691826899</c:v>
                </c:pt>
                <c:pt idx="5378">
                  <c:v>1401.1449911779716</c:v>
                </c:pt>
                <c:pt idx="5379">
                  <c:v>1477.2136269339439</c:v>
                </c:pt>
                <c:pt idx="5380">
                  <c:v>1493.0576057418448</c:v>
                </c:pt>
                <c:pt idx="5381">
                  <c:v>1447.1878074822489</c:v>
                </c:pt>
                <c:pt idx="5382">
                  <c:v>1407.4461202414002</c:v>
                </c:pt>
                <c:pt idx="5383">
                  <c:v>1362.8598775132118</c:v>
                </c:pt>
                <c:pt idx="5384">
                  <c:v>1360.4167233276121</c:v>
                </c:pt>
                <c:pt idx="5385">
                  <c:v>1349.5911289304793</c:v>
                </c:pt>
                <c:pt idx="5386">
                  <c:v>1319.4420198701403</c:v>
                </c:pt>
                <c:pt idx="5387">
                  <c:v>1309.3598707792098</c:v>
                </c:pt>
                <c:pt idx="5388">
                  <c:v>1321.0249873280575</c:v>
                </c:pt>
                <c:pt idx="5389">
                  <c:v>1326.9198830665277</c:v>
                </c:pt>
                <c:pt idx="5390">
                  <c:v>1332.7740235477174</c:v>
                </c:pt>
                <c:pt idx="5391">
                  <c:v>1336.1181104354935</c:v>
                </c:pt>
                <c:pt idx="5392">
                  <c:v>1345.6337496010199</c:v>
                </c:pt>
                <c:pt idx="5393">
                  <c:v>1361.3904456389805</c:v>
                </c:pt>
                <c:pt idx="5394">
                  <c:v>1373.9636480964621</c:v>
                </c:pt>
                <c:pt idx="5395">
                  <c:v>1348.3159972552562</c:v>
                </c:pt>
                <c:pt idx="5396">
                  <c:v>1307.9231203217489</c:v>
                </c:pt>
                <c:pt idx="5397">
                  <c:v>1262.5659956452464</c:v>
                </c:pt>
                <c:pt idx="5398">
                  <c:v>1230.2956660052325</c:v>
                </c:pt>
                <c:pt idx="5399">
                  <c:v>1216.5418748739992</c:v>
                </c:pt>
                <c:pt idx="5400">
                  <c:v>1218.4780796798107</c:v>
                </c:pt>
                <c:pt idx="5401">
                  <c:v>1220.4781402313904</c:v>
                </c:pt>
                <c:pt idx="5402">
                  <c:v>1196.7989802752493</c:v>
                </c:pt>
                <c:pt idx="5403">
                  <c:v>1200.7239817896782</c:v>
                </c:pt>
                <c:pt idx="5404">
                  <c:v>1206.4697697586093</c:v>
                </c:pt>
                <c:pt idx="5405">
                  <c:v>1239.6550971612526</c:v>
                </c:pt>
                <c:pt idx="5406">
                  <c:v>1287.8504481620541</c:v>
                </c:pt>
                <c:pt idx="5407">
                  <c:v>1316.1030854751989</c:v>
                </c:pt>
                <c:pt idx="5408">
                  <c:v>1324.0712780403096</c:v>
                </c:pt>
                <c:pt idx="5409">
                  <c:v>1323.4800928289044</c:v>
                </c:pt>
                <c:pt idx="5410">
                  <c:v>1336.7624554378508</c:v>
                </c:pt>
                <c:pt idx="5411">
                  <c:v>1315.0372052925734</c:v>
                </c:pt>
                <c:pt idx="5412">
                  <c:v>1314.3130567163714</c:v>
                </c:pt>
                <c:pt idx="5413">
                  <c:v>1302.6679473037532</c:v>
                </c:pt>
                <c:pt idx="5414">
                  <c:v>1333.3179757546507</c:v>
                </c:pt>
                <c:pt idx="5415">
                  <c:v>1339.2084889255616</c:v>
                </c:pt>
                <c:pt idx="5416">
                  <c:v>1364.3127598163505</c:v>
                </c:pt>
                <c:pt idx="5417">
                  <c:v>1395.0363521700856</c:v>
                </c:pt>
                <c:pt idx="5418">
                  <c:v>1421.7534385013403</c:v>
                </c:pt>
                <c:pt idx="5419">
                  <c:v>1399.5465957280505</c:v>
                </c:pt>
                <c:pt idx="5420">
                  <c:v>1381.3325313733985</c:v>
                </c:pt>
                <c:pt idx="5421">
                  <c:v>1357.2325166106723</c:v>
                </c:pt>
                <c:pt idx="5422">
                  <c:v>1303.8835883272859</c:v>
                </c:pt>
                <c:pt idx="5423">
                  <c:v>1339.0553032822952</c:v>
                </c:pt>
                <c:pt idx="5424">
                  <c:v>1434.958207385796</c:v>
                </c:pt>
                <c:pt idx="5425">
                  <c:v>1363.1478497698522</c:v>
                </c:pt>
                <c:pt idx="5426">
                  <c:v>1365.8268872179235</c:v>
                </c:pt>
                <c:pt idx="5427">
                  <c:v>1414.7508922229024</c:v>
                </c:pt>
                <c:pt idx="5428">
                  <c:v>1462.4963524054101</c:v>
                </c:pt>
                <c:pt idx="5429">
                  <c:v>1377.852138225411</c:v>
                </c:pt>
                <c:pt idx="5430">
                  <c:v>1374.7086447201871</c:v>
                </c:pt>
                <c:pt idx="5431">
                  <c:v>1373.9263247401423</c:v>
                </c:pt>
                <c:pt idx="5432">
                  <c:v>1362.9362136930868</c:v>
                </c:pt>
                <c:pt idx="5433">
                  <c:v>1340.2912506754269</c:v>
                </c:pt>
                <c:pt idx="5434">
                  <c:v>1371.765898036524</c:v>
                </c:pt>
                <c:pt idx="5435">
                  <c:v>1383.5597231574418</c:v>
                </c:pt>
                <c:pt idx="5436">
                  <c:v>1351.1531058227906</c:v>
                </c:pt>
                <c:pt idx="5437">
                  <c:v>1356.2102546060494</c:v>
                </c:pt>
                <c:pt idx="5438">
                  <c:v>1368.5986684449258</c:v>
                </c:pt>
                <c:pt idx="5439">
                  <c:v>1404.9869308603168</c:v>
                </c:pt>
                <c:pt idx="5440">
                  <c:v>1527.5312862386393</c:v>
                </c:pt>
                <c:pt idx="5441">
                  <c:v>1592.0275727046856</c:v>
                </c:pt>
                <c:pt idx="5442">
                  <c:v>1645.2569244942306</c:v>
                </c:pt>
                <c:pt idx="5443">
                  <c:v>1641.0373097081283</c:v>
                </c:pt>
                <c:pt idx="5444">
                  <c:v>1614.8402014212481</c:v>
                </c:pt>
                <c:pt idx="5445">
                  <c:v>1600.2433044364695</c:v>
                </c:pt>
                <c:pt idx="5446">
                  <c:v>1565.7012070692097</c:v>
                </c:pt>
                <c:pt idx="5447">
                  <c:v>1520.1528870129289</c:v>
                </c:pt>
                <c:pt idx="5448">
                  <c:v>1525.614880525419</c:v>
                </c:pt>
                <c:pt idx="5449">
                  <c:v>1545.369906088647</c:v>
                </c:pt>
                <c:pt idx="5450">
                  <c:v>1594.2637606014302</c:v>
                </c:pt>
                <c:pt idx="5451">
                  <c:v>1645.0379315357395</c:v>
                </c:pt>
                <c:pt idx="5452">
                  <c:v>1631.131961124561</c:v>
                </c:pt>
                <c:pt idx="5453">
                  <c:v>1529.8318196846783</c:v>
                </c:pt>
                <c:pt idx="5454">
                  <c:v>1475.0470140718558</c:v>
                </c:pt>
                <c:pt idx="5455">
                  <c:v>1432.7464616132841</c:v>
                </c:pt>
                <c:pt idx="5456">
                  <c:v>1421.8891408343497</c:v>
                </c:pt>
                <c:pt idx="5457">
                  <c:v>1406.723478752971</c:v>
                </c:pt>
                <c:pt idx="5458">
                  <c:v>1386.5925576508594</c:v>
                </c:pt>
                <c:pt idx="5459">
                  <c:v>1375.1830601157044</c:v>
                </c:pt>
                <c:pt idx="5460">
                  <c:v>1342.5204917712133</c:v>
                </c:pt>
                <c:pt idx="5461">
                  <c:v>1347.1488560635987</c:v>
                </c:pt>
                <c:pt idx="5462">
                  <c:v>1357.3066434872396</c:v>
                </c:pt>
                <c:pt idx="5463">
                  <c:v>1392.1171007663813</c:v>
                </c:pt>
                <c:pt idx="5464">
                  <c:v>1486.8727091847504</c:v>
                </c:pt>
                <c:pt idx="5465">
                  <c:v>1539.8420107949232</c:v>
                </c:pt>
                <c:pt idx="5466">
                  <c:v>1567.773561419946</c:v>
                </c:pt>
                <c:pt idx="5467">
                  <c:v>1546.7983582805707</c:v>
                </c:pt>
                <c:pt idx="5468">
                  <c:v>1484.7603443838793</c:v>
                </c:pt>
                <c:pt idx="5469">
                  <c:v>1442.308420793878</c:v>
                </c:pt>
                <c:pt idx="5470">
                  <c:v>1402.0085573861711</c:v>
                </c:pt>
                <c:pt idx="5471">
                  <c:v>1382.0659103161622</c:v>
                </c:pt>
                <c:pt idx="5472">
                  <c:v>1364.0101535190186</c:v>
                </c:pt>
                <c:pt idx="5473">
                  <c:v>1347.4231766168307</c:v>
                </c:pt>
                <c:pt idx="5474">
                  <c:v>1353.7268562625004</c:v>
                </c:pt>
                <c:pt idx="5475">
                  <c:v>1369.5577184923618</c:v>
                </c:pt>
                <c:pt idx="5476">
                  <c:v>1403.7405703643497</c:v>
                </c:pt>
                <c:pt idx="5477">
                  <c:v>1377.9250053731766</c:v>
                </c:pt>
                <c:pt idx="5478">
                  <c:v>1335.948246354209</c:v>
                </c:pt>
                <c:pt idx="5479">
                  <c:v>1351.4801744480685</c:v>
                </c:pt>
                <c:pt idx="5480">
                  <c:v>1371.5981329571955</c:v>
                </c:pt>
                <c:pt idx="5481">
                  <c:v>1345.8179211873121</c:v>
                </c:pt>
                <c:pt idx="5482">
                  <c:v>1332.8090387663503</c:v>
                </c:pt>
                <c:pt idx="5483">
                  <c:v>1328.7703121901718</c:v>
                </c:pt>
                <c:pt idx="5484">
                  <c:v>1360.3747405582615</c:v>
                </c:pt>
                <c:pt idx="5485">
                  <c:v>1392.1066341510088</c:v>
                </c:pt>
                <c:pt idx="5486">
                  <c:v>1413.8516620930723</c:v>
                </c:pt>
                <c:pt idx="5487">
                  <c:v>1437.9825645104918</c:v>
                </c:pt>
                <c:pt idx="5488">
                  <c:v>1453.7398038645154</c:v>
                </c:pt>
                <c:pt idx="5489">
                  <c:v>1475.5711316931888</c:v>
                </c:pt>
                <c:pt idx="5490">
                  <c:v>1560.418056277224</c:v>
                </c:pt>
                <c:pt idx="5491">
                  <c:v>1527.0877355638704</c:v>
                </c:pt>
                <c:pt idx="5492">
                  <c:v>1431.3700186927701</c:v>
                </c:pt>
                <c:pt idx="5493">
                  <c:v>1425.0674092978372</c:v>
                </c:pt>
                <c:pt idx="5494">
                  <c:v>1422.2165572911174</c:v>
                </c:pt>
                <c:pt idx="5495">
                  <c:v>1407.532293991316</c:v>
                </c:pt>
                <c:pt idx="5496">
                  <c:v>1401.7982951618826</c:v>
                </c:pt>
                <c:pt idx="5497">
                  <c:v>1389.2704653291476</c:v>
                </c:pt>
                <c:pt idx="5498">
                  <c:v>1441.2020212459713</c:v>
                </c:pt>
                <c:pt idx="5499">
                  <c:v>1576.8826756717926</c:v>
                </c:pt>
                <c:pt idx="5500">
                  <c:v>1652.4719291951531</c:v>
                </c:pt>
                <c:pt idx="5501">
                  <c:v>1719.1748930320059</c:v>
                </c:pt>
                <c:pt idx="5502">
                  <c:v>1664.6173065651005</c:v>
                </c:pt>
                <c:pt idx="5503">
                  <c:v>1549.7411027800483</c:v>
                </c:pt>
                <c:pt idx="5504">
                  <c:v>1557.2176631099771</c:v>
                </c:pt>
                <c:pt idx="5505">
                  <c:v>1554.9113858029664</c:v>
                </c:pt>
                <c:pt idx="5506">
                  <c:v>1525.0761588959404</c:v>
                </c:pt>
                <c:pt idx="5507">
                  <c:v>1619.5832938624264</c:v>
                </c:pt>
                <c:pt idx="5508">
                  <c:v>1754.3530507872438</c:v>
                </c:pt>
                <c:pt idx="5509">
                  <c:v>1702.1735598201831</c:v>
                </c:pt>
                <c:pt idx="5510">
                  <c:v>1548.2621544109968</c:v>
                </c:pt>
                <c:pt idx="5511">
                  <c:v>1607.5487633442106</c:v>
                </c:pt>
                <c:pt idx="5512">
                  <c:v>1865.6051748023806</c:v>
                </c:pt>
                <c:pt idx="5513">
                  <c:v>1899.3825288737687</c:v>
                </c:pt>
                <c:pt idx="5514">
                  <c:v>1882.5806488998358</c:v>
                </c:pt>
                <c:pt idx="5515">
                  <c:v>1806.575094595986</c:v>
                </c:pt>
                <c:pt idx="5516">
                  <c:v>1707.1370299932548</c:v>
                </c:pt>
                <c:pt idx="5517">
                  <c:v>1593.7799674068517</c:v>
                </c:pt>
                <c:pt idx="5518">
                  <c:v>1614.1276110069614</c:v>
                </c:pt>
                <c:pt idx="5519">
                  <c:v>1700.7414316446052</c:v>
                </c:pt>
                <c:pt idx="5520">
                  <c:v>1611.3192730726369</c:v>
                </c:pt>
                <c:pt idx="5521">
                  <c:v>1602.3784005985335</c:v>
                </c:pt>
                <c:pt idx="5522">
                  <c:v>1618.9831196369216</c:v>
                </c:pt>
                <c:pt idx="5523">
                  <c:v>1673.8697213841447</c:v>
                </c:pt>
                <c:pt idx="5524">
                  <c:v>1723.8918555198545</c:v>
                </c:pt>
                <c:pt idx="5525">
                  <c:v>1691.9292262430536</c:v>
                </c:pt>
                <c:pt idx="5526">
                  <c:v>1672.4971810564971</c:v>
                </c:pt>
                <c:pt idx="5527">
                  <c:v>1725.8793903154854</c:v>
                </c:pt>
                <c:pt idx="5528">
                  <c:v>1755.9326076400057</c:v>
                </c:pt>
                <c:pt idx="5529">
                  <c:v>1613.2035887372233</c:v>
                </c:pt>
                <c:pt idx="5530">
                  <c:v>1598.9313905368049</c:v>
                </c:pt>
                <c:pt idx="5531">
                  <c:v>1531.8960636098027</c:v>
                </c:pt>
                <c:pt idx="5532">
                  <c:v>1489.3178471565382</c:v>
                </c:pt>
                <c:pt idx="5533">
                  <c:v>1544.096635885242</c:v>
                </c:pt>
                <c:pt idx="5534">
                  <c:v>1661.6601000295138</c:v>
                </c:pt>
                <c:pt idx="5535">
                  <c:v>1795.3127625437007</c:v>
                </c:pt>
                <c:pt idx="5536">
                  <c:v>1831.3227497504568</c:v>
                </c:pt>
                <c:pt idx="5537">
                  <c:v>1870.6267503076933</c:v>
                </c:pt>
                <c:pt idx="5538">
                  <c:v>1897.2447461639363</c:v>
                </c:pt>
                <c:pt idx="5539">
                  <c:v>1846.6587679008319</c:v>
                </c:pt>
                <c:pt idx="5540">
                  <c:v>1703.0935320645551</c:v>
                </c:pt>
                <c:pt idx="5541">
                  <c:v>1657.6900005516245</c:v>
                </c:pt>
                <c:pt idx="5542">
                  <c:v>1619.5541622926162</c:v>
                </c:pt>
                <c:pt idx="5543">
                  <c:v>1596.6146520748848</c:v>
                </c:pt>
                <c:pt idx="5544">
                  <c:v>1600.9525191925641</c:v>
                </c:pt>
                <c:pt idx="5545">
                  <c:v>1617.8438311746522</c:v>
                </c:pt>
                <c:pt idx="5546">
                  <c:v>1636.5645047222513</c:v>
                </c:pt>
                <c:pt idx="5547">
                  <c:v>1712.2477552007886</c:v>
                </c:pt>
                <c:pt idx="5548">
                  <c:v>1744.6090883701929</c:v>
                </c:pt>
                <c:pt idx="5549">
                  <c:v>1674.4631279118757</c:v>
                </c:pt>
                <c:pt idx="5550">
                  <c:v>1576.3172933319865</c:v>
                </c:pt>
                <c:pt idx="5551">
                  <c:v>1596.745093251847</c:v>
                </c:pt>
                <c:pt idx="5552">
                  <c:v>1629.2925812476853</c:v>
                </c:pt>
                <c:pt idx="5553">
                  <c:v>1610.0601509287217</c:v>
                </c:pt>
                <c:pt idx="5554">
                  <c:v>1570.6502037391997</c:v>
                </c:pt>
                <c:pt idx="5555">
                  <c:v>1500.5063133423851</c:v>
                </c:pt>
                <c:pt idx="5556">
                  <c:v>1500.9526504913943</c:v>
                </c:pt>
                <c:pt idx="5557">
                  <c:v>1505.007288856594</c:v>
                </c:pt>
                <c:pt idx="5558">
                  <c:v>1525.9656890593953</c:v>
                </c:pt>
                <c:pt idx="5559">
                  <c:v>1557.9168966858547</c:v>
                </c:pt>
                <c:pt idx="5560">
                  <c:v>1662.2544413885009</c:v>
                </c:pt>
                <c:pt idx="5561">
                  <c:v>1792.9277852224066</c:v>
                </c:pt>
                <c:pt idx="5562">
                  <c:v>1864.3427725583745</c:v>
                </c:pt>
                <c:pt idx="5563">
                  <c:v>1737.9012645726878</c:v>
                </c:pt>
                <c:pt idx="5564">
                  <c:v>1689.0335765983355</c:v>
                </c:pt>
                <c:pt idx="5565">
                  <c:v>1717.5541550058538</c:v>
                </c:pt>
                <c:pt idx="5566">
                  <c:v>1690.9093821314227</c:v>
                </c:pt>
                <c:pt idx="5567">
                  <c:v>1670.4228691297949</c:v>
                </c:pt>
                <c:pt idx="5568">
                  <c:v>1678.6038035154174</c:v>
                </c:pt>
                <c:pt idx="5569">
                  <c:v>1645.1169062113092</c:v>
                </c:pt>
                <c:pt idx="5570">
                  <c:v>1635.9688506679722</c:v>
                </c:pt>
                <c:pt idx="5571">
                  <c:v>1671.4973697452713</c:v>
                </c:pt>
                <c:pt idx="5572">
                  <c:v>1661.9893714055436</c:v>
                </c:pt>
                <c:pt idx="5573">
                  <c:v>1572.1411066997762</c:v>
                </c:pt>
                <c:pt idx="5574">
                  <c:v>1250.8351646090443</c:v>
                </c:pt>
                <c:pt idx="5575">
                  <c:v>1772.8762013706043</c:v>
                </c:pt>
                <c:pt idx="5576">
                  <c:v>2040.7676290114746</c:v>
                </c:pt>
                <c:pt idx="5577">
                  <c:v>1888.1465992519138</c:v>
                </c:pt>
                <c:pt idx="5578">
                  <c:v>1699.0703186636026</c:v>
                </c:pt>
                <c:pt idx="5579">
                  <c:v>1616.7157459442067</c:v>
                </c:pt>
                <c:pt idx="5580">
                  <c:v>1517.8220135966299</c:v>
                </c:pt>
                <c:pt idx="5581">
                  <c:v>1528.1626053066418</c:v>
                </c:pt>
                <c:pt idx="5582">
                  <c:v>1560.6946363700224</c:v>
                </c:pt>
                <c:pt idx="5583">
                  <c:v>1642.6463443240509</c:v>
                </c:pt>
                <c:pt idx="5584">
                  <c:v>1789.2137121087455</c:v>
                </c:pt>
                <c:pt idx="5585">
                  <c:v>1751.4595421900458</c:v>
                </c:pt>
                <c:pt idx="5586">
                  <c:v>1759.5365077230622</c:v>
                </c:pt>
                <c:pt idx="5587">
                  <c:v>1703.7541246744047</c:v>
                </c:pt>
                <c:pt idx="5588">
                  <c:v>1803.8144761933816</c:v>
                </c:pt>
                <c:pt idx="5589">
                  <c:v>1814.0095154412775</c:v>
                </c:pt>
                <c:pt idx="5590">
                  <c:v>1793.799234700959</c:v>
                </c:pt>
                <c:pt idx="5591">
                  <c:v>1790.4347087543345</c:v>
                </c:pt>
                <c:pt idx="5592">
                  <c:v>1781.4444671426554</c:v>
                </c:pt>
                <c:pt idx="5593">
                  <c:v>1775.241588735038</c:v>
                </c:pt>
                <c:pt idx="5594">
                  <c:v>1839.5837274242472</c:v>
                </c:pt>
                <c:pt idx="5595">
                  <c:v>1935.8862609688206</c:v>
                </c:pt>
                <c:pt idx="5596">
                  <c:v>1901.7263970997838</c:v>
                </c:pt>
                <c:pt idx="5597">
                  <c:v>1877.4408030434179</c:v>
                </c:pt>
                <c:pt idx="5598">
                  <c:v>1777.8085425365207</c:v>
                </c:pt>
                <c:pt idx="5599">
                  <c:v>1672.208263047675</c:v>
                </c:pt>
                <c:pt idx="5600">
                  <c:v>1607.0002052367834</c:v>
                </c:pt>
                <c:pt idx="5601">
                  <c:v>1579.4829497642104</c:v>
                </c:pt>
                <c:pt idx="5602">
                  <c:v>1624.1406732286227</c:v>
                </c:pt>
                <c:pt idx="5603">
                  <c:v>1601.9516222817458</c:v>
                </c:pt>
                <c:pt idx="5604">
                  <c:v>1572.7019721446347</c:v>
                </c:pt>
                <c:pt idx="5605">
                  <c:v>1545.6810918653575</c:v>
                </c:pt>
                <c:pt idx="5606">
                  <c:v>1571.3168470880385</c:v>
                </c:pt>
                <c:pt idx="5607">
                  <c:v>1588.7884746839939</c:v>
                </c:pt>
                <c:pt idx="5608">
                  <c:v>1626.4900330422211</c:v>
                </c:pt>
                <c:pt idx="5609">
                  <c:v>1813.11650204851</c:v>
                </c:pt>
                <c:pt idx="5610">
                  <c:v>1905.8394564119826</c:v>
                </c:pt>
                <c:pt idx="5611">
                  <c:v>1878.1447533671874</c:v>
                </c:pt>
                <c:pt idx="5612">
                  <c:v>1860.71262293785</c:v>
                </c:pt>
                <c:pt idx="5613">
                  <c:v>1854.5233487276128</c:v>
                </c:pt>
                <c:pt idx="5614">
                  <c:v>1880.5106632979248</c:v>
                </c:pt>
                <c:pt idx="5615">
                  <c:v>1915.431585196392</c:v>
                </c:pt>
                <c:pt idx="5616">
                  <c:v>1914.9740786704292</c:v>
                </c:pt>
                <c:pt idx="5617">
                  <c:v>1954.9131419890637</c:v>
                </c:pt>
                <c:pt idx="5618">
                  <c:v>2000.0392377546523</c:v>
                </c:pt>
                <c:pt idx="5619">
                  <c:v>2157.7529721019364</c:v>
                </c:pt>
                <c:pt idx="5620">
                  <c:v>2328.2466562309928</c:v>
                </c:pt>
                <c:pt idx="5621">
                  <c:v>2324.641589793051</c:v>
                </c:pt>
                <c:pt idx="5622">
                  <c:v>2188.1373353794156</c:v>
                </c:pt>
                <c:pt idx="5623">
                  <c:v>2075.8321741904992</c:v>
                </c:pt>
                <c:pt idx="5624">
                  <c:v>2042.0897851014849</c:v>
                </c:pt>
                <c:pt idx="5625">
                  <c:v>2015.7194567327945</c:v>
                </c:pt>
                <c:pt idx="5626">
                  <c:v>1902.1942495648877</c:v>
                </c:pt>
                <c:pt idx="5627">
                  <c:v>1848.1304331044075</c:v>
                </c:pt>
                <c:pt idx="5628">
                  <c:v>1836.6413755320552</c:v>
                </c:pt>
                <c:pt idx="5629">
                  <c:v>1929.3277267742703</c:v>
                </c:pt>
                <c:pt idx="5630">
                  <c:v>1984.6700926137305</c:v>
                </c:pt>
                <c:pt idx="5631">
                  <c:v>2113.5258754885954</c:v>
                </c:pt>
                <c:pt idx="5632">
                  <c:v>2229.1443587710105</c:v>
                </c:pt>
                <c:pt idx="5633">
                  <c:v>2387.1761230392603</c:v>
                </c:pt>
                <c:pt idx="5634">
                  <c:v>2451.0016216650934</c:v>
                </c:pt>
                <c:pt idx="5635">
                  <c:v>2490.9753501866862</c:v>
                </c:pt>
                <c:pt idx="5636">
                  <c:v>2468.7883125124968</c:v>
                </c:pt>
                <c:pt idx="5637">
                  <c:v>2487.7201618198351</c:v>
                </c:pt>
                <c:pt idx="5638">
                  <c:v>2489.5975394202042</c:v>
                </c:pt>
                <c:pt idx="5639">
                  <c:v>2501.8235410715765</c:v>
                </c:pt>
                <c:pt idx="5640">
                  <c:v>2456.9537441473171</c:v>
                </c:pt>
                <c:pt idx="5641">
                  <c:v>2484.2862000803589</c:v>
                </c:pt>
                <c:pt idx="5642">
                  <c:v>2535.6344513258991</c:v>
                </c:pt>
                <c:pt idx="5643">
                  <c:v>2640.4576736288864</c:v>
                </c:pt>
                <c:pt idx="5644">
                  <c:v>2719.2216774394587</c:v>
                </c:pt>
                <c:pt idx="5645">
                  <c:v>2719.5129598287363</c:v>
                </c:pt>
                <c:pt idx="5646">
                  <c:v>2517.9336295345793</c:v>
                </c:pt>
                <c:pt idx="5647">
                  <c:v>2390.0580407117654</c:v>
                </c:pt>
                <c:pt idx="5648">
                  <c:v>2340.643617878563</c:v>
                </c:pt>
                <c:pt idx="5649">
                  <c:v>2259.9321530638649</c:v>
                </c:pt>
                <c:pt idx="5650">
                  <c:v>2018.5759226414677</c:v>
                </c:pt>
                <c:pt idx="5651">
                  <c:v>1991.3324345772305</c:v>
                </c:pt>
                <c:pt idx="5652">
                  <c:v>1937.7121251078154</c:v>
                </c:pt>
                <c:pt idx="5653">
                  <c:v>1987.7609636375562</c:v>
                </c:pt>
                <c:pt idx="5654">
                  <c:v>2022.6309858306843</c:v>
                </c:pt>
                <c:pt idx="5655">
                  <c:v>2070.6346379970241</c:v>
                </c:pt>
                <c:pt idx="5656">
                  <c:v>2260.0096812628003</c:v>
                </c:pt>
                <c:pt idx="5657">
                  <c:v>2384.4265724489987</c:v>
                </c:pt>
                <c:pt idx="5658">
                  <c:v>2432.6252636149834</c:v>
                </c:pt>
                <c:pt idx="5659">
                  <c:v>2272.6459695407748</c:v>
                </c:pt>
                <c:pt idx="5660">
                  <c:v>2041.0016273221374</c:v>
                </c:pt>
                <c:pt idx="5661">
                  <c:v>1947.2816066221617</c:v>
                </c:pt>
                <c:pt idx="5662">
                  <c:v>1956.4222643303012</c:v>
                </c:pt>
                <c:pt idx="5663">
                  <c:v>1910.9378786504553</c:v>
                </c:pt>
                <c:pt idx="5664">
                  <c:v>1979.9432128330818</c:v>
                </c:pt>
                <c:pt idx="5665">
                  <c:v>2067.1710505158412</c:v>
                </c:pt>
                <c:pt idx="5666">
                  <c:v>2212.2485823144189</c:v>
                </c:pt>
                <c:pt idx="5667">
                  <c:v>2357.9523964499795</c:v>
                </c:pt>
                <c:pt idx="5668">
                  <c:v>2536.977089066369</c:v>
                </c:pt>
                <c:pt idx="5669">
                  <c:v>2616.5927793019582</c:v>
                </c:pt>
                <c:pt idx="5670">
                  <c:v>2653.5945782417261</c:v>
                </c:pt>
                <c:pt idx="5671">
                  <c:v>2597.3511491950248</c:v>
                </c:pt>
                <c:pt idx="5672">
                  <c:v>2661.9601248730005</c:v>
                </c:pt>
                <c:pt idx="5673">
                  <c:v>2591.8680728351051</c:v>
                </c:pt>
                <c:pt idx="5674">
                  <c:v>2530.5041421680144</c:v>
                </c:pt>
                <c:pt idx="5675">
                  <c:v>2549.1844557958502</c:v>
                </c:pt>
                <c:pt idx="5676">
                  <c:v>2589.0553108337031</c:v>
                </c:pt>
                <c:pt idx="5677">
                  <c:v>2598.5053856746053</c:v>
                </c:pt>
                <c:pt idx="5678">
                  <c:v>2634.065734336456</c:v>
                </c:pt>
                <c:pt idx="5679">
                  <c:v>2646.8148270421275</c:v>
                </c:pt>
                <c:pt idx="5680">
                  <c:v>2646.2992719727386</c:v>
                </c:pt>
                <c:pt idx="5681">
                  <c:v>2730.1619284533199</c:v>
                </c:pt>
                <c:pt idx="5682">
                  <c:v>2672.4108453838667</c:v>
                </c:pt>
                <c:pt idx="5683">
                  <c:v>2520.5349749698271</c:v>
                </c:pt>
                <c:pt idx="5684">
                  <c:v>2203.6598425365564</c:v>
                </c:pt>
                <c:pt idx="5685">
                  <c:v>2163.5245684029296</c:v>
                </c:pt>
                <c:pt idx="5686">
                  <c:v>2091.7933656578325</c:v>
                </c:pt>
                <c:pt idx="5687">
                  <c:v>2042.3296883567762</c:v>
                </c:pt>
                <c:pt idx="5688">
                  <c:v>2063.7521831340837</c:v>
                </c:pt>
                <c:pt idx="5689">
                  <c:v>2086.5299948468178</c:v>
                </c:pt>
                <c:pt idx="5690">
                  <c:v>2127.5520727347521</c:v>
                </c:pt>
                <c:pt idx="5691">
                  <c:v>2219.6905664469355</c:v>
                </c:pt>
                <c:pt idx="5692">
                  <c:v>2353.9873386175268</c:v>
                </c:pt>
                <c:pt idx="5693">
                  <c:v>2405.2300560417807</c:v>
                </c:pt>
                <c:pt idx="5694">
                  <c:v>2344.1447717066667</c:v>
                </c:pt>
                <c:pt idx="5695">
                  <c:v>2223.8115559894691</c:v>
                </c:pt>
                <c:pt idx="5696">
                  <c:v>2352.3441083984594</c:v>
                </c:pt>
                <c:pt idx="5697">
                  <c:v>2521.9808684264426</c:v>
                </c:pt>
                <c:pt idx="5698">
                  <c:v>2357.5755562510062</c:v>
                </c:pt>
                <c:pt idx="5699">
                  <c:v>2268.069541349596</c:v>
                </c:pt>
                <c:pt idx="5700">
                  <c:v>2244.2389889662195</c:v>
                </c:pt>
                <c:pt idx="5701">
                  <c:v>2188.7585891760723</c:v>
                </c:pt>
                <c:pt idx="5702">
                  <c:v>1965.8022153600216</c:v>
                </c:pt>
                <c:pt idx="5703">
                  <c:v>2025.506583563377</c:v>
                </c:pt>
                <c:pt idx="5704">
                  <c:v>2291.4059808094739</c:v>
                </c:pt>
                <c:pt idx="5705">
                  <c:v>2441.8793837366052</c:v>
                </c:pt>
                <c:pt idx="5706">
                  <c:v>2469.3277581993621</c:v>
                </c:pt>
                <c:pt idx="5707">
                  <c:v>2423.8134480904864</c:v>
                </c:pt>
                <c:pt idx="5708">
                  <c:v>2303.4582807662046</c:v>
                </c:pt>
                <c:pt idx="5709">
                  <c:v>2252.4682238768196</c:v>
                </c:pt>
                <c:pt idx="5710">
                  <c:v>2199.6272163895801</c:v>
                </c:pt>
                <c:pt idx="5711">
                  <c:v>2172.8739998131587</c:v>
                </c:pt>
                <c:pt idx="5712">
                  <c:v>2169.842901746958</c:v>
                </c:pt>
                <c:pt idx="5713">
                  <c:v>2242.9983248251965</c:v>
                </c:pt>
                <c:pt idx="5714">
                  <c:v>2271.8261984295773</c:v>
                </c:pt>
                <c:pt idx="5715">
                  <c:v>2365.7026275380495</c:v>
                </c:pt>
                <c:pt idx="5716">
                  <c:v>2440.3603129779285</c:v>
                </c:pt>
                <c:pt idx="5717">
                  <c:v>2519.4438696325819</c:v>
                </c:pt>
                <c:pt idx="5718">
                  <c:v>2509.5967099263389</c:v>
                </c:pt>
                <c:pt idx="5719">
                  <c:v>2472.82674367763</c:v>
                </c:pt>
                <c:pt idx="5720">
                  <c:v>2453.3728752048687</c:v>
                </c:pt>
                <c:pt idx="5721">
                  <c:v>2373.11232449922</c:v>
                </c:pt>
                <c:pt idx="5722">
                  <c:v>2348.1786668652317</c:v>
                </c:pt>
                <c:pt idx="5723">
                  <c:v>2207.5587140976559</c:v>
                </c:pt>
                <c:pt idx="5724">
                  <c:v>2132.4046889574902</c:v>
                </c:pt>
                <c:pt idx="5725">
                  <c:v>2103.9274169355399</c:v>
                </c:pt>
                <c:pt idx="5726">
                  <c:v>2338.2521071133556</c:v>
                </c:pt>
                <c:pt idx="5727">
                  <c:v>2402.6127829821698</c:v>
                </c:pt>
                <c:pt idx="5728">
                  <c:v>2388.1906098906966</c:v>
                </c:pt>
                <c:pt idx="5729">
                  <c:v>2413.8244648722725</c:v>
                </c:pt>
                <c:pt idx="5730">
                  <c:v>2349.9531032721206</c:v>
                </c:pt>
                <c:pt idx="5731">
                  <c:v>2260.9528954216503</c:v>
                </c:pt>
                <c:pt idx="5732">
                  <c:v>2134.6620334179142</c:v>
                </c:pt>
                <c:pt idx="5733">
                  <c:v>2042.7590958864716</c:v>
                </c:pt>
                <c:pt idx="5734">
                  <c:v>1996.7230352669496</c:v>
                </c:pt>
                <c:pt idx="5735">
                  <c:v>1983.3552732017326</c:v>
                </c:pt>
                <c:pt idx="5736">
                  <c:v>1918.2207137681235</c:v>
                </c:pt>
                <c:pt idx="5737">
                  <c:v>1864.7864477316982</c:v>
                </c:pt>
                <c:pt idx="5738">
                  <c:v>1844.1015670322145</c:v>
                </c:pt>
                <c:pt idx="5739">
                  <c:v>1862.0974225508548</c:v>
                </c:pt>
                <c:pt idx="5740">
                  <c:v>1906.022237218363</c:v>
                </c:pt>
                <c:pt idx="5741">
                  <c:v>2000.1309325786517</c:v>
                </c:pt>
                <c:pt idx="5742">
                  <c:v>2027.3960626417243</c:v>
                </c:pt>
                <c:pt idx="5743">
                  <c:v>2028.0036368866115</c:v>
                </c:pt>
                <c:pt idx="5744">
                  <c:v>2027.2892494339699</c:v>
                </c:pt>
                <c:pt idx="5745">
                  <c:v>1973.3424621613672</c:v>
                </c:pt>
                <c:pt idx="5746">
                  <c:v>1717.7817274437232</c:v>
                </c:pt>
                <c:pt idx="5747">
                  <c:v>1634.1767442029943</c:v>
                </c:pt>
                <c:pt idx="5748">
                  <c:v>1544.5893629432444</c:v>
                </c:pt>
                <c:pt idx="5749">
                  <c:v>1506.5686973147128</c:v>
                </c:pt>
                <c:pt idx="5750">
                  <c:v>1506.788145675813</c:v>
                </c:pt>
                <c:pt idx="5751">
                  <c:v>1572.3036215439836</c:v>
                </c:pt>
                <c:pt idx="5752">
                  <c:v>1569.4338976312806</c:v>
                </c:pt>
                <c:pt idx="5753">
                  <c:v>1586.8107441495804</c:v>
                </c:pt>
                <c:pt idx="5754">
                  <c:v>1654.6740727435763</c:v>
                </c:pt>
                <c:pt idx="5755">
                  <c:v>1661.9285997292466</c:v>
                </c:pt>
                <c:pt idx="5756">
                  <c:v>1652.6381265755704</c:v>
                </c:pt>
                <c:pt idx="5757">
                  <c:v>1679.7879447663611</c:v>
                </c:pt>
                <c:pt idx="5758">
                  <c:v>1692.2338649246935</c:v>
                </c:pt>
                <c:pt idx="5759">
                  <c:v>1707.4530679373383</c:v>
                </c:pt>
                <c:pt idx="5760">
                  <c:v>1740.9456850763813</c:v>
                </c:pt>
                <c:pt idx="5761">
                  <c:v>1818.5922237108896</c:v>
                </c:pt>
                <c:pt idx="5762">
                  <c:v>1908.8581854375213</c:v>
                </c:pt>
                <c:pt idx="5763">
                  <c:v>1988.1181723801503</c:v>
                </c:pt>
                <c:pt idx="5764">
                  <c:v>1940.164090842469</c:v>
                </c:pt>
                <c:pt idx="5765">
                  <c:v>1766.9126195608446</c:v>
                </c:pt>
                <c:pt idx="5766">
                  <c:v>1723.8863082355488</c:v>
                </c:pt>
                <c:pt idx="5767">
                  <c:v>1633.2117395207169</c:v>
                </c:pt>
                <c:pt idx="5768">
                  <c:v>1549.0639125470323</c:v>
                </c:pt>
                <c:pt idx="5769">
                  <c:v>1509.1404246529016</c:v>
                </c:pt>
                <c:pt idx="5770">
                  <c:v>1510.2882500029386</c:v>
                </c:pt>
                <c:pt idx="5771">
                  <c:v>1507.0637903913091</c:v>
                </c:pt>
                <c:pt idx="5772">
                  <c:v>1506.5536602918553</c:v>
                </c:pt>
                <c:pt idx="5773">
                  <c:v>1491.5825026307991</c:v>
                </c:pt>
                <c:pt idx="5774">
                  <c:v>1483.5192526886074</c:v>
                </c:pt>
                <c:pt idx="5775">
                  <c:v>1502.6695505462808</c:v>
                </c:pt>
                <c:pt idx="5776">
                  <c:v>1649.5377663592394</c:v>
                </c:pt>
                <c:pt idx="5777">
                  <c:v>1803.1204508070605</c:v>
                </c:pt>
                <c:pt idx="5778">
                  <c:v>1762.7448240220417</c:v>
                </c:pt>
                <c:pt idx="5779">
                  <c:v>1681.8730929817768</c:v>
                </c:pt>
                <c:pt idx="5780">
                  <c:v>1678.5716588621547</c:v>
                </c:pt>
                <c:pt idx="5781">
                  <c:v>1743.0192057820027</c:v>
                </c:pt>
                <c:pt idx="5782">
                  <c:v>1785.5964246086874</c:v>
                </c:pt>
                <c:pt idx="5783">
                  <c:v>1843.5467965560952</c:v>
                </c:pt>
                <c:pt idx="5784">
                  <c:v>1885.4673515760189</c:v>
                </c:pt>
                <c:pt idx="5785">
                  <c:v>1970.6460254941687</c:v>
                </c:pt>
                <c:pt idx="5786">
                  <c:v>2068.3724217115605</c:v>
                </c:pt>
                <c:pt idx="5787">
                  <c:v>2183.3944750079127</c:v>
                </c:pt>
                <c:pt idx="5788">
                  <c:v>2306.8873477466968</c:v>
                </c:pt>
                <c:pt idx="5789">
                  <c:v>2148.6757196513722</c:v>
                </c:pt>
                <c:pt idx="5790">
                  <c:v>1928.7374414471583</c:v>
                </c:pt>
                <c:pt idx="5791">
                  <c:v>1714.8115992686244</c:v>
                </c:pt>
                <c:pt idx="5792">
                  <c:v>1629.0007407990954</c:v>
                </c:pt>
                <c:pt idx="5793">
                  <c:v>1534.1057518798768</c:v>
                </c:pt>
                <c:pt idx="5794">
                  <c:v>1484.4958231774478</c:v>
                </c:pt>
                <c:pt idx="5795">
                  <c:v>1443.1226107658995</c:v>
                </c:pt>
                <c:pt idx="5796">
                  <c:v>1414.1449446499262</c:v>
                </c:pt>
                <c:pt idx="5797">
                  <c:v>1430.8560427892642</c:v>
                </c:pt>
                <c:pt idx="5798">
                  <c:v>1478.6552983606109</c:v>
                </c:pt>
                <c:pt idx="5799">
                  <c:v>1499.6789827662869</c:v>
                </c:pt>
                <c:pt idx="5800">
                  <c:v>1558.3440987345668</c:v>
                </c:pt>
                <c:pt idx="5801">
                  <c:v>1647.773996966713</c:v>
                </c:pt>
                <c:pt idx="5802">
                  <c:v>1808.494885796232</c:v>
                </c:pt>
                <c:pt idx="5803">
                  <c:v>1834.1525729683301</c:v>
                </c:pt>
                <c:pt idx="5804">
                  <c:v>1900.3563287237112</c:v>
                </c:pt>
                <c:pt idx="5805">
                  <c:v>1907.7891305417397</c:v>
                </c:pt>
                <c:pt idx="5806">
                  <c:v>1947.7562224166691</c:v>
                </c:pt>
                <c:pt idx="5807">
                  <c:v>1999.3389448489631</c:v>
                </c:pt>
                <c:pt idx="5808">
                  <c:v>2092.4371313050715</c:v>
                </c:pt>
                <c:pt idx="5809">
                  <c:v>2177.8066320217504</c:v>
                </c:pt>
                <c:pt idx="5810">
                  <c:v>2342.2720955648929</c:v>
                </c:pt>
                <c:pt idx="5811">
                  <c:v>2420.7604344562565</c:v>
                </c:pt>
                <c:pt idx="5812">
                  <c:v>2619.9240051613606</c:v>
                </c:pt>
                <c:pt idx="5813">
                  <c:v>2305.9590411977324</c:v>
                </c:pt>
                <c:pt idx="5814">
                  <c:v>2009.2494590304764</c:v>
                </c:pt>
                <c:pt idx="5815">
                  <c:v>1836.8088741407921</c:v>
                </c:pt>
                <c:pt idx="5816">
                  <c:v>1751.5114498968449</c:v>
                </c:pt>
                <c:pt idx="5817">
                  <c:v>1651.7252076111838</c:v>
                </c:pt>
                <c:pt idx="5818">
                  <c:v>1574.2270832674208</c:v>
                </c:pt>
                <c:pt idx="5819">
                  <c:v>1531.3206127223727</c:v>
                </c:pt>
                <c:pt idx="5820">
                  <c:v>1499.3725219281625</c:v>
                </c:pt>
                <c:pt idx="5821">
                  <c:v>1493.9041702526192</c:v>
                </c:pt>
                <c:pt idx="5822">
                  <c:v>1485.7836793694707</c:v>
                </c:pt>
                <c:pt idx="5823">
                  <c:v>1545.6222914161838</c:v>
                </c:pt>
                <c:pt idx="5824">
                  <c:v>1661.6338925376103</c:v>
                </c:pt>
                <c:pt idx="5825">
                  <c:v>1790.2326672570093</c:v>
                </c:pt>
                <c:pt idx="5826">
                  <c:v>1829.9375455171478</c:v>
                </c:pt>
                <c:pt idx="5827">
                  <c:v>1793.5855454901264</c:v>
                </c:pt>
                <c:pt idx="5828">
                  <c:v>1814.9742339952966</c:v>
                </c:pt>
                <c:pt idx="5829">
                  <c:v>1908.3174696469753</c:v>
                </c:pt>
                <c:pt idx="5830">
                  <c:v>1918.2111743393593</c:v>
                </c:pt>
                <c:pt idx="5831">
                  <c:v>1993.4926739869695</c:v>
                </c:pt>
                <c:pt idx="5832">
                  <c:v>2083.2126003400545</c:v>
                </c:pt>
                <c:pt idx="5833">
                  <c:v>2133.0312044562402</c:v>
                </c:pt>
                <c:pt idx="5834">
                  <c:v>2242.730996394765</c:v>
                </c:pt>
                <c:pt idx="5835">
                  <c:v>2392.4460021760588</c:v>
                </c:pt>
                <c:pt idx="5836">
                  <c:v>2465.1503118383503</c:v>
                </c:pt>
                <c:pt idx="5837">
                  <c:v>2410.4814591561594</c:v>
                </c:pt>
                <c:pt idx="5838">
                  <c:v>2219.608424702858</c:v>
                </c:pt>
                <c:pt idx="5839">
                  <c:v>2075.2803791206384</c:v>
                </c:pt>
                <c:pt idx="5840">
                  <c:v>2062.5281313594769</c:v>
                </c:pt>
                <c:pt idx="5841">
                  <c:v>1958.8502788363407</c:v>
                </c:pt>
                <c:pt idx="5842">
                  <c:v>1831.4522861287094</c:v>
                </c:pt>
                <c:pt idx="5843">
                  <c:v>1768.2750509334428</c:v>
                </c:pt>
                <c:pt idx="5844">
                  <c:v>1804.6200697585891</c:v>
                </c:pt>
                <c:pt idx="5845">
                  <c:v>1860.9314094908414</c:v>
                </c:pt>
                <c:pt idx="5846">
                  <c:v>2043.8519070723407</c:v>
                </c:pt>
                <c:pt idx="5847">
                  <c:v>2073.8961861650664</c:v>
                </c:pt>
                <c:pt idx="5848">
                  <c:v>2222.0810937827669</c:v>
                </c:pt>
                <c:pt idx="5849">
                  <c:v>2490.8984947167851</c:v>
                </c:pt>
                <c:pt idx="5850">
                  <c:v>2685.889854006703</c:v>
                </c:pt>
                <c:pt idx="5851">
                  <c:v>2753.161777332637</c:v>
                </c:pt>
                <c:pt idx="5852">
                  <c:v>2628.8980024418256</c:v>
                </c:pt>
                <c:pt idx="5853">
                  <c:v>2729.3225815824658</c:v>
                </c:pt>
                <c:pt idx="5854">
                  <c:v>2754.4921246631106</c:v>
                </c:pt>
                <c:pt idx="5855">
                  <c:v>2779.1701343429527</c:v>
                </c:pt>
                <c:pt idx="5856">
                  <c:v>2751.2983943527493</c:v>
                </c:pt>
                <c:pt idx="5857">
                  <c:v>2855.982466586423</c:v>
                </c:pt>
                <c:pt idx="5858">
                  <c:v>3006.1021046849391</c:v>
                </c:pt>
                <c:pt idx="5859">
                  <c:v>3273.253435375485</c:v>
                </c:pt>
                <c:pt idx="5860">
                  <c:v>3342.0532677654187</c:v>
                </c:pt>
                <c:pt idx="5861">
                  <c:v>3073.4126880885224</c:v>
                </c:pt>
                <c:pt idx="5862">
                  <c:v>2753.0100791194768</c:v>
                </c:pt>
                <c:pt idx="5863">
                  <c:v>2427.0107156887439</c:v>
                </c:pt>
                <c:pt idx="5864">
                  <c:v>2224.0525202127105</c:v>
                </c:pt>
                <c:pt idx="5865">
                  <c:v>2076.2092197028787</c:v>
                </c:pt>
                <c:pt idx="5866">
                  <c:v>2050.0258903481936</c:v>
                </c:pt>
                <c:pt idx="5867">
                  <c:v>2019.6608898723166</c:v>
                </c:pt>
                <c:pt idx="5868">
                  <c:v>2024.8577637116364</c:v>
                </c:pt>
                <c:pt idx="5869">
                  <c:v>2050.3269966563548</c:v>
                </c:pt>
                <c:pt idx="5870">
                  <c:v>2269.5629026105898</c:v>
                </c:pt>
                <c:pt idx="5871">
                  <c:v>2429.1463420617592</c:v>
                </c:pt>
                <c:pt idx="5872">
                  <c:v>2530.6262654217735</c:v>
                </c:pt>
                <c:pt idx="5873">
                  <c:v>2654.6861018504324</c:v>
                </c:pt>
                <c:pt idx="5874">
                  <c:v>2724.4855380539998</c:v>
                </c:pt>
                <c:pt idx="5875">
                  <c:v>2537.1042430446387</c:v>
                </c:pt>
                <c:pt idx="5876">
                  <c:v>2378.4858224729501</c:v>
                </c:pt>
                <c:pt idx="5877">
                  <c:v>2346.030557873924</c:v>
                </c:pt>
                <c:pt idx="5878">
                  <c:v>2427.112980330865</c:v>
                </c:pt>
                <c:pt idx="5879">
                  <c:v>2416.6712728601356</c:v>
                </c:pt>
                <c:pt idx="5880">
                  <c:v>2366.0586142290367</c:v>
                </c:pt>
                <c:pt idx="5881">
                  <c:v>2333.2413405944417</c:v>
                </c:pt>
                <c:pt idx="5882">
                  <c:v>2444.9081398102494</c:v>
                </c:pt>
                <c:pt idx="5883">
                  <c:v>2701.6206456084537</c:v>
                </c:pt>
                <c:pt idx="5884">
                  <c:v>2873.7528399324087</c:v>
                </c:pt>
                <c:pt idx="5885">
                  <c:v>2978.2369003228337</c:v>
                </c:pt>
                <c:pt idx="5886">
                  <c:v>3010.4361685901777</c:v>
                </c:pt>
                <c:pt idx="5887">
                  <c:v>2905.6875460398492</c:v>
                </c:pt>
                <c:pt idx="5888">
                  <c:v>2825.7413667449932</c:v>
                </c:pt>
                <c:pt idx="5889">
                  <c:v>2741.2993802641058</c:v>
                </c:pt>
                <c:pt idx="5890">
                  <c:v>2624.1614079515516</c:v>
                </c:pt>
                <c:pt idx="5891">
                  <c:v>2505.4808674161773</c:v>
                </c:pt>
                <c:pt idx="5892">
                  <c:v>2431.2358067731334</c:v>
                </c:pt>
                <c:pt idx="5893">
                  <c:v>2398.8117137728736</c:v>
                </c:pt>
                <c:pt idx="5894">
                  <c:v>2593.4121208433839</c:v>
                </c:pt>
                <c:pt idx="5895">
                  <c:v>2646.2702840131037</c:v>
                </c:pt>
                <c:pt idx="5896">
                  <c:v>2969.7371950314246</c:v>
                </c:pt>
                <c:pt idx="5897">
                  <c:v>3061.5322289006622</c:v>
                </c:pt>
                <c:pt idx="5898">
                  <c:v>3293.7327023427852</c:v>
                </c:pt>
                <c:pt idx="5899">
                  <c:v>3217.3760757645987</c:v>
                </c:pt>
                <c:pt idx="5900">
                  <c:v>3195.0761894329621</c:v>
                </c:pt>
                <c:pt idx="5901">
                  <c:v>3172.3294466622906</c:v>
                </c:pt>
                <c:pt idx="5902">
                  <c:v>3151.4213891976078</c:v>
                </c:pt>
                <c:pt idx="5903">
                  <c:v>3159.4084372873135</c:v>
                </c:pt>
                <c:pt idx="5904">
                  <c:v>3165.8757981320755</c:v>
                </c:pt>
                <c:pt idx="5905">
                  <c:v>3221.7016120648564</c:v>
                </c:pt>
                <c:pt idx="5906">
                  <c:v>3328.8463305311275</c:v>
                </c:pt>
                <c:pt idx="5907">
                  <c:v>3394.3191760190416</c:v>
                </c:pt>
                <c:pt idx="5908">
                  <c:v>3410.5871887150543</c:v>
                </c:pt>
                <c:pt idx="5909">
                  <c:v>3345.4695392430922</c:v>
                </c:pt>
                <c:pt idx="5910">
                  <c:v>3227.330306412447</c:v>
                </c:pt>
                <c:pt idx="5911">
                  <c:v>2999.8698506248179</c:v>
                </c:pt>
                <c:pt idx="5912">
                  <c:v>2826.061136915499</c:v>
                </c:pt>
                <c:pt idx="5913">
                  <c:v>2532.3198607668578</c:v>
                </c:pt>
                <c:pt idx="5914">
                  <c:v>2496.3501985329021</c:v>
                </c:pt>
                <c:pt idx="5915">
                  <c:v>2453.8916535855342</c:v>
                </c:pt>
                <c:pt idx="5916">
                  <c:v>2420.0126622792168</c:v>
                </c:pt>
                <c:pt idx="5917">
                  <c:v>2500.9732159399723</c:v>
                </c:pt>
                <c:pt idx="5918">
                  <c:v>2536.7737840179184</c:v>
                </c:pt>
                <c:pt idx="5919">
                  <c:v>2589.8480575677404</c:v>
                </c:pt>
                <c:pt idx="5920">
                  <c:v>2810.0610374654998</c:v>
                </c:pt>
                <c:pt idx="5921">
                  <c:v>2988.5400960523693</c:v>
                </c:pt>
                <c:pt idx="5922">
                  <c:v>3127.7433267945189</c:v>
                </c:pt>
                <c:pt idx="5923">
                  <c:v>3218.1179664770007</c:v>
                </c:pt>
                <c:pt idx="5924">
                  <c:v>3291.3234658227661</c:v>
                </c:pt>
                <c:pt idx="5925">
                  <c:v>3372.0467612764805</c:v>
                </c:pt>
                <c:pt idx="5926">
                  <c:v>3397.304179587295</c:v>
                </c:pt>
                <c:pt idx="5927">
                  <c:v>3502.5073398098839</c:v>
                </c:pt>
                <c:pt idx="5928">
                  <c:v>3572.4403476738194</c:v>
                </c:pt>
                <c:pt idx="5929">
                  <c:v>3725.7717181369335</c:v>
                </c:pt>
                <c:pt idx="5930">
                  <c:v>3830.2134342753616</c:v>
                </c:pt>
                <c:pt idx="5931">
                  <c:v>3938.2374155966131</c:v>
                </c:pt>
                <c:pt idx="5932">
                  <c:v>3861.007949306008</c:v>
                </c:pt>
                <c:pt idx="5933">
                  <c:v>3623.5960138517621</c:v>
                </c:pt>
                <c:pt idx="5934">
                  <c:v>3340.6589603943344</c:v>
                </c:pt>
                <c:pt idx="5935">
                  <c:v>3102.3181870880794</c:v>
                </c:pt>
                <c:pt idx="5936">
                  <c:v>2765.6462358002946</c:v>
                </c:pt>
                <c:pt idx="5937">
                  <c:v>2643.8270451903281</c:v>
                </c:pt>
                <c:pt idx="5938">
                  <c:v>2480.662548956785</c:v>
                </c:pt>
                <c:pt idx="5939">
                  <c:v>2538.6272109357192</c:v>
                </c:pt>
                <c:pt idx="5940">
                  <c:v>2413.6675770351294</c:v>
                </c:pt>
                <c:pt idx="5941">
                  <c:v>2351.8558933209879</c:v>
                </c:pt>
                <c:pt idx="5942">
                  <c:v>2396.1239805375626</c:v>
                </c:pt>
                <c:pt idx="5943">
                  <c:v>2519.9515616353306</c:v>
                </c:pt>
                <c:pt idx="5944">
                  <c:v>2669.7718768128839</c:v>
                </c:pt>
                <c:pt idx="5945">
                  <c:v>2775.2981763116154</c:v>
                </c:pt>
                <c:pt idx="5946">
                  <c:v>2808.6906076067803</c:v>
                </c:pt>
                <c:pt idx="5947">
                  <c:v>2739.5300013379965</c:v>
                </c:pt>
                <c:pt idx="5948">
                  <c:v>2757.2688481551245</c:v>
                </c:pt>
                <c:pt idx="5949">
                  <c:v>2704.3862035458383</c:v>
                </c:pt>
                <c:pt idx="5950">
                  <c:v>2559.5553880221682</c:v>
                </c:pt>
                <c:pt idx="5951">
                  <c:v>2497.7944014301902</c:v>
                </c:pt>
                <c:pt idx="5952">
                  <c:v>2491.541650430313</c:v>
                </c:pt>
                <c:pt idx="5953">
                  <c:v>2484.2572263179281</c:v>
                </c:pt>
                <c:pt idx="5954">
                  <c:v>2472.121037815024</c:v>
                </c:pt>
                <c:pt idx="5955">
                  <c:v>2635.4018462776603</c:v>
                </c:pt>
                <c:pt idx="5956">
                  <c:v>2716.464210816066</c:v>
                </c:pt>
                <c:pt idx="5957">
                  <c:v>2708.0119733290348</c:v>
                </c:pt>
                <c:pt idx="5958">
                  <c:v>2549.8492595147222</c:v>
                </c:pt>
                <c:pt idx="5959">
                  <c:v>2482.2769102543102</c:v>
                </c:pt>
                <c:pt idx="5960">
                  <c:v>2354.6929800466705</c:v>
                </c:pt>
                <c:pt idx="5961">
                  <c:v>2242.2164078273172</c:v>
                </c:pt>
                <c:pt idx="5962">
                  <c:v>2170.627355129875</c:v>
                </c:pt>
                <c:pt idx="5963">
                  <c:v>2138.8783134992959</c:v>
                </c:pt>
                <c:pt idx="5964">
                  <c:v>1871.4281333099245</c:v>
                </c:pt>
                <c:pt idx="5965">
                  <c:v>1836.0001872233265</c:v>
                </c:pt>
                <c:pt idx="5966">
                  <c:v>1817.5761489568292</c:v>
                </c:pt>
                <c:pt idx="5967">
                  <c:v>1914.4896405951768</c:v>
                </c:pt>
                <c:pt idx="5968">
                  <c:v>2098.7192574114056</c:v>
                </c:pt>
                <c:pt idx="5969">
                  <c:v>2262.3597678640167</c:v>
                </c:pt>
                <c:pt idx="5970">
                  <c:v>2357.3481263312196</c:v>
                </c:pt>
                <c:pt idx="5971">
                  <c:v>2368.1415291151079</c:v>
                </c:pt>
                <c:pt idx="5972">
                  <c:v>2453.4637214729264</c:v>
                </c:pt>
                <c:pt idx="5973">
                  <c:v>2529.5331042202297</c:v>
                </c:pt>
                <c:pt idx="5974">
                  <c:v>2590.4840993901439</c:v>
                </c:pt>
                <c:pt idx="5975">
                  <c:v>2699.5785853600887</c:v>
                </c:pt>
                <c:pt idx="5976">
                  <c:v>2753.8501937314213</c:v>
                </c:pt>
                <c:pt idx="5977">
                  <c:v>2809.1757140426971</c:v>
                </c:pt>
                <c:pt idx="5978">
                  <c:v>2963.7209066491373</c:v>
                </c:pt>
                <c:pt idx="5979">
                  <c:v>3392.0374626045882</c:v>
                </c:pt>
                <c:pt idx="5980">
                  <c:v>3491.0273711781033</c:v>
                </c:pt>
                <c:pt idx="5981">
                  <c:v>3230.3742174549479</c:v>
                </c:pt>
                <c:pt idx="5982">
                  <c:v>2856.8542567978634</c:v>
                </c:pt>
                <c:pt idx="5983">
                  <c:v>2598.8111000674458</c:v>
                </c:pt>
                <c:pt idx="5984">
                  <c:v>2204.4839421567303</c:v>
                </c:pt>
                <c:pt idx="5985">
                  <c:v>2042.8553840519</c:v>
                </c:pt>
                <c:pt idx="5986">
                  <c:v>1991.8447767102232</c:v>
                </c:pt>
                <c:pt idx="5987">
                  <c:v>2000.7635512368352</c:v>
                </c:pt>
                <c:pt idx="5988">
                  <c:v>2030.1692734179253</c:v>
                </c:pt>
                <c:pt idx="5989">
                  <c:v>1990.2604878202735</c:v>
                </c:pt>
                <c:pt idx="5990">
                  <c:v>2151.7813066228337</c:v>
                </c:pt>
                <c:pt idx="5991">
                  <c:v>2168.3139284387307</c:v>
                </c:pt>
                <c:pt idx="5992">
                  <c:v>2335.8486586840581</c:v>
                </c:pt>
                <c:pt idx="5993">
                  <c:v>2401.2052394489074</c:v>
                </c:pt>
                <c:pt idx="5994">
                  <c:v>2347.677352137156</c:v>
                </c:pt>
                <c:pt idx="5995">
                  <c:v>2258.7198128901823</c:v>
                </c:pt>
                <c:pt idx="5996">
                  <c:v>2122.6281161096872</c:v>
                </c:pt>
                <c:pt idx="5997">
                  <c:v>2125.1036994386695</c:v>
                </c:pt>
                <c:pt idx="5998">
                  <c:v>2073.7679155221244</c:v>
                </c:pt>
                <c:pt idx="5999">
                  <c:v>2050.5279837382855</c:v>
                </c:pt>
                <c:pt idx="6000">
                  <c:v>2040.5677902649013</c:v>
                </c:pt>
                <c:pt idx="6001">
                  <c:v>2033.1340885625793</c:v>
                </c:pt>
                <c:pt idx="6002">
                  <c:v>2043.6934679176754</c:v>
                </c:pt>
                <c:pt idx="6003">
                  <c:v>2142.6628604398143</c:v>
                </c:pt>
                <c:pt idx="6004">
                  <c:v>2471.9149430160551</c:v>
                </c:pt>
                <c:pt idx="6005">
                  <c:v>2303.254539972811</c:v>
                </c:pt>
                <c:pt idx="6006">
                  <c:v>2249.2205960669626</c:v>
                </c:pt>
                <c:pt idx="6007">
                  <c:v>2217.5509244494701</c:v>
                </c:pt>
                <c:pt idx="6008">
                  <c:v>2144.268920741571</c:v>
                </c:pt>
                <c:pt idx="6009">
                  <c:v>2137.5792000168663</c:v>
                </c:pt>
                <c:pt idx="6010">
                  <c:v>2028.3045886636712</c:v>
                </c:pt>
                <c:pt idx="6011">
                  <c:v>1949.221944998422</c:v>
                </c:pt>
                <c:pt idx="6012">
                  <c:v>1846.6370128704136</c:v>
                </c:pt>
                <c:pt idx="6013">
                  <c:v>1813.2638231545736</c:v>
                </c:pt>
                <c:pt idx="6014">
                  <c:v>1916.9459523122882</c:v>
                </c:pt>
                <c:pt idx="6015">
                  <c:v>2075.1360934859258</c:v>
                </c:pt>
                <c:pt idx="6016">
                  <c:v>2098.5669978626552</c:v>
                </c:pt>
                <c:pt idx="6017">
                  <c:v>2161.0520320122705</c:v>
                </c:pt>
                <c:pt idx="6018">
                  <c:v>2166.7499917862688</c:v>
                </c:pt>
                <c:pt idx="6019">
                  <c:v>2132.4152986369918</c:v>
                </c:pt>
                <c:pt idx="6020">
                  <c:v>2063.101336904544</c:v>
                </c:pt>
                <c:pt idx="6021">
                  <c:v>2068.0880752023158</c:v>
                </c:pt>
                <c:pt idx="6022">
                  <c:v>2080.6255476665647</c:v>
                </c:pt>
                <c:pt idx="6023">
                  <c:v>2088.410652547278</c:v>
                </c:pt>
                <c:pt idx="6024">
                  <c:v>2098.0030816571493</c:v>
                </c:pt>
                <c:pt idx="6025">
                  <c:v>2101.2231892798122</c:v>
                </c:pt>
                <c:pt idx="6026">
                  <c:v>2177.7506409807615</c:v>
                </c:pt>
                <c:pt idx="6027">
                  <c:v>2249.997108298619</c:v>
                </c:pt>
                <c:pt idx="6028">
                  <c:v>2365.8562658536939</c:v>
                </c:pt>
                <c:pt idx="6029">
                  <c:v>2391.4853276408967</c:v>
                </c:pt>
                <c:pt idx="6030">
                  <c:v>2235.82035079978</c:v>
                </c:pt>
                <c:pt idx="6031">
                  <c:v>1837.3059073198731</c:v>
                </c:pt>
                <c:pt idx="6032">
                  <c:v>1712.5287315123037</c:v>
                </c:pt>
                <c:pt idx="6033">
                  <c:v>1641.6509832901252</c:v>
                </c:pt>
                <c:pt idx="6034">
                  <c:v>1535.9880952252479</c:v>
                </c:pt>
                <c:pt idx="6035">
                  <c:v>1480.4575465434159</c:v>
                </c:pt>
                <c:pt idx="6036">
                  <c:v>1478.98098603481</c:v>
                </c:pt>
                <c:pt idx="6037">
                  <c:v>1530.634726702117</c:v>
                </c:pt>
                <c:pt idx="6038">
                  <c:v>1615.0142886245744</c:v>
                </c:pt>
                <c:pt idx="6039">
                  <c:v>1742.1127607424837</c:v>
                </c:pt>
                <c:pt idx="6040">
                  <c:v>1900.3264583532643</c:v>
                </c:pt>
                <c:pt idx="6041">
                  <c:v>2066.4258087173303</c:v>
                </c:pt>
                <c:pt idx="6042">
                  <c:v>2031.9073163853338</c:v>
                </c:pt>
                <c:pt idx="6043">
                  <c:v>1933.9273936036495</c:v>
                </c:pt>
                <c:pt idx="6044">
                  <c:v>1850.9487412980232</c:v>
                </c:pt>
                <c:pt idx="6045">
                  <c:v>1795.4659514632447</c:v>
                </c:pt>
                <c:pt idx="6046">
                  <c:v>1781.960706954098</c:v>
                </c:pt>
                <c:pt idx="6047">
                  <c:v>1791.4212527787436</c:v>
                </c:pt>
                <c:pt idx="6048">
                  <c:v>1845.4000274432763</c:v>
                </c:pt>
                <c:pt idx="6049">
                  <c:v>1899.3576859515556</c:v>
                </c:pt>
                <c:pt idx="6050">
                  <c:v>2093.6889872109464</c:v>
                </c:pt>
                <c:pt idx="6051">
                  <c:v>2255.4402921544033</c:v>
                </c:pt>
                <c:pt idx="6052">
                  <c:v>2474.6215492494416</c:v>
                </c:pt>
                <c:pt idx="6053">
                  <c:v>2345.8867948055154</c:v>
                </c:pt>
                <c:pt idx="6054">
                  <c:v>2287.4833655173525</c:v>
                </c:pt>
                <c:pt idx="6055">
                  <c:v>2230.7771846239834</c:v>
                </c:pt>
                <c:pt idx="6056">
                  <c:v>2061.9905160197909</c:v>
                </c:pt>
                <c:pt idx="6057">
                  <c:v>1985.0039879097822</c:v>
                </c:pt>
                <c:pt idx="6058">
                  <c:v>1864.6820032727694</c:v>
                </c:pt>
                <c:pt idx="6059">
                  <c:v>1880.9718174131349</c:v>
                </c:pt>
                <c:pt idx="6060">
                  <c:v>1876.0902891311969</c:v>
                </c:pt>
                <c:pt idx="6061">
                  <c:v>1869.4317088806195</c:v>
                </c:pt>
                <c:pt idx="6062">
                  <c:v>1909.369189211046</c:v>
                </c:pt>
                <c:pt idx="6063">
                  <c:v>1997.9869740852284</c:v>
                </c:pt>
                <c:pt idx="6064">
                  <c:v>2170.9616992759807</c:v>
                </c:pt>
                <c:pt idx="6065">
                  <c:v>2255.9519320718614</c:v>
                </c:pt>
                <c:pt idx="6066">
                  <c:v>2209.0708489763006</c:v>
                </c:pt>
                <c:pt idx="6067">
                  <c:v>2132.5671557496235</c:v>
                </c:pt>
                <c:pt idx="6068">
                  <c:v>1999.2829150386876</c:v>
                </c:pt>
                <c:pt idx="6069">
                  <c:v>1946.9114571284349</c:v>
                </c:pt>
                <c:pt idx="6070">
                  <c:v>1898.6284673355094</c:v>
                </c:pt>
                <c:pt idx="6071">
                  <c:v>1885.0557211294863</c:v>
                </c:pt>
                <c:pt idx="6072">
                  <c:v>1835.0851086458454</c:v>
                </c:pt>
                <c:pt idx="6073">
                  <c:v>1830.3482220208041</c:v>
                </c:pt>
                <c:pt idx="6074">
                  <c:v>1816.1587154330814</c:v>
                </c:pt>
                <c:pt idx="6075">
                  <c:v>1816.9538096201391</c:v>
                </c:pt>
                <c:pt idx="6076">
                  <c:v>1811.9998837902485</c:v>
                </c:pt>
                <c:pt idx="6077">
                  <c:v>1808.22905462474</c:v>
                </c:pt>
                <c:pt idx="6078">
                  <c:v>1811.4147383969066</c:v>
                </c:pt>
                <c:pt idx="6079">
                  <c:v>1963.9258878066767</c:v>
                </c:pt>
                <c:pt idx="6080">
                  <c:v>1877.8489377015735</c:v>
                </c:pt>
                <c:pt idx="6081">
                  <c:v>1812.0586547529226</c:v>
                </c:pt>
                <c:pt idx="6082">
                  <c:v>1750.2653646082101</c:v>
                </c:pt>
                <c:pt idx="6083">
                  <c:v>1698.8828986479045</c:v>
                </c:pt>
                <c:pt idx="6084">
                  <c:v>1653.5806199533115</c:v>
                </c:pt>
                <c:pt idx="6085">
                  <c:v>1717.1414259141768</c:v>
                </c:pt>
                <c:pt idx="6086">
                  <c:v>1831.574866969263</c:v>
                </c:pt>
                <c:pt idx="6087">
                  <c:v>1871.052864632187</c:v>
                </c:pt>
                <c:pt idx="6088">
                  <c:v>2005.0452891638133</c:v>
                </c:pt>
                <c:pt idx="6089">
                  <c:v>2136.0503648583517</c:v>
                </c:pt>
                <c:pt idx="6090">
                  <c:v>2133.7094769530122</c:v>
                </c:pt>
                <c:pt idx="6091">
                  <c:v>2057.3518156170976</c:v>
                </c:pt>
                <c:pt idx="6092">
                  <c:v>2011.0532072024523</c:v>
                </c:pt>
                <c:pt idx="6093">
                  <c:v>1968.5360916914003</c:v>
                </c:pt>
                <c:pt idx="6094">
                  <c:v>1913.6048517516965</c:v>
                </c:pt>
                <c:pt idx="6095">
                  <c:v>1873.7364774021598</c:v>
                </c:pt>
                <c:pt idx="6096">
                  <c:v>1863.7853199028564</c:v>
                </c:pt>
                <c:pt idx="6097">
                  <c:v>1842.0536422466464</c:v>
                </c:pt>
                <c:pt idx="6098">
                  <c:v>1840.3576885276161</c:v>
                </c:pt>
                <c:pt idx="6099">
                  <c:v>1854.3855228205639</c:v>
                </c:pt>
                <c:pt idx="6100">
                  <c:v>1892.2612317234871</c:v>
                </c:pt>
                <c:pt idx="6101">
                  <c:v>1915.5335757232738</c:v>
                </c:pt>
                <c:pt idx="6102">
                  <c:v>1963.5625480562883</c:v>
                </c:pt>
                <c:pt idx="6103">
                  <c:v>2006.7047074713271</c:v>
                </c:pt>
                <c:pt idx="6104">
                  <c:v>2092.2861713465013</c:v>
                </c:pt>
                <c:pt idx="6105">
                  <c:v>2078.302467969027</c:v>
                </c:pt>
                <c:pt idx="6106">
                  <c:v>2046.4834952816072</c:v>
                </c:pt>
                <c:pt idx="6107">
                  <c:v>2036.2667310358393</c:v>
                </c:pt>
                <c:pt idx="6108">
                  <c:v>2088.3609945512121</c:v>
                </c:pt>
                <c:pt idx="6109">
                  <c:v>2114.9644863257813</c:v>
                </c:pt>
                <c:pt idx="6110">
                  <c:v>2087.8088106963896</c:v>
                </c:pt>
                <c:pt idx="6111">
                  <c:v>2141.6070520810904</c:v>
                </c:pt>
                <c:pt idx="6112">
                  <c:v>2083.5261259251374</c:v>
                </c:pt>
                <c:pt idx="6113">
                  <c:v>2162.1133204916055</c:v>
                </c:pt>
                <c:pt idx="6114">
                  <c:v>2185.5704547481364</c:v>
                </c:pt>
                <c:pt idx="6115">
                  <c:v>2075.7750539257731</c:v>
                </c:pt>
                <c:pt idx="6116">
                  <c:v>1983.3066406806083</c:v>
                </c:pt>
                <c:pt idx="6117">
                  <c:v>1903.7549104856294</c:v>
                </c:pt>
                <c:pt idx="6118">
                  <c:v>1816.1405419203088</c:v>
                </c:pt>
                <c:pt idx="6119">
                  <c:v>1799.3620431026588</c:v>
                </c:pt>
                <c:pt idx="6120">
                  <c:v>1778.6079248251285</c:v>
                </c:pt>
                <c:pt idx="6121">
                  <c:v>1776.7903649581801</c:v>
                </c:pt>
                <c:pt idx="6122">
                  <c:v>1779.1837366491593</c:v>
                </c:pt>
                <c:pt idx="6123">
                  <c:v>1879.9896264697852</c:v>
                </c:pt>
                <c:pt idx="6124">
                  <c:v>2086.8712137157713</c:v>
                </c:pt>
                <c:pt idx="6125">
                  <c:v>2162.7590944971157</c:v>
                </c:pt>
                <c:pt idx="6126">
                  <c:v>2167.5307981259853</c:v>
                </c:pt>
                <c:pt idx="6127">
                  <c:v>2283.1089804616372</c:v>
                </c:pt>
                <c:pt idx="6128">
                  <c:v>2217.4873553780062</c:v>
                </c:pt>
                <c:pt idx="6129">
                  <c:v>2130.1465762099297</c:v>
                </c:pt>
                <c:pt idx="6130">
                  <c:v>2071.0729351603936</c:v>
                </c:pt>
                <c:pt idx="6131">
                  <c:v>1987.1170467354939</c:v>
                </c:pt>
                <c:pt idx="6132">
                  <c:v>2003.3848344604328</c:v>
                </c:pt>
                <c:pt idx="6133">
                  <c:v>2004.6912387529867</c:v>
                </c:pt>
                <c:pt idx="6134">
                  <c:v>2072.3697547023403</c:v>
                </c:pt>
                <c:pt idx="6135">
                  <c:v>2203.6119111388743</c:v>
                </c:pt>
                <c:pt idx="6136">
                  <c:v>2506.2618561353561</c:v>
                </c:pt>
                <c:pt idx="6137">
                  <c:v>2881.1163228114929</c:v>
                </c:pt>
                <c:pt idx="6138">
                  <c:v>3002.4080758386563</c:v>
                </c:pt>
                <c:pt idx="6139">
                  <c:v>2991.8514054192265</c:v>
                </c:pt>
                <c:pt idx="6140">
                  <c:v>3003.8516955585014</c:v>
                </c:pt>
                <c:pt idx="6141">
                  <c:v>3000.5488236989854</c:v>
                </c:pt>
                <c:pt idx="6142">
                  <c:v>2883.8341612171571</c:v>
                </c:pt>
                <c:pt idx="6143">
                  <c:v>2812.549539703763</c:v>
                </c:pt>
                <c:pt idx="6144">
                  <c:v>2777.4909163968014</c:v>
                </c:pt>
                <c:pt idx="6145">
                  <c:v>2781.5364325126056</c:v>
                </c:pt>
                <c:pt idx="6146">
                  <c:v>2895.295770680425</c:v>
                </c:pt>
                <c:pt idx="6147">
                  <c:v>3185.4513071536717</c:v>
                </c:pt>
                <c:pt idx="6148">
                  <c:v>3497.6277341569485</c:v>
                </c:pt>
                <c:pt idx="6149">
                  <c:v>3566.6801277013255</c:v>
                </c:pt>
                <c:pt idx="6150">
                  <c:v>3423.8482642552572</c:v>
                </c:pt>
                <c:pt idx="6151">
                  <c:v>3226.1529334053234</c:v>
                </c:pt>
                <c:pt idx="6152">
                  <c:v>2952.8999973292111</c:v>
                </c:pt>
                <c:pt idx="6153">
                  <c:v>2777.0077506094153</c:v>
                </c:pt>
                <c:pt idx="6154">
                  <c:v>2153.1068733179991</c:v>
                </c:pt>
                <c:pt idx="6155">
                  <c:v>2688.4176317167889</c:v>
                </c:pt>
                <c:pt idx="6156">
                  <c:v>2477.7357648444486</c:v>
                </c:pt>
                <c:pt idx="6157">
                  <c:v>2471.3046805852596</c:v>
                </c:pt>
                <c:pt idx="6158">
                  <c:v>2473.1907053747482</c:v>
                </c:pt>
                <c:pt idx="6159">
                  <c:v>2691.9189733848175</c:v>
                </c:pt>
                <c:pt idx="6160">
                  <c:v>2943.5749064786037</c:v>
                </c:pt>
                <c:pt idx="6161">
                  <c:v>3251.4514668179263</c:v>
                </c:pt>
                <c:pt idx="6162">
                  <c:v>3446.5810915821603</c:v>
                </c:pt>
                <c:pt idx="6163">
                  <c:v>3476.0655498165893</c:v>
                </c:pt>
                <c:pt idx="6164">
                  <c:v>3473.0783309385197</c:v>
                </c:pt>
                <c:pt idx="6165">
                  <c:v>3540.0843291729989</c:v>
                </c:pt>
                <c:pt idx="6166">
                  <c:v>3474.8327492882531</c:v>
                </c:pt>
                <c:pt idx="6167">
                  <c:v>3482.8845005875755</c:v>
                </c:pt>
                <c:pt idx="6168">
                  <c:v>3558.8128521360813</c:v>
                </c:pt>
                <c:pt idx="6169">
                  <c:v>3490.0746727411647</c:v>
                </c:pt>
                <c:pt idx="6170">
                  <c:v>3620.4452710359328</c:v>
                </c:pt>
                <c:pt idx="6171">
                  <c:v>3854.6089037671013</c:v>
                </c:pt>
                <c:pt idx="6172">
                  <c:v>4227.3833496025272</c:v>
                </c:pt>
                <c:pt idx="6173">
                  <c:v>4206.0227824815229</c:v>
                </c:pt>
                <c:pt idx="6174">
                  <c:v>3882.6358557783697</c:v>
                </c:pt>
                <c:pt idx="6175">
                  <c:v>3594.3187588902802</c:v>
                </c:pt>
                <c:pt idx="6176">
                  <c:v>3378.1897138335112</c:v>
                </c:pt>
                <c:pt idx="6177">
                  <c:v>3282.7436713753</c:v>
                </c:pt>
                <c:pt idx="6178">
                  <c:v>3218.5054201777989</c:v>
                </c:pt>
                <c:pt idx="6179">
                  <c:v>3042.0229733141132</c:v>
                </c:pt>
                <c:pt idx="6180">
                  <c:v>2972.5537050945923</c:v>
                </c:pt>
                <c:pt idx="6181">
                  <c:v>3015.1554528668703</c:v>
                </c:pt>
                <c:pt idx="6182">
                  <c:v>3177.515142933963</c:v>
                </c:pt>
                <c:pt idx="6183">
                  <c:v>3244.3444526005692</c:v>
                </c:pt>
                <c:pt idx="6184">
                  <c:v>3357.1321548999113</c:v>
                </c:pt>
                <c:pt idx="6185">
                  <c:v>3541.3052488260605</c:v>
                </c:pt>
                <c:pt idx="6186">
                  <c:v>3363.9909053471624</c:v>
                </c:pt>
                <c:pt idx="6187">
                  <c:v>3297.4012002485238</c:v>
                </c:pt>
                <c:pt idx="6188">
                  <c:v>3186.5301351860317</c:v>
                </c:pt>
                <c:pt idx="6189">
                  <c:v>3080.5557675715368</c:v>
                </c:pt>
                <c:pt idx="6190">
                  <c:v>3078.7258676043798</c:v>
                </c:pt>
                <c:pt idx="6191">
                  <c:v>3048.1335409575113</c:v>
                </c:pt>
                <c:pt idx="6192">
                  <c:v>3054.9011988698262</c:v>
                </c:pt>
                <c:pt idx="6193">
                  <c:v>3078.3784243537161</c:v>
                </c:pt>
                <c:pt idx="6194">
                  <c:v>3196.4149857377502</c:v>
                </c:pt>
                <c:pt idx="6195">
                  <c:v>3474.9685198770494</c:v>
                </c:pt>
                <c:pt idx="6196">
                  <c:v>3746.3617904564467</c:v>
                </c:pt>
                <c:pt idx="6197">
                  <c:v>3819.8557589609809</c:v>
                </c:pt>
                <c:pt idx="6198">
                  <c:v>3754.9713591702121</c:v>
                </c:pt>
                <c:pt idx="6199">
                  <c:v>3626.1701776485174</c:v>
                </c:pt>
                <c:pt idx="6200">
                  <c:v>3478.6467805444877</c:v>
                </c:pt>
                <c:pt idx="6201">
                  <c:v>3431.9736733773798</c:v>
                </c:pt>
                <c:pt idx="6202">
                  <c:v>3325.1371920378297</c:v>
                </c:pt>
                <c:pt idx="6203">
                  <c:v>3261.8752290232351</c:v>
                </c:pt>
                <c:pt idx="6204">
                  <c:v>3091.215290724946</c:v>
                </c:pt>
                <c:pt idx="6205">
                  <c:v>3307.3367184359076</c:v>
                </c:pt>
                <c:pt idx="6206">
                  <c:v>3416.9262712722261</c:v>
                </c:pt>
                <c:pt idx="6207">
                  <c:v>3471.0342585095591</c:v>
                </c:pt>
                <c:pt idx="6208">
                  <c:v>3580.4744076192474</c:v>
                </c:pt>
                <c:pt idx="6209">
                  <c:v>3645.5014778397895</c:v>
                </c:pt>
                <c:pt idx="6210">
                  <c:v>3667.7841178452613</c:v>
                </c:pt>
                <c:pt idx="6211">
                  <c:v>3587.9268501764418</c:v>
                </c:pt>
                <c:pt idx="6212">
                  <c:v>3439.3994574084322</c:v>
                </c:pt>
                <c:pt idx="6213">
                  <c:v>3346.8755385574341</c:v>
                </c:pt>
                <c:pt idx="6214">
                  <c:v>3302.8669199809278</c:v>
                </c:pt>
                <c:pt idx="6215">
                  <c:v>3273.1633999861747</c:v>
                </c:pt>
                <c:pt idx="6216">
                  <c:v>3272.1824676795345</c:v>
                </c:pt>
                <c:pt idx="6217">
                  <c:v>3290.6721112241266</c:v>
                </c:pt>
                <c:pt idx="6218">
                  <c:v>3365.3222355609664</c:v>
                </c:pt>
                <c:pt idx="6219">
                  <c:v>3632.4693573266741</c:v>
                </c:pt>
                <c:pt idx="6220">
                  <c:v>4003.3568380808933</c:v>
                </c:pt>
                <c:pt idx="6221">
                  <c:v>4062.7567931197286</c:v>
                </c:pt>
                <c:pt idx="6222">
                  <c:v>3753.2317430434291</c:v>
                </c:pt>
                <c:pt idx="6223">
                  <c:v>3634.134807261556</c:v>
                </c:pt>
                <c:pt idx="6224">
                  <c:v>3416.2511052328236</c:v>
                </c:pt>
                <c:pt idx="6225">
                  <c:v>3253.0523080092012</c:v>
                </c:pt>
                <c:pt idx="6226">
                  <c:v>3151.039555405272</c:v>
                </c:pt>
                <c:pt idx="6227">
                  <c:v>3189.8240655374752</c:v>
                </c:pt>
                <c:pt idx="6228">
                  <c:v>3264.5615409000411</c:v>
                </c:pt>
                <c:pt idx="6229">
                  <c:v>3289.2341141429756</c:v>
                </c:pt>
                <c:pt idx="6230">
                  <c:v>3361.4203263443305</c:v>
                </c:pt>
                <c:pt idx="6231">
                  <c:v>3355.1817741862487</c:v>
                </c:pt>
                <c:pt idx="6232">
                  <c:v>3529.0999718157486</c:v>
                </c:pt>
                <c:pt idx="6233">
                  <c:v>3482.2334375776572</c:v>
                </c:pt>
                <c:pt idx="6234">
                  <c:v>3509.2541556811848</c:v>
                </c:pt>
                <c:pt idx="6235">
                  <c:v>3422.3553114368915</c:v>
                </c:pt>
                <c:pt idx="6236">
                  <c:v>3443.0796134025577</c:v>
                </c:pt>
                <c:pt idx="6237">
                  <c:v>3319.3316584135882</c:v>
                </c:pt>
                <c:pt idx="6238">
                  <c:v>3250.9055750545554</c:v>
                </c:pt>
                <c:pt idx="6239">
                  <c:v>3310.0905341937755</c:v>
                </c:pt>
                <c:pt idx="6240">
                  <c:v>3286.6640724496974</c:v>
                </c:pt>
                <c:pt idx="6241">
                  <c:v>3406.4159891236518</c:v>
                </c:pt>
                <c:pt idx="6242">
                  <c:v>3506.2629533953968</c:v>
                </c:pt>
                <c:pt idx="6243">
                  <c:v>3630.3294586874504</c:v>
                </c:pt>
                <c:pt idx="6244">
                  <c:v>3710.5471878966405</c:v>
                </c:pt>
                <c:pt idx="6245">
                  <c:v>3844.6745322769361</c:v>
                </c:pt>
                <c:pt idx="6246">
                  <c:v>3933.6759414292542</c:v>
                </c:pt>
                <c:pt idx="6247">
                  <c:v>3792.854673405925</c:v>
                </c:pt>
                <c:pt idx="6248">
                  <c:v>3698.9182310794586</c:v>
                </c:pt>
                <c:pt idx="6249">
                  <c:v>3736.5971367071602</c:v>
                </c:pt>
                <c:pt idx="6250">
                  <c:v>3755.4328987941058</c:v>
                </c:pt>
                <c:pt idx="6251">
                  <c:v>3495.0998614348077</c:v>
                </c:pt>
                <c:pt idx="6252">
                  <c:v>3265.5198565152109</c:v>
                </c:pt>
                <c:pt idx="6253">
                  <c:v>3263.3903125518696</c:v>
                </c:pt>
                <c:pt idx="6254">
                  <c:v>3262.712046061607</c:v>
                </c:pt>
                <c:pt idx="6255">
                  <c:v>3410.2642471076697</c:v>
                </c:pt>
                <c:pt idx="6256">
                  <c:v>3559.2475983603981</c:v>
                </c:pt>
                <c:pt idx="6257">
                  <c:v>3620.4491545171791</c:v>
                </c:pt>
                <c:pt idx="6258">
                  <c:v>3629.0380706679944</c:v>
                </c:pt>
                <c:pt idx="6259">
                  <c:v>3541.896373426327</c:v>
                </c:pt>
                <c:pt idx="6260">
                  <c:v>3378.6448139334543</c:v>
                </c:pt>
                <c:pt idx="6261">
                  <c:v>3321.3630636606099</c:v>
                </c:pt>
                <c:pt idx="6262">
                  <c:v>3217.5939498742323</c:v>
                </c:pt>
                <c:pt idx="6263">
                  <c:v>3203.8018443126543</c:v>
                </c:pt>
                <c:pt idx="6264">
                  <c:v>3182.751321731605</c:v>
                </c:pt>
                <c:pt idx="6265">
                  <c:v>3203.417218039569</c:v>
                </c:pt>
                <c:pt idx="6266">
                  <c:v>3238.6877209599425</c:v>
                </c:pt>
                <c:pt idx="6267">
                  <c:v>3338.4194405231005</c:v>
                </c:pt>
                <c:pt idx="6268">
                  <c:v>3415.8081219001551</c:v>
                </c:pt>
                <c:pt idx="6269">
                  <c:v>3480.2519409619504</c:v>
                </c:pt>
                <c:pt idx="6270">
                  <c:v>3646.8512065374393</c:v>
                </c:pt>
                <c:pt idx="6271">
                  <c:v>3822.3665797494382</c:v>
                </c:pt>
                <c:pt idx="6272">
                  <c:v>3884.779101681379</c:v>
                </c:pt>
                <c:pt idx="6273">
                  <c:v>3809.9390618972757</c:v>
                </c:pt>
                <c:pt idx="6274">
                  <c:v>3915.4778303631415</c:v>
                </c:pt>
                <c:pt idx="6275">
                  <c:v>3766.3828077287772</c:v>
                </c:pt>
                <c:pt idx="6276">
                  <c:v>3666.7672775342962</c:v>
                </c:pt>
                <c:pt idx="6277">
                  <c:v>3471.5679434080171</c:v>
                </c:pt>
                <c:pt idx="6278">
                  <c:v>3511.1393155333426</c:v>
                </c:pt>
                <c:pt idx="6279">
                  <c:v>3607.5830571957126</c:v>
                </c:pt>
                <c:pt idx="6280">
                  <c:v>3800.4450461650104</c:v>
                </c:pt>
                <c:pt idx="6281">
                  <c:v>3859.4225601327748</c:v>
                </c:pt>
                <c:pt idx="6282">
                  <c:v>3904.7637817569971</c:v>
                </c:pt>
                <c:pt idx="6283">
                  <c:v>3882.353365826526</c:v>
                </c:pt>
                <c:pt idx="6284">
                  <c:v>3807.5701388830848</c:v>
                </c:pt>
                <c:pt idx="6285">
                  <c:v>3803.3054780079201</c:v>
                </c:pt>
                <c:pt idx="6286">
                  <c:v>3764.9965556326292</c:v>
                </c:pt>
                <c:pt idx="6287">
                  <c:v>3770.2899972130799</c:v>
                </c:pt>
                <c:pt idx="6288">
                  <c:v>3774.4750991431401</c:v>
                </c:pt>
                <c:pt idx="6289">
                  <c:v>3822.7417861778981</c:v>
                </c:pt>
                <c:pt idx="6290">
                  <c:v>3948.4199116150785</c:v>
                </c:pt>
                <c:pt idx="6291">
                  <c:v>4106.1522781540225</c:v>
                </c:pt>
                <c:pt idx="6292">
                  <c:v>4170.3132621627165</c:v>
                </c:pt>
                <c:pt idx="6293">
                  <c:v>4247.2244435287357</c:v>
                </c:pt>
                <c:pt idx="6294">
                  <c:v>4156.342317156912</c:v>
                </c:pt>
                <c:pt idx="6295">
                  <c:v>4011.7056139923252</c:v>
                </c:pt>
                <c:pt idx="6296">
                  <c:v>3981.8112016734876</c:v>
                </c:pt>
                <c:pt idx="6297">
                  <c:v>3709.7227469975328</c:v>
                </c:pt>
                <c:pt idx="6298">
                  <c:v>3547.9915125316747</c:v>
                </c:pt>
                <c:pt idx="6299">
                  <c:v>3576.7886180655014</c:v>
                </c:pt>
                <c:pt idx="6300">
                  <c:v>3495.4410721130662</c:v>
                </c:pt>
                <c:pt idx="6301">
                  <c:v>3518.0454469636115</c:v>
                </c:pt>
                <c:pt idx="6302">
                  <c:v>3662.0008694623903</c:v>
                </c:pt>
                <c:pt idx="6303">
                  <c:v>3833.2300015036208</c:v>
                </c:pt>
                <c:pt idx="6304">
                  <c:v>4098.2251165995713</c:v>
                </c:pt>
                <c:pt idx="6305">
                  <c:v>4258.9028628574097</c:v>
                </c:pt>
                <c:pt idx="6306">
                  <c:v>4316.747946704364</c:v>
                </c:pt>
                <c:pt idx="6307">
                  <c:v>4168.2867571351417</c:v>
                </c:pt>
                <c:pt idx="6308">
                  <c:v>4020.3401817975441</c:v>
                </c:pt>
                <c:pt idx="6309">
                  <c:v>3973.5761142387032</c:v>
                </c:pt>
                <c:pt idx="6310">
                  <c:v>3865.4035488063096</c:v>
                </c:pt>
                <c:pt idx="6311">
                  <c:v>3840.6202717757724</c:v>
                </c:pt>
                <c:pt idx="6312">
                  <c:v>3857.5578453459743</c:v>
                </c:pt>
                <c:pt idx="6313">
                  <c:v>3838.9917274717945</c:v>
                </c:pt>
                <c:pt idx="6314">
                  <c:v>3977.01339157128</c:v>
                </c:pt>
                <c:pt idx="6315">
                  <c:v>4383.2673647239781</c:v>
                </c:pt>
                <c:pt idx="6316">
                  <c:v>4774.7347602445398</c:v>
                </c:pt>
                <c:pt idx="6317">
                  <c:v>4913.1513124651219</c:v>
                </c:pt>
                <c:pt idx="6318">
                  <c:v>4839.5881091127731</c:v>
                </c:pt>
                <c:pt idx="6319">
                  <c:v>4642.6098839339356</c:v>
                </c:pt>
                <c:pt idx="6320">
                  <c:v>4112.6836312561272</c:v>
                </c:pt>
                <c:pt idx="6321">
                  <c:v>3845.6738974683399</c:v>
                </c:pt>
                <c:pt idx="6322">
                  <c:v>3739.6612978764911</c:v>
                </c:pt>
                <c:pt idx="6323">
                  <c:v>3641.7293163213226</c:v>
                </c:pt>
                <c:pt idx="6324">
                  <c:v>3784.6197279431772</c:v>
                </c:pt>
                <c:pt idx="6325">
                  <c:v>4169.3919641179418</c:v>
                </c:pt>
                <c:pt idx="6326">
                  <c:v>4214.0005243042315</c:v>
                </c:pt>
                <c:pt idx="6327">
                  <c:v>4273.764102491481</c:v>
                </c:pt>
                <c:pt idx="6328">
                  <c:v>4336.2873407700899</c:v>
                </c:pt>
                <c:pt idx="6329">
                  <c:v>4504.020923056336</c:v>
                </c:pt>
                <c:pt idx="6330">
                  <c:v>4613.5278257794771</c:v>
                </c:pt>
                <c:pt idx="6331">
                  <c:v>4642.4190396619251</c:v>
                </c:pt>
                <c:pt idx="6332">
                  <c:v>4580.247564406216</c:v>
                </c:pt>
                <c:pt idx="6333">
                  <c:v>4508.5008359268286</c:v>
                </c:pt>
                <c:pt idx="6334">
                  <c:v>4537.308760821933</c:v>
                </c:pt>
                <c:pt idx="6335">
                  <c:v>4529.880628245769</c:v>
                </c:pt>
                <c:pt idx="6336">
                  <c:v>4555.5852055052665</c:v>
                </c:pt>
                <c:pt idx="6337">
                  <c:v>4642.5777141625431</c:v>
                </c:pt>
                <c:pt idx="6338">
                  <c:v>4848.9245189570183</c:v>
                </c:pt>
                <c:pt idx="6339">
                  <c:v>5297.2519761311487</c:v>
                </c:pt>
                <c:pt idx="6340">
                  <c:v>5717.0511687501184</c:v>
                </c:pt>
                <c:pt idx="6341">
                  <c:v>5455.8034208485424</c:v>
                </c:pt>
                <c:pt idx="6342">
                  <c:v>4899.9302757694622</c:v>
                </c:pt>
                <c:pt idx="6343">
                  <c:v>4425.212566089449</c:v>
                </c:pt>
                <c:pt idx="6344">
                  <c:v>3955.7195398404874</c:v>
                </c:pt>
                <c:pt idx="6345">
                  <c:v>3684.5973359244531</c:v>
                </c:pt>
                <c:pt idx="6346">
                  <c:v>3573.1851067674065</c:v>
                </c:pt>
                <c:pt idx="6347">
                  <c:v>3309.0932652740962</c:v>
                </c:pt>
                <c:pt idx="6348">
                  <c:v>3213.8811479563446</c:v>
                </c:pt>
                <c:pt idx="6349">
                  <c:v>3408.204541919345</c:v>
                </c:pt>
                <c:pt idx="6350">
                  <c:v>3705.4832834286258</c:v>
                </c:pt>
                <c:pt idx="6351">
                  <c:v>3783.6989109651877</c:v>
                </c:pt>
                <c:pt idx="6352">
                  <c:v>3869.8261792363264</c:v>
                </c:pt>
                <c:pt idx="6353">
                  <c:v>4164.0326185720714</c:v>
                </c:pt>
                <c:pt idx="6354">
                  <c:v>4260.1769892614047</c:v>
                </c:pt>
                <c:pt idx="6355">
                  <c:v>4218.3489022670328</c:v>
                </c:pt>
                <c:pt idx="6356">
                  <c:v>4174.5205428551189</c:v>
                </c:pt>
                <c:pt idx="6357">
                  <c:v>4071.3708388670616</c:v>
                </c:pt>
                <c:pt idx="6358">
                  <c:v>3938.0015268736784</c:v>
                </c:pt>
                <c:pt idx="6359">
                  <c:v>3951.8044042905071</c:v>
                </c:pt>
                <c:pt idx="6360">
                  <c:v>3869.8861536850336</c:v>
                </c:pt>
                <c:pt idx="6361">
                  <c:v>3798.1645537100712</c:v>
                </c:pt>
                <c:pt idx="6362">
                  <c:v>3784.9204989789132</c:v>
                </c:pt>
                <c:pt idx="6363">
                  <c:v>3922.1218481050914</c:v>
                </c:pt>
                <c:pt idx="6364">
                  <c:v>4057.5026952668868</c:v>
                </c:pt>
                <c:pt idx="6365">
                  <c:v>4007.0081732055505</c:v>
                </c:pt>
                <c:pt idx="6366">
                  <c:v>3898.9047574377496</c:v>
                </c:pt>
                <c:pt idx="6367">
                  <c:v>3734.6852713688777</c:v>
                </c:pt>
                <c:pt idx="6368">
                  <c:v>3622.9373023713974</c:v>
                </c:pt>
                <c:pt idx="6369">
                  <c:v>3447.8584320146447</c:v>
                </c:pt>
                <c:pt idx="6370">
                  <c:v>3480.2119589062231</c:v>
                </c:pt>
                <c:pt idx="6371">
                  <c:v>3615.6712794730897</c:v>
                </c:pt>
                <c:pt idx="6372">
                  <c:v>3524.9190045482301</c:v>
                </c:pt>
                <c:pt idx="6373">
                  <c:v>3567.4086004181336</c:v>
                </c:pt>
                <c:pt idx="6374">
                  <c:v>3570.3240524317207</c:v>
                </c:pt>
                <c:pt idx="6375">
                  <c:v>3646.7239373434013</c:v>
                </c:pt>
                <c:pt idx="6376">
                  <c:v>3807.0839217890052</c:v>
                </c:pt>
                <c:pt idx="6377">
                  <c:v>3823.3711651434164</c:v>
                </c:pt>
                <c:pt idx="6378">
                  <c:v>3772.8343785528423</c:v>
                </c:pt>
                <c:pt idx="6379">
                  <c:v>3776.8382013038317</c:v>
                </c:pt>
                <c:pt idx="6380">
                  <c:v>3598.1600362184699</c:v>
                </c:pt>
                <c:pt idx="6381">
                  <c:v>3549.4439743791668</c:v>
                </c:pt>
                <c:pt idx="6382">
                  <c:v>3520.6423574108553</c:v>
                </c:pt>
                <c:pt idx="6383">
                  <c:v>3490.90215839441</c:v>
                </c:pt>
                <c:pt idx="6384">
                  <c:v>3504.0268992799943</c:v>
                </c:pt>
                <c:pt idx="6385">
                  <c:v>3553.8775093536842</c:v>
                </c:pt>
                <c:pt idx="6386">
                  <c:v>3631.0556156219232</c:v>
                </c:pt>
                <c:pt idx="6387">
                  <c:v>3825.0059048886515</c:v>
                </c:pt>
                <c:pt idx="6388">
                  <c:v>4082.9606239612162</c:v>
                </c:pt>
                <c:pt idx="6389">
                  <c:v>4262.0827492560675</c:v>
                </c:pt>
                <c:pt idx="6390">
                  <c:v>4255.0834519530827</c:v>
                </c:pt>
                <c:pt idx="6391">
                  <c:v>4211.6642379310151</c:v>
                </c:pt>
                <c:pt idx="6392">
                  <c:v>4130.6114925441325</c:v>
                </c:pt>
                <c:pt idx="6393">
                  <c:v>4032.74769360557</c:v>
                </c:pt>
                <c:pt idx="6394">
                  <c:v>3980.1647683468564</c:v>
                </c:pt>
                <c:pt idx="6395">
                  <c:v>3961.4451022546714</c:v>
                </c:pt>
                <c:pt idx="6396">
                  <c:v>3958.1964200294187</c:v>
                </c:pt>
                <c:pt idx="6397">
                  <c:v>3890.2488758075187</c:v>
                </c:pt>
                <c:pt idx="6398">
                  <c:v>3888.3865308616364</c:v>
                </c:pt>
                <c:pt idx="6399">
                  <c:v>3888.0919028467129</c:v>
                </c:pt>
                <c:pt idx="6400">
                  <c:v>3885.5230728301626</c:v>
                </c:pt>
                <c:pt idx="6401">
                  <c:v>3734.8931162462213</c:v>
                </c:pt>
                <c:pt idx="6402">
                  <c:v>3648.6711078508988</c:v>
                </c:pt>
                <c:pt idx="6403">
                  <c:v>3501.7751436033936</c:v>
                </c:pt>
                <c:pt idx="6404">
                  <c:v>3400.4134725749577</c:v>
                </c:pt>
                <c:pt idx="6405">
                  <c:v>3361.0572219398955</c:v>
                </c:pt>
                <c:pt idx="6406">
                  <c:v>3332.221331829865</c:v>
                </c:pt>
                <c:pt idx="6407">
                  <c:v>3285.8303340203338</c:v>
                </c:pt>
                <c:pt idx="6408">
                  <c:v>3273.8537717767394</c:v>
                </c:pt>
                <c:pt idx="6409">
                  <c:v>3256.6500432295929</c:v>
                </c:pt>
                <c:pt idx="6410">
                  <c:v>3272.6559023759069</c:v>
                </c:pt>
                <c:pt idx="6411">
                  <c:v>3323.1399032172403</c:v>
                </c:pt>
                <c:pt idx="6412">
                  <c:v>3443.8117468137239</c:v>
                </c:pt>
                <c:pt idx="6413">
                  <c:v>3453.3860985149709</c:v>
                </c:pt>
                <c:pt idx="6414">
                  <c:v>3482.2520348223543</c:v>
                </c:pt>
                <c:pt idx="6415">
                  <c:v>3466.2682599723739</c:v>
                </c:pt>
                <c:pt idx="6416">
                  <c:v>3441.4230181543871</c:v>
                </c:pt>
                <c:pt idx="6417">
                  <c:v>3252.964745663558</c:v>
                </c:pt>
                <c:pt idx="6418">
                  <c:v>3206.4644992797994</c:v>
                </c:pt>
                <c:pt idx="6419">
                  <c:v>3139.8865303541679</c:v>
                </c:pt>
                <c:pt idx="6420">
                  <c:v>2990.0256406606582</c:v>
                </c:pt>
                <c:pt idx="6421">
                  <c:v>2993.6944853057939</c:v>
                </c:pt>
                <c:pt idx="6422">
                  <c:v>3022.0454950430731</c:v>
                </c:pt>
                <c:pt idx="6423">
                  <c:v>3095.743851951906</c:v>
                </c:pt>
                <c:pt idx="6424">
                  <c:v>3181.8292466629528</c:v>
                </c:pt>
                <c:pt idx="6425">
                  <c:v>3197.8644093836597</c:v>
                </c:pt>
                <c:pt idx="6426">
                  <c:v>3081.8642757804632</c:v>
                </c:pt>
                <c:pt idx="6427">
                  <c:v>3187.8857191380966</c:v>
                </c:pt>
                <c:pt idx="6428">
                  <c:v>3290.0833537345466</c:v>
                </c:pt>
                <c:pt idx="6429">
                  <c:v>3228.3199487035304</c:v>
                </c:pt>
                <c:pt idx="6430">
                  <c:v>3183.0230316375037</c:v>
                </c:pt>
                <c:pt idx="6431">
                  <c:v>3161.7991022268106</c:v>
                </c:pt>
                <c:pt idx="6432">
                  <c:v>3133.4055030627474</c:v>
                </c:pt>
                <c:pt idx="6433">
                  <c:v>3161.000004428322</c:v>
                </c:pt>
                <c:pt idx="6434">
                  <c:v>3177.0334405506451</c:v>
                </c:pt>
                <c:pt idx="6435">
                  <c:v>3247.1144236841055</c:v>
                </c:pt>
                <c:pt idx="6436">
                  <c:v>3543.8264614215477</c:v>
                </c:pt>
                <c:pt idx="6437">
                  <c:v>3655.125089469353</c:v>
                </c:pt>
                <c:pt idx="6438">
                  <c:v>3568.977678096458</c:v>
                </c:pt>
                <c:pt idx="6439">
                  <c:v>3363.8965086860976</c:v>
                </c:pt>
                <c:pt idx="6440">
                  <c:v>3306.4369968644123</c:v>
                </c:pt>
                <c:pt idx="6441">
                  <c:v>3031.9627392451653</c:v>
                </c:pt>
                <c:pt idx="6442">
                  <c:v>2842.0967998146116</c:v>
                </c:pt>
                <c:pt idx="6443">
                  <c:v>2752.8871984995076</c:v>
                </c:pt>
                <c:pt idx="6444">
                  <c:v>2635.6414164447119</c:v>
                </c:pt>
                <c:pt idx="6445">
                  <c:v>2626.9659120948427</c:v>
                </c:pt>
                <c:pt idx="6446">
                  <c:v>2669.1718511119711</c:v>
                </c:pt>
                <c:pt idx="6447">
                  <c:v>2871.7823243076846</c:v>
                </c:pt>
                <c:pt idx="6448">
                  <c:v>3200.7441821863199</c:v>
                </c:pt>
                <c:pt idx="6449">
                  <c:v>3375.3871896540836</c:v>
                </c:pt>
                <c:pt idx="6450">
                  <c:v>3431.1693313502792</c:v>
                </c:pt>
                <c:pt idx="6451">
                  <c:v>3556.1230723192589</c:v>
                </c:pt>
                <c:pt idx="6452">
                  <c:v>3548.8001503049745</c:v>
                </c:pt>
                <c:pt idx="6453">
                  <c:v>3546.0464180921895</c:v>
                </c:pt>
                <c:pt idx="6454">
                  <c:v>3546.6495802830177</c:v>
                </c:pt>
                <c:pt idx="6455">
                  <c:v>3556.5824031858911</c:v>
                </c:pt>
                <c:pt idx="6456">
                  <c:v>3604.2448850813985</c:v>
                </c:pt>
                <c:pt idx="6457">
                  <c:v>3743.9356565338462</c:v>
                </c:pt>
                <c:pt idx="6458">
                  <c:v>3829.7365234482786</c:v>
                </c:pt>
                <c:pt idx="6459">
                  <c:v>4150.1616939581181</c:v>
                </c:pt>
                <c:pt idx="6460">
                  <c:v>4528.0685708873298</c:v>
                </c:pt>
                <c:pt idx="6461">
                  <c:v>4405.0039873754295</c:v>
                </c:pt>
                <c:pt idx="6462">
                  <c:v>4129.4084417100112</c:v>
                </c:pt>
                <c:pt idx="6463">
                  <c:v>3642.4380489185392</c:v>
                </c:pt>
                <c:pt idx="6464">
                  <c:v>3253.7809822170916</c:v>
                </c:pt>
                <c:pt idx="6465">
                  <c:v>3038.6346386569571</c:v>
                </c:pt>
                <c:pt idx="6466">
                  <c:v>2980.2629592305861</c:v>
                </c:pt>
                <c:pt idx="6467">
                  <c:v>2821.2170777842421</c:v>
                </c:pt>
                <c:pt idx="6468">
                  <c:v>2790.6123351367305</c:v>
                </c:pt>
                <c:pt idx="6469">
                  <c:v>2784.133818020126</c:v>
                </c:pt>
                <c:pt idx="6470">
                  <c:v>2952.401460884681</c:v>
                </c:pt>
                <c:pt idx="6471">
                  <c:v>3090.9434131828361</c:v>
                </c:pt>
                <c:pt idx="6472">
                  <c:v>3396.6756879470049</c:v>
                </c:pt>
                <c:pt idx="6473">
                  <c:v>3594.7049807106382</c:v>
                </c:pt>
                <c:pt idx="6474">
                  <c:v>3662.1185124063031</c:v>
                </c:pt>
                <c:pt idx="6475">
                  <c:v>3646.648009606155</c:v>
                </c:pt>
                <c:pt idx="6476">
                  <c:v>3562.2860194534542</c:v>
                </c:pt>
                <c:pt idx="6477">
                  <c:v>3506.1043493347502</c:v>
                </c:pt>
                <c:pt idx="6478">
                  <c:v>3409.033880853714</c:v>
                </c:pt>
                <c:pt idx="6479">
                  <c:v>3461.9086815079804</c:v>
                </c:pt>
                <c:pt idx="6480">
                  <c:v>3492.2651139714503</c:v>
                </c:pt>
                <c:pt idx="6481">
                  <c:v>3570.5029972628827</c:v>
                </c:pt>
                <c:pt idx="6482">
                  <c:v>3668.636631530414</c:v>
                </c:pt>
                <c:pt idx="6483">
                  <c:v>4072.4026239190603</c:v>
                </c:pt>
                <c:pt idx="6484">
                  <c:v>4474.040090720704</c:v>
                </c:pt>
                <c:pt idx="6485">
                  <c:v>4474.4477153716198</c:v>
                </c:pt>
                <c:pt idx="6486">
                  <c:v>4023.3253568243335</c:v>
                </c:pt>
                <c:pt idx="6487">
                  <c:v>3637.7068411749606</c:v>
                </c:pt>
                <c:pt idx="6488">
                  <c:v>3444.7257747981344</c:v>
                </c:pt>
                <c:pt idx="6489">
                  <c:v>3173.0525042379963</c:v>
                </c:pt>
                <c:pt idx="6490">
                  <c:v>3172.7263229379469</c:v>
                </c:pt>
                <c:pt idx="6491">
                  <c:v>3131.4738566514025</c:v>
                </c:pt>
                <c:pt idx="6492">
                  <c:v>3114.8207988647964</c:v>
                </c:pt>
                <c:pt idx="6493">
                  <c:v>3219.5289331744825</c:v>
                </c:pt>
                <c:pt idx="6494">
                  <c:v>3267.5394491427437</c:v>
                </c:pt>
                <c:pt idx="6495">
                  <c:v>3346.1450301800405</c:v>
                </c:pt>
                <c:pt idx="6496">
                  <c:v>3479.2623341638764</c:v>
                </c:pt>
                <c:pt idx="6497">
                  <c:v>3517.1018254542264</c:v>
                </c:pt>
                <c:pt idx="6498">
                  <c:v>3466.0271210143187</c:v>
                </c:pt>
                <c:pt idx="6499">
                  <c:v>3416.8679480675137</c:v>
                </c:pt>
                <c:pt idx="6500">
                  <c:v>3414.4873156365848</c:v>
                </c:pt>
                <c:pt idx="6501">
                  <c:v>3197.3327590536946</c:v>
                </c:pt>
                <c:pt idx="6502">
                  <c:v>3159.7104735123135</c:v>
                </c:pt>
                <c:pt idx="6503">
                  <c:v>3123.474968093848</c:v>
                </c:pt>
                <c:pt idx="6504">
                  <c:v>3156.4510401815696</c:v>
                </c:pt>
                <c:pt idx="6505">
                  <c:v>3169.0481174211841</c:v>
                </c:pt>
                <c:pt idx="6506">
                  <c:v>3210.5310944207085</c:v>
                </c:pt>
                <c:pt idx="6507">
                  <c:v>3422.7318682378373</c:v>
                </c:pt>
                <c:pt idx="6508">
                  <c:v>3651.2823356319832</c:v>
                </c:pt>
                <c:pt idx="6509">
                  <c:v>3695.2496146816738</c:v>
                </c:pt>
                <c:pt idx="6510">
                  <c:v>3632.9351140661001</c:v>
                </c:pt>
                <c:pt idx="6511">
                  <c:v>3564.0168152944425</c:v>
                </c:pt>
                <c:pt idx="6512">
                  <c:v>3398.8584736082435</c:v>
                </c:pt>
                <c:pt idx="6513">
                  <c:v>3377.1089937507409</c:v>
                </c:pt>
                <c:pt idx="6514">
                  <c:v>3362.6346868893033</c:v>
                </c:pt>
                <c:pt idx="6515">
                  <c:v>3423.065070055095</c:v>
                </c:pt>
                <c:pt idx="6516">
                  <c:v>3431.5721049259155</c:v>
                </c:pt>
                <c:pt idx="6517">
                  <c:v>3436.5453203872044</c:v>
                </c:pt>
                <c:pt idx="6518">
                  <c:v>3461.1072635587861</c:v>
                </c:pt>
                <c:pt idx="6519">
                  <c:v>3485.5661399462401</c:v>
                </c:pt>
                <c:pt idx="6520">
                  <c:v>3517.139640798257</c:v>
                </c:pt>
                <c:pt idx="6521">
                  <c:v>3510.9170157184926</c:v>
                </c:pt>
                <c:pt idx="6522">
                  <c:v>3488.7543065909072</c:v>
                </c:pt>
                <c:pt idx="6523">
                  <c:v>3389.0742790462623</c:v>
                </c:pt>
                <c:pt idx="6524">
                  <c:v>3165.1271408139924</c:v>
                </c:pt>
                <c:pt idx="6525">
                  <c:v>3049.5392710710298</c:v>
                </c:pt>
                <c:pt idx="6526">
                  <c:v>3030.6590116715474</c:v>
                </c:pt>
                <c:pt idx="6527">
                  <c:v>2993.3030913349339</c:v>
                </c:pt>
                <c:pt idx="6528">
                  <c:v>2987.2811792218608</c:v>
                </c:pt>
                <c:pt idx="6529">
                  <c:v>2992.2924355443006</c:v>
                </c:pt>
                <c:pt idx="6530">
                  <c:v>3052.5702069614813</c:v>
                </c:pt>
                <c:pt idx="6531">
                  <c:v>3389.7236848056764</c:v>
                </c:pt>
                <c:pt idx="6532">
                  <c:v>3595.7897202401823</c:v>
                </c:pt>
                <c:pt idx="6533">
                  <c:v>3636.368235440329</c:v>
                </c:pt>
                <c:pt idx="6534">
                  <c:v>3631.7320828896454</c:v>
                </c:pt>
                <c:pt idx="6535">
                  <c:v>3525.6413615465394</c:v>
                </c:pt>
                <c:pt idx="6536">
                  <c:v>3395.4763169188627</c:v>
                </c:pt>
                <c:pt idx="6537">
                  <c:v>3389.8217099443677</c:v>
                </c:pt>
                <c:pt idx="6538">
                  <c:v>3477.6846568024598</c:v>
                </c:pt>
                <c:pt idx="6539">
                  <c:v>3417.8467715433653</c:v>
                </c:pt>
                <c:pt idx="6540">
                  <c:v>3433.6502113283177</c:v>
                </c:pt>
                <c:pt idx="6541">
                  <c:v>3446.8714538834315</c:v>
                </c:pt>
                <c:pt idx="6542">
                  <c:v>3530.2056265565097</c:v>
                </c:pt>
                <c:pt idx="6543">
                  <c:v>3572.1855684793277</c:v>
                </c:pt>
                <c:pt idx="6544">
                  <c:v>3610.8221120787471</c:v>
                </c:pt>
                <c:pt idx="6545">
                  <c:v>3623.9532209562171</c:v>
                </c:pt>
                <c:pt idx="6546">
                  <c:v>3624.9296390981417</c:v>
                </c:pt>
                <c:pt idx="6547">
                  <c:v>3540.5977830562474</c:v>
                </c:pt>
                <c:pt idx="6548">
                  <c:v>3466.5717508647035</c:v>
                </c:pt>
                <c:pt idx="6549">
                  <c:v>3347.0556268095356</c:v>
                </c:pt>
                <c:pt idx="6550">
                  <c:v>3209.4950616745855</c:v>
                </c:pt>
                <c:pt idx="6551">
                  <c:v>3199.6896559442953</c:v>
                </c:pt>
                <c:pt idx="6552">
                  <c:v>3211.6245974472326</c:v>
                </c:pt>
                <c:pt idx="6553">
                  <c:v>3260.3578335345892</c:v>
                </c:pt>
                <c:pt idx="6554">
                  <c:v>3324.8848105326169</c:v>
                </c:pt>
                <c:pt idx="6555">
                  <c:v>3698.3863792584111</c:v>
                </c:pt>
                <c:pt idx="6556">
                  <c:v>4008.5370105482502</c:v>
                </c:pt>
                <c:pt idx="6557">
                  <c:v>4026.998594957955</c:v>
                </c:pt>
                <c:pt idx="6558">
                  <c:v>3963.048786162954</c:v>
                </c:pt>
                <c:pt idx="6559">
                  <c:v>3907.5538549888183</c:v>
                </c:pt>
                <c:pt idx="6560">
                  <c:v>3822.0058096929115</c:v>
                </c:pt>
                <c:pt idx="6561">
                  <c:v>3697.5523661677616</c:v>
                </c:pt>
                <c:pt idx="6562">
                  <c:v>3551.912225944553</c:v>
                </c:pt>
                <c:pt idx="6563">
                  <c:v>3384.0119444613442</c:v>
                </c:pt>
                <c:pt idx="6564">
                  <c:v>3340.1916872843485</c:v>
                </c:pt>
                <c:pt idx="6565">
                  <c:v>3427.1317334517912</c:v>
                </c:pt>
                <c:pt idx="6566">
                  <c:v>3482.6291185579744</c:v>
                </c:pt>
                <c:pt idx="6567">
                  <c:v>3490.9650618354403</c:v>
                </c:pt>
                <c:pt idx="6568">
                  <c:v>3509.0981600836876</c:v>
                </c:pt>
                <c:pt idx="6569">
                  <c:v>3454.4646993920719</c:v>
                </c:pt>
                <c:pt idx="6570">
                  <c:v>3456.4563278967726</c:v>
                </c:pt>
                <c:pt idx="6571">
                  <c:v>3351.6565413546978</c:v>
                </c:pt>
                <c:pt idx="6572">
                  <c:v>3191.757911969341</c:v>
                </c:pt>
                <c:pt idx="6573">
                  <c:v>3112.5067589636633</c:v>
                </c:pt>
                <c:pt idx="6574">
                  <c:v>3080.6242182968731</c:v>
                </c:pt>
                <c:pt idx="6575">
                  <c:v>3087.0381790903134</c:v>
                </c:pt>
                <c:pt idx="6576">
                  <c:v>3120.8914467017448</c:v>
                </c:pt>
                <c:pt idx="6577">
                  <c:v>3132.5230895206482</c:v>
                </c:pt>
                <c:pt idx="6578">
                  <c:v>3135.8135650371869</c:v>
                </c:pt>
                <c:pt idx="6579">
                  <c:v>3204.5671047143674</c:v>
                </c:pt>
                <c:pt idx="6580">
                  <c:v>3344.330269346397</c:v>
                </c:pt>
                <c:pt idx="6581">
                  <c:v>3374.5084297077406</c:v>
                </c:pt>
                <c:pt idx="6582">
                  <c:v>3502.9617109380238</c:v>
                </c:pt>
                <c:pt idx="6583">
                  <c:v>3386.6009399675499</c:v>
                </c:pt>
                <c:pt idx="6584">
                  <c:v>3272.7843073462368</c:v>
                </c:pt>
                <c:pt idx="6585">
                  <c:v>3143.2946389857857</c:v>
                </c:pt>
                <c:pt idx="6586">
                  <c:v>3087.7661046687344</c:v>
                </c:pt>
                <c:pt idx="6587">
                  <c:v>3029.2744222863657</c:v>
                </c:pt>
                <c:pt idx="6588">
                  <c:v>2951.0901552805885</c:v>
                </c:pt>
                <c:pt idx="6589">
                  <c:v>2927.5408757118657</c:v>
                </c:pt>
                <c:pt idx="6590">
                  <c:v>2928.5462195641471</c:v>
                </c:pt>
                <c:pt idx="6591">
                  <c:v>3047.2358801647315</c:v>
                </c:pt>
                <c:pt idx="6592">
                  <c:v>3188.8085799673663</c:v>
                </c:pt>
                <c:pt idx="6593">
                  <c:v>3073.2937390018733</c:v>
                </c:pt>
                <c:pt idx="6594">
                  <c:v>3003.0291969460632</c:v>
                </c:pt>
                <c:pt idx="6595">
                  <c:v>2874.0099622115504</c:v>
                </c:pt>
                <c:pt idx="6596">
                  <c:v>2952.0617485574544</c:v>
                </c:pt>
                <c:pt idx="6597">
                  <c:v>2976.5674735327889</c:v>
                </c:pt>
                <c:pt idx="6598">
                  <c:v>3009.5397904601436</c:v>
                </c:pt>
                <c:pt idx="6599">
                  <c:v>3034.6924645326135</c:v>
                </c:pt>
                <c:pt idx="6600">
                  <c:v>3055.5564784492303</c:v>
                </c:pt>
                <c:pt idx="6601">
                  <c:v>3093.9118147595518</c:v>
                </c:pt>
                <c:pt idx="6602">
                  <c:v>3115.4255751684709</c:v>
                </c:pt>
                <c:pt idx="6603">
                  <c:v>3205.7462054119669</c:v>
                </c:pt>
                <c:pt idx="6604">
                  <c:v>3313.5420147365166</c:v>
                </c:pt>
                <c:pt idx="6605">
                  <c:v>3338.8205519338162</c:v>
                </c:pt>
                <c:pt idx="6606">
                  <c:v>3304.7575752429934</c:v>
                </c:pt>
                <c:pt idx="6607">
                  <c:v>3178.7594797823626</c:v>
                </c:pt>
                <c:pt idx="6608">
                  <c:v>2999.0642625200735</c:v>
                </c:pt>
                <c:pt idx="6609">
                  <c:v>2986.4786801010036</c:v>
                </c:pt>
                <c:pt idx="6610">
                  <c:v>2928.9500371802983</c:v>
                </c:pt>
                <c:pt idx="6611">
                  <c:v>2804.9630269459331</c:v>
                </c:pt>
                <c:pt idx="6612">
                  <c:v>2695.451973178861</c:v>
                </c:pt>
                <c:pt idx="6613">
                  <c:v>2671.6964650298264</c:v>
                </c:pt>
                <c:pt idx="6614">
                  <c:v>2817.5962611869827</c:v>
                </c:pt>
                <c:pt idx="6615">
                  <c:v>2920.9200409113942</c:v>
                </c:pt>
                <c:pt idx="6616">
                  <c:v>3043.9658933972541</c:v>
                </c:pt>
                <c:pt idx="6617">
                  <c:v>3151.7779743553338</c:v>
                </c:pt>
                <c:pt idx="6618">
                  <c:v>3205.0906724670817</c:v>
                </c:pt>
                <c:pt idx="6619">
                  <c:v>3096.469957011981</c:v>
                </c:pt>
                <c:pt idx="6620">
                  <c:v>3078.0887997609889</c:v>
                </c:pt>
                <c:pt idx="6621">
                  <c:v>3041.4073170380211</c:v>
                </c:pt>
                <c:pt idx="6622">
                  <c:v>2960.9566777884338</c:v>
                </c:pt>
                <c:pt idx="6623">
                  <c:v>2977.5162224168798</c:v>
                </c:pt>
                <c:pt idx="6624">
                  <c:v>3013.0422012868171</c:v>
                </c:pt>
                <c:pt idx="6625">
                  <c:v>3050.7062468106606</c:v>
                </c:pt>
                <c:pt idx="6626">
                  <c:v>3187.856935945822</c:v>
                </c:pt>
                <c:pt idx="6627">
                  <c:v>3316.8208125070018</c:v>
                </c:pt>
                <c:pt idx="6628">
                  <c:v>3536.900904940399</c:v>
                </c:pt>
                <c:pt idx="6629">
                  <c:v>3676.2143485745328</c:v>
                </c:pt>
                <c:pt idx="6630">
                  <c:v>3388.2379370681665</c:v>
                </c:pt>
                <c:pt idx="6631">
                  <c:v>3307.3843751723034</c:v>
                </c:pt>
                <c:pt idx="6632">
                  <c:v>3218.1038353449458</c:v>
                </c:pt>
                <c:pt idx="6633">
                  <c:v>3067.636120582064</c:v>
                </c:pt>
                <c:pt idx="6634">
                  <c:v>2976.6516312797858</c:v>
                </c:pt>
                <c:pt idx="6635">
                  <c:v>2854.511716556437</c:v>
                </c:pt>
                <c:pt idx="6636">
                  <c:v>2708.6575906192579</c:v>
                </c:pt>
                <c:pt idx="6637">
                  <c:v>2704.1662730258595</c:v>
                </c:pt>
                <c:pt idx="6638">
                  <c:v>2629.7770261285286</c:v>
                </c:pt>
                <c:pt idx="6639">
                  <c:v>2572.2067373490368</c:v>
                </c:pt>
                <c:pt idx="6640">
                  <c:v>2734.2604028689934</c:v>
                </c:pt>
                <c:pt idx="6641">
                  <c:v>2847.6514513767647</c:v>
                </c:pt>
                <c:pt idx="6642">
                  <c:v>2847.256001920076</c:v>
                </c:pt>
                <c:pt idx="6643">
                  <c:v>2772.1256238607389</c:v>
                </c:pt>
                <c:pt idx="6644">
                  <c:v>2716.0096016117418</c:v>
                </c:pt>
                <c:pt idx="6645">
                  <c:v>2683.6158109045477</c:v>
                </c:pt>
                <c:pt idx="6646">
                  <c:v>2619.8727740059207</c:v>
                </c:pt>
                <c:pt idx="6647">
                  <c:v>2612.4225467585429</c:v>
                </c:pt>
                <c:pt idx="6648">
                  <c:v>2585.9397890959594</c:v>
                </c:pt>
                <c:pt idx="6649">
                  <c:v>2638.7827241266191</c:v>
                </c:pt>
                <c:pt idx="6650">
                  <c:v>2670.7448794352363</c:v>
                </c:pt>
                <c:pt idx="6651">
                  <c:v>2848.2530223886911</c:v>
                </c:pt>
                <c:pt idx="6652">
                  <c:v>3003.3623856582094</c:v>
                </c:pt>
                <c:pt idx="6653">
                  <c:v>3119.8599930998466</c:v>
                </c:pt>
                <c:pt idx="6654">
                  <c:v>3144.3132932625413</c:v>
                </c:pt>
                <c:pt idx="6655">
                  <c:v>3118.0601404221356</c:v>
                </c:pt>
                <c:pt idx="6656">
                  <c:v>3294.0652772988969</c:v>
                </c:pt>
                <c:pt idx="6657">
                  <c:v>3416.8897418672186</c:v>
                </c:pt>
                <c:pt idx="6658">
                  <c:v>3393.9180673385572</c:v>
                </c:pt>
                <c:pt idx="6659">
                  <c:v>3365.7628293950506</c:v>
                </c:pt>
                <c:pt idx="6660">
                  <c:v>3384.4857936068547</c:v>
                </c:pt>
                <c:pt idx="6661">
                  <c:v>3426.7488692700981</c:v>
                </c:pt>
                <c:pt idx="6662">
                  <c:v>3397.1550723638024</c:v>
                </c:pt>
                <c:pt idx="6663">
                  <c:v>3429.1228579557624</c:v>
                </c:pt>
                <c:pt idx="6664">
                  <c:v>3510.1113358779703</c:v>
                </c:pt>
                <c:pt idx="6665">
                  <c:v>3449.4216500701832</c:v>
                </c:pt>
                <c:pt idx="6666">
                  <c:v>3373.3588324374782</c:v>
                </c:pt>
                <c:pt idx="6667">
                  <c:v>3243.9821852851037</c:v>
                </c:pt>
                <c:pt idx="6668">
                  <c:v>3096.3288400839151</c:v>
                </c:pt>
                <c:pt idx="6669">
                  <c:v>3015.5967565611377</c:v>
                </c:pt>
                <c:pt idx="6670">
                  <c:v>2978.4142250346399</c:v>
                </c:pt>
                <c:pt idx="6671">
                  <c:v>2928.5987945395177</c:v>
                </c:pt>
                <c:pt idx="6672">
                  <c:v>2883.3976496251698</c:v>
                </c:pt>
                <c:pt idx="6673">
                  <c:v>2898.6966638563081</c:v>
                </c:pt>
                <c:pt idx="6674">
                  <c:v>2946.2546679840621</c:v>
                </c:pt>
                <c:pt idx="6675">
                  <c:v>3132.3957433340834</c:v>
                </c:pt>
                <c:pt idx="6676">
                  <c:v>3303.4578895040463</c:v>
                </c:pt>
                <c:pt idx="6677">
                  <c:v>3395.3388159093588</c:v>
                </c:pt>
                <c:pt idx="6678">
                  <c:v>3593.6556015009855</c:v>
                </c:pt>
                <c:pt idx="6679">
                  <c:v>3375.8606276267346</c:v>
                </c:pt>
                <c:pt idx="6680">
                  <c:v>3111.4383358434447</c:v>
                </c:pt>
                <c:pt idx="6681">
                  <c:v>2998.6490773121636</c:v>
                </c:pt>
                <c:pt idx="6682">
                  <c:v>2833.7355445611652</c:v>
                </c:pt>
                <c:pt idx="6683">
                  <c:v>2738.0577677002279</c:v>
                </c:pt>
                <c:pt idx="6684">
                  <c:v>2633.5280895102696</c:v>
                </c:pt>
                <c:pt idx="6685">
                  <c:v>2621.0723219530628</c:v>
                </c:pt>
                <c:pt idx="6686">
                  <c:v>2716.0197902895507</c:v>
                </c:pt>
                <c:pt idx="6687">
                  <c:v>2783.8934162245678</c:v>
                </c:pt>
                <c:pt idx="6688">
                  <c:v>2849.5657903047604</c:v>
                </c:pt>
                <c:pt idx="6689">
                  <c:v>2897.7936245075271</c:v>
                </c:pt>
                <c:pt idx="6690">
                  <c:v>2836.3091497525611</c:v>
                </c:pt>
                <c:pt idx="6691">
                  <c:v>2754.8223860210724</c:v>
                </c:pt>
                <c:pt idx="6692">
                  <c:v>2626.5387668349454</c:v>
                </c:pt>
                <c:pt idx="6693">
                  <c:v>2505.7498378078158</c:v>
                </c:pt>
                <c:pt idx="6694">
                  <c:v>2477.207883872054</c:v>
                </c:pt>
                <c:pt idx="6695">
                  <c:v>2523.6762296852435</c:v>
                </c:pt>
                <c:pt idx="6696">
                  <c:v>2547.8172132093514</c:v>
                </c:pt>
                <c:pt idx="6697">
                  <c:v>2632.9856793380718</c:v>
                </c:pt>
                <c:pt idx="6698">
                  <c:v>2798.0901535573216</c:v>
                </c:pt>
                <c:pt idx="6699">
                  <c:v>2962.5386219555949</c:v>
                </c:pt>
                <c:pt idx="6700">
                  <c:v>3241.75650987162</c:v>
                </c:pt>
                <c:pt idx="6701">
                  <c:v>3530.550960976384</c:v>
                </c:pt>
                <c:pt idx="6702">
                  <c:v>3393.2329277635863</c:v>
                </c:pt>
                <c:pt idx="6703">
                  <c:v>3163.370208467119</c:v>
                </c:pt>
                <c:pt idx="6704">
                  <c:v>3037.7807576718833</c:v>
                </c:pt>
                <c:pt idx="6705">
                  <c:v>2971.6109998508882</c:v>
                </c:pt>
                <c:pt idx="6706">
                  <c:v>3131.7361914884709</c:v>
                </c:pt>
                <c:pt idx="6707">
                  <c:v>3202.1530318623181</c:v>
                </c:pt>
                <c:pt idx="6708">
                  <c:v>3281.9046646912871</c:v>
                </c:pt>
                <c:pt idx="6709">
                  <c:v>3349.1707196576945</c:v>
                </c:pt>
                <c:pt idx="6710">
                  <c:v>3509.5737554852471</c:v>
                </c:pt>
                <c:pt idx="6711">
                  <c:v>3561.248618861363</c:v>
                </c:pt>
                <c:pt idx="6712">
                  <c:v>3593.8555046810216</c:v>
                </c:pt>
                <c:pt idx="6713">
                  <c:v>3612.9520420968192</c:v>
                </c:pt>
                <c:pt idx="6714">
                  <c:v>3565.0017692320416</c:v>
                </c:pt>
                <c:pt idx="6715">
                  <c:v>3332.6905843576683</c:v>
                </c:pt>
                <c:pt idx="6716">
                  <c:v>3067.1504309687048</c:v>
                </c:pt>
                <c:pt idx="6717">
                  <c:v>2915.1515991198439</c:v>
                </c:pt>
                <c:pt idx="6718">
                  <c:v>2847.1690358569872</c:v>
                </c:pt>
                <c:pt idx="6719">
                  <c:v>2740.5389294381548</c:v>
                </c:pt>
                <c:pt idx="6720">
                  <c:v>2704.3765685589724</c:v>
                </c:pt>
                <c:pt idx="6721">
                  <c:v>2685.6621739977136</c:v>
                </c:pt>
                <c:pt idx="6722">
                  <c:v>2708.0719128307792</c:v>
                </c:pt>
                <c:pt idx="6723">
                  <c:v>2824.5861593951013</c:v>
                </c:pt>
                <c:pt idx="6724">
                  <c:v>3219.6907468952477</c:v>
                </c:pt>
                <c:pt idx="6725">
                  <c:v>3386.233623361999</c:v>
                </c:pt>
                <c:pt idx="6726">
                  <c:v>3384.0121301170848</c:v>
                </c:pt>
                <c:pt idx="6727">
                  <c:v>3243.0916902578456</c:v>
                </c:pt>
                <c:pt idx="6728">
                  <c:v>3274.1772206611317</c:v>
                </c:pt>
                <c:pt idx="6729">
                  <c:v>3111.3196777994704</c:v>
                </c:pt>
                <c:pt idx="6730">
                  <c:v>2938.766475775968</c:v>
                </c:pt>
                <c:pt idx="6731">
                  <c:v>2946.4314821425824</c:v>
                </c:pt>
                <c:pt idx="6732">
                  <c:v>2881.458175640194</c:v>
                </c:pt>
                <c:pt idx="6733">
                  <c:v>2918.2707804598526</c:v>
                </c:pt>
                <c:pt idx="6734">
                  <c:v>2968.5734666291073</c:v>
                </c:pt>
                <c:pt idx="6735">
                  <c:v>3027.0918490371364</c:v>
                </c:pt>
                <c:pt idx="6736">
                  <c:v>3050.4848244922055</c:v>
                </c:pt>
                <c:pt idx="6737">
                  <c:v>2975.5190182334663</c:v>
                </c:pt>
                <c:pt idx="6738">
                  <c:v>2936.9979940039207</c:v>
                </c:pt>
                <c:pt idx="6739">
                  <c:v>2926.0552541110492</c:v>
                </c:pt>
                <c:pt idx="6740">
                  <c:v>2754.5269744297166</c:v>
                </c:pt>
                <c:pt idx="6741">
                  <c:v>2747.773945097631</c:v>
                </c:pt>
                <c:pt idx="6742">
                  <c:v>2708.6706192838442</c:v>
                </c:pt>
                <c:pt idx="6743">
                  <c:v>2713.8374856950977</c:v>
                </c:pt>
                <c:pt idx="6744">
                  <c:v>2669.874843124494</c:v>
                </c:pt>
                <c:pt idx="6745">
                  <c:v>2656.0126159359193</c:v>
                </c:pt>
                <c:pt idx="6746">
                  <c:v>2590.1267393927264</c:v>
                </c:pt>
                <c:pt idx="6747">
                  <c:v>2594.098905109794</c:v>
                </c:pt>
                <c:pt idx="6748">
                  <c:v>2670.3461859175122</c:v>
                </c:pt>
                <c:pt idx="6749">
                  <c:v>2765.9440745674297</c:v>
                </c:pt>
                <c:pt idx="6750">
                  <c:v>2855.354609451927</c:v>
                </c:pt>
                <c:pt idx="6751">
                  <c:v>2857.9023009243265</c:v>
                </c:pt>
                <c:pt idx="6752">
                  <c:v>2798.9052008220256</c:v>
                </c:pt>
                <c:pt idx="6753">
                  <c:v>2907.8682245084369</c:v>
                </c:pt>
                <c:pt idx="6754">
                  <c:v>2762.104275386559</c:v>
                </c:pt>
                <c:pt idx="6755">
                  <c:v>2734.4438880750936</c:v>
                </c:pt>
                <c:pt idx="6756">
                  <c:v>2605.2524041290817</c:v>
                </c:pt>
                <c:pt idx="6757">
                  <c:v>2693.4686696959661</c:v>
                </c:pt>
                <c:pt idx="6758">
                  <c:v>2826.4083044127842</c:v>
                </c:pt>
                <c:pt idx="6759">
                  <c:v>2900.0120052885632</c:v>
                </c:pt>
                <c:pt idx="6760">
                  <c:v>3019.8798956429077</c:v>
                </c:pt>
                <c:pt idx="6761">
                  <c:v>3018.3807981655896</c:v>
                </c:pt>
                <c:pt idx="6762">
                  <c:v>2841.0440149142205</c:v>
                </c:pt>
                <c:pt idx="6763">
                  <c:v>2968.9309822497185</c:v>
                </c:pt>
                <c:pt idx="6764">
                  <c:v>2966.0300719949996</c:v>
                </c:pt>
                <c:pt idx="6765">
                  <c:v>2894.3232496709038</c:v>
                </c:pt>
                <c:pt idx="6766">
                  <c:v>2806.4462989095441</c:v>
                </c:pt>
                <c:pt idx="6767">
                  <c:v>2806.3461649400638</c:v>
                </c:pt>
                <c:pt idx="6768">
                  <c:v>2801.4109766887677</c:v>
                </c:pt>
                <c:pt idx="6769">
                  <c:v>2757.4661226682988</c:v>
                </c:pt>
                <c:pt idx="6770">
                  <c:v>2762.7192370917646</c:v>
                </c:pt>
                <c:pt idx="6771">
                  <c:v>2644.4342399330408</c:v>
                </c:pt>
                <c:pt idx="6772">
                  <c:v>2712.673062721894</c:v>
                </c:pt>
                <c:pt idx="6773">
                  <c:v>2806.0994770595635</c:v>
                </c:pt>
                <c:pt idx="6774">
                  <c:v>2812.8825804373637</c:v>
                </c:pt>
                <c:pt idx="6775">
                  <c:v>2974.734715559327</c:v>
                </c:pt>
                <c:pt idx="6776">
                  <c:v>2977.0849201065425</c:v>
                </c:pt>
                <c:pt idx="6777">
                  <c:v>2961.1424946122111</c:v>
                </c:pt>
                <c:pt idx="6778">
                  <c:v>2958.0924727656284</c:v>
                </c:pt>
                <c:pt idx="6779">
                  <c:v>2883.5223382044205</c:v>
                </c:pt>
                <c:pt idx="6780">
                  <c:v>2867.7838593629358</c:v>
                </c:pt>
                <c:pt idx="6781">
                  <c:v>2946.1719851081061</c:v>
                </c:pt>
                <c:pt idx="6782">
                  <c:v>3079.3416123399716</c:v>
                </c:pt>
                <c:pt idx="6783">
                  <c:v>3209.9895453635172</c:v>
                </c:pt>
                <c:pt idx="6784">
                  <c:v>3248.9268807484323</c:v>
                </c:pt>
                <c:pt idx="6785">
                  <c:v>3199.126854219277</c:v>
                </c:pt>
                <c:pt idx="6786">
                  <c:v>3204.3313475885898</c:v>
                </c:pt>
                <c:pt idx="6787">
                  <c:v>3040.5417637673568</c:v>
                </c:pt>
                <c:pt idx="6788">
                  <c:v>2923.9470441764324</c:v>
                </c:pt>
                <c:pt idx="6789">
                  <c:v>2856.6408793794653</c:v>
                </c:pt>
                <c:pt idx="6790">
                  <c:v>2826.4439759790635</c:v>
                </c:pt>
                <c:pt idx="6791">
                  <c:v>2842.6342595311035</c:v>
                </c:pt>
                <c:pt idx="6792">
                  <c:v>2837.1614018815389</c:v>
                </c:pt>
                <c:pt idx="6793">
                  <c:v>2825.1968641233948</c:v>
                </c:pt>
                <c:pt idx="6794">
                  <c:v>2895.5715972293374</c:v>
                </c:pt>
                <c:pt idx="6795">
                  <c:v>3102.2380253078654</c:v>
                </c:pt>
                <c:pt idx="6796">
                  <c:v>3481.8331659861424</c:v>
                </c:pt>
                <c:pt idx="6797">
                  <c:v>3485.5141192078586</c:v>
                </c:pt>
                <c:pt idx="6798">
                  <c:v>3533.1856742085943</c:v>
                </c:pt>
                <c:pt idx="6799">
                  <c:v>3521.8709490143538</c:v>
                </c:pt>
                <c:pt idx="6800">
                  <c:v>3314.81277421906</c:v>
                </c:pt>
                <c:pt idx="6801">
                  <c:v>3223.7798140253599</c:v>
                </c:pt>
                <c:pt idx="6802">
                  <c:v>3174.6301690403475</c:v>
                </c:pt>
                <c:pt idx="6803">
                  <c:v>3196.7240561311164</c:v>
                </c:pt>
                <c:pt idx="6804">
                  <c:v>3089.3779912844525</c:v>
                </c:pt>
                <c:pt idx="6805">
                  <c:v>2728.4359339973989</c:v>
                </c:pt>
                <c:pt idx="6806">
                  <c:v>2916.2792415067447</c:v>
                </c:pt>
                <c:pt idx="6807">
                  <c:v>3298.2910034351266</c:v>
                </c:pt>
                <c:pt idx="6808">
                  <c:v>3453.111218810333</c:v>
                </c:pt>
                <c:pt idx="6809">
                  <c:v>3878.4502432950244</c:v>
                </c:pt>
                <c:pt idx="6810">
                  <c:v>3844.2719525477346</c:v>
                </c:pt>
                <c:pt idx="6811">
                  <c:v>3647.6352771419042</c:v>
                </c:pt>
                <c:pt idx="6812">
                  <c:v>3511.0045780641353</c:v>
                </c:pt>
                <c:pt idx="6813">
                  <c:v>3281.3797618553826</c:v>
                </c:pt>
                <c:pt idx="6814">
                  <c:v>3262.4272496102153</c:v>
                </c:pt>
                <c:pt idx="6815">
                  <c:v>3215.0851418124162</c:v>
                </c:pt>
                <c:pt idx="6816">
                  <c:v>3240.3734401332758</c:v>
                </c:pt>
                <c:pt idx="6817">
                  <c:v>3389.3993021821211</c:v>
                </c:pt>
                <c:pt idx="6818">
                  <c:v>3465.8044482498494</c:v>
                </c:pt>
                <c:pt idx="6819">
                  <c:v>3654.7199646183735</c:v>
                </c:pt>
                <c:pt idx="6820">
                  <c:v>3947.8341917810349</c:v>
                </c:pt>
                <c:pt idx="6821">
                  <c:v>4105.5936378478145</c:v>
                </c:pt>
                <c:pt idx="6822">
                  <c:v>4208.8025949574239</c:v>
                </c:pt>
                <c:pt idx="6823">
                  <c:v>4043.9987503479206</c:v>
                </c:pt>
                <c:pt idx="6824">
                  <c:v>3962.6549813977049</c:v>
                </c:pt>
                <c:pt idx="6825">
                  <c:v>3871.0965035199724</c:v>
                </c:pt>
                <c:pt idx="6826">
                  <c:v>3835.9224837035545</c:v>
                </c:pt>
                <c:pt idx="6827">
                  <c:v>3598.3627269648396</c:v>
                </c:pt>
                <c:pt idx="6828">
                  <c:v>3507.3929568864746</c:v>
                </c:pt>
                <c:pt idx="6829">
                  <c:v>3693.9478283026324</c:v>
                </c:pt>
                <c:pt idx="6830">
                  <c:v>3693.5010788886707</c:v>
                </c:pt>
                <c:pt idx="6831">
                  <c:v>3848.8014797305887</c:v>
                </c:pt>
                <c:pt idx="6832">
                  <c:v>3936.7283150972266</c:v>
                </c:pt>
                <c:pt idx="6833">
                  <c:v>3961.060978344176</c:v>
                </c:pt>
                <c:pt idx="6834">
                  <c:v>3955.0351095796523</c:v>
                </c:pt>
                <c:pt idx="6835">
                  <c:v>3803.5454544334152</c:v>
                </c:pt>
                <c:pt idx="6836">
                  <c:v>3554.1005446928925</c:v>
                </c:pt>
                <c:pt idx="6837">
                  <c:v>3562.7694396984139</c:v>
                </c:pt>
                <c:pt idx="6838">
                  <c:v>3494.860579034153</c:v>
                </c:pt>
                <c:pt idx="6839">
                  <c:v>3492.8372017597535</c:v>
                </c:pt>
                <c:pt idx="6840">
                  <c:v>3512.7857990962329</c:v>
                </c:pt>
                <c:pt idx="6841">
                  <c:v>3700.759913633558</c:v>
                </c:pt>
                <c:pt idx="6842">
                  <c:v>3891.3159873245386</c:v>
                </c:pt>
                <c:pt idx="6843">
                  <c:v>3973.2350062171486</c:v>
                </c:pt>
                <c:pt idx="6844">
                  <c:v>4165.6070589710544</c:v>
                </c:pt>
                <c:pt idx="6845">
                  <c:v>4183.4095130828864</c:v>
                </c:pt>
                <c:pt idx="6846">
                  <c:v>4173.8554093242847</c:v>
                </c:pt>
                <c:pt idx="6847">
                  <c:v>4150.5467139305829</c:v>
                </c:pt>
                <c:pt idx="6848">
                  <c:v>3933.9639535472738</c:v>
                </c:pt>
                <c:pt idx="6849">
                  <c:v>3946.7214471751859</c:v>
                </c:pt>
                <c:pt idx="6850">
                  <c:v>3834.0360155244748</c:v>
                </c:pt>
                <c:pt idx="6851">
                  <c:v>3820.08281429301</c:v>
                </c:pt>
                <c:pt idx="6852">
                  <c:v>3681.380344041947</c:v>
                </c:pt>
                <c:pt idx="6853">
                  <c:v>3726.3191748689856</c:v>
                </c:pt>
                <c:pt idx="6854">
                  <c:v>3883.8248508348252</c:v>
                </c:pt>
                <c:pt idx="6855">
                  <c:v>4257.8513557053475</c:v>
                </c:pt>
                <c:pt idx="6856">
                  <c:v>4460.2948113591092</c:v>
                </c:pt>
                <c:pt idx="6857">
                  <c:v>4553.6087707387096</c:v>
                </c:pt>
                <c:pt idx="6858">
                  <c:v>4602.1401264123979</c:v>
                </c:pt>
                <c:pt idx="6859">
                  <c:v>4542.3488281850086</c:v>
                </c:pt>
                <c:pt idx="6860">
                  <c:v>4509.1563978121667</c:v>
                </c:pt>
                <c:pt idx="6861">
                  <c:v>4287.8009580152602</c:v>
                </c:pt>
                <c:pt idx="6862">
                  <c:v>4254.5042142346001</c:v>
                </c:pt>
                <c:pt idx="6863">
                  <c:v>4200.1860434036453</c:v>
                </c:pt>
                <c:pt idx="6864">
                  <c:v>4180.1921231326314</c:v>
                </c:pt>
                <c:pt idx="6865">
                  <c:v>4242.7018593245166</c:v>
                </c:pt>
                <c:pt idx="6866">
                  <c:v>4419.3843660835246</c:v>
                </c:pt>
                <c:pt idx="6867">
                  <c:v>4763.5104537641091</c:v>
                </c:pt>
                <c:pt idx="6868">
                  <c:v>5286.1274639794028</c:v>
                </c:pt>
                <c:pt idx="6869">
                  <c:v>5329.0757452892185</c:v>
                </c:pt>
                <c:pt idx="6870">
                  <c:v>5398.6235677286631</c:v>
                </c:pt>
                <c:pt idx="6871">
                  <c:v>4779.7389709316421</c:v>
                </c:pt>
                <c:pt idx="6872">
                  <c:v>4316.1748847694716</c:v>
                </c:pt>
                <c:pt idx="6873">
                  <c:v>4022.2299273464832</c:v>
                </c:pt>
                <c:pt idx="6874">
                  <c:v>4105.6433236922403</c:v>
                </c:pt>
                <c:pt idx="6875">
                  <c:v>3778.5266676360725</c:v>
                </c:pt>
                <c:pt idx="6876">
                  <c:v>3789.8479131691147</c:v>
                </c:pt>
                <c:pt idx="6877">
                  <c:v>3897.7190058962838</c:v>
                </c:pt>
                <c:pt idx="6878">
                  <c:v>4000.784267101179</c:v>
                </c:pt>
                <c:pt idx="6879">
                  <c:v>4048.0571717218481</c:v>
                </c:pt>
                <c:pt idx="6880">
                  <c:v>4038.3329778187967</c:v>
                </c:pt>
                <c:pt idx="6881">
                  <c:v>3953.9551687049443</c:v>
                </c:pt>
                <c:pt idx="6882">
                  <c:v>3924.1549422733015</c:v>
                </c:pt>
                <c:pt idx="6883">
                  <c:v>3871.349522807257</c:v>
                </c:pt>
                <c:pt idx="6884">
                  <c:v>3779.894336138681</c:v>
                </c:pt>
                <c:pt idx="6885">
                  <c:v>3689.3885410506832</c:v>
                </c:pt>
                <c:pt idx="6886">
                  <c:v>3652.9752822740702</c:v>
                </c:pt>
                <c:pt idx="6887">
                  <c:v>3616.864150912189</c:v>
                </c:pt>
                <c:pt idx="6888">
                  <c:v>3590.2308941541082</c:v>
                </c:pt>
                <c:pt idx="6889">
                  <c:v>3565.2558123561284</c:v>
                </c:pt>
                <c:pt idx="6890">
                  <c:v>3597.4734190422255</c:v>
                </c:pt>
                <c:pt idx="6891">
                  <c:v>3747.4443960370718</c:v>
                </c:pt>
                <c:pt idx="6892">
                  <c:v>3819.2821083881836</c:v>
                </c:pt>
                <c:pt idx="6893">
                  <c:v>3780.4253306670462</c:v>
                </c:pt>
                <c:pt idx="6894">
                  <c:v>3800.9007179754235</c:v>
                </c:pt>
                <c:pt idx="6895">
                  <c:v>3849.0940775453892</c:v>
                </c:pt>
                <c:pt idx="6896">
                  <c:v>3865.2226578661543</c:v>
                </c:pt>
                <c:pt idx="6897">
                  <c:v>3779.6298105638784</c:v>
                </c:pt>
                <c:pt idx="6898">
                  <c:v>3786.5678059796155</c:v>
                </c:pt>
                <c:pt idx="6899">
                  <c:v>3686.3722654111457</c:v>
                </c:pt>
                <c:pt idx="6900">
                  <c:v>3626.7221884066644</c:v>
                </c:pt>
                <c:pt idx="6901">
                  <c:v>3660.8302614228096</c:v>
                </c:pt>
                <c:pt idx="6902">
                  <c:v>3641.5173520707344</c:v>
                </c:pt>
                <c:pt idx="6903">
                  <c:v>3738.4681037240321</c:v>
                </c:pt>
                <c:pt idx="6904">
                  <c:v>4002.7930785906738</c:v>
                </c:pt>
                <c:pt idx="6905">
                  <c:v>3729.9334197990902</c:v>
                </c:pt>
                <c:pt idx="6906">
                  <c:v>3827.7662458997379</c:v>
                </c:pt>
                <c:pt idx="6907">
                  <c:v>4138.0584893816322</c:v>
                </c:pt>
                <c:pt idx="6908">
                  <c:v>4377.4915371102488</c:v>
                </c:pt>
                <c:pt idx="6909">
                  <c:v>4296.6744478305791</c:v>
                </c:pt>
                <c:pt idx="6910">
                  <c:v>4143.4526371880802</c:v>
                </c:pt>
                <c:pt idx="6911">
                  <c:v>4245.1075825826765</c:v>
                </c:pt>
                <c:pt idx="6912">
                  <c:v>4323.2036986049052</c:v>
                </c:pt>
                <c:pt idx="6913">
                  <c:v>4334.5491252520524</c:v>
                </c:pt>
                <c:pt idx="6914">
                  <c:v>4332.1243356954274</c:v>
                </c:pt>
                <c:pt idx="6915">
                  <c:v>4418.2947798470705</c:v>
                </c:pt>
                <c:pt idx="6916">
                  <c:v>4645.0382118705484</c:v>
                </c:pt>
                <c:pt idx="6917">
                  <c:v>4608.6187199754831</c:v>
                </c:pt>
                <c:pt idx="6918">
                  <c:v>4618.4276373294933</c:v>
                </c:pt>
                <c:pt idx="6919">
                  <c:v>4484.1247478022651</c:v>
                </c:pt>
                <c:pt idx="6920">
                  <c:v>4204.5321181431764</c:v>
                </c:pt>
                <c:pt idx="6921">
                  <c:v>3927.2347826159325</c:v>
                </c:pt>
                <c:pt idx="6922">
                  <c:v>3815.464694375155</c:v>
                </c:pt>
                <c:pt idx="6923">
                  <c:v>3687.4393452574805</c:v>
                </c:pt>
                <c:pt idx="6924">
                  <c:v>3629.4860175614804</c:v>
                </c:pt>
                <c:pt idx="6925">
                  <c:v>3668.6332509578051</c:v>
                </c:pt>
                <c:pt idx="6926">
                  <c:v>3802.8253460537462</c:v>
                </c:pt>
                <c:pt idx="6927">
                  <c:v>3992.279869633961</c:v>
                </c:pt>
                <c:pt idx="6928">
                  <c:v>4169.684163318947</c:v>
                </c:pt>
                <c:pt idx="6929">
                  <c:v>4381.5509954260897</c:v>
                </c:pt>
                <c:pt idx="6930">
                  <c:v>4482.3033645191626</c:v>
                </c:pt>
                <c:pt idx="6931">
                  <c:v>4368.0546896947835</c:v>
                </c:pt>
                <c:pt idx="6932">
                  <c:v>4439.0978959506965</c:v>
                </c:pt>
                <c:pt idx="6933">
                  <c:v>4280.4587157909846</c:v>
                </c:pt>
                <c:pt idx="6934">
                  <c:v>4122.611036287667</c:v>
                </c:pt>
                <c:pt idx="6935">
                  <c:v>4228.7622055016172</c:v>
                </c:pt>
                <c:pt idx="6936">
                  <c:v>4237.4691364538721</c:v>
                </c:pt>
                <c:pt idx="6937">
                  <c:v>4278.261349055545</c:v>
                </c:pt>
                <c:pt idx="6938">
                  <c:v>4348.6161143405916</c:v>
                </c:pt>
                <c:pt idx="6939">
                  <c:v>4493.5861547419163</c:v>
                </c:pt>
                <c:pt idx="6940">
                  <c:v>4597.93094711703</c:v>
                </c:pt>
                <c:pt idx="6941">
                  <c:v>4699.1798972628521</c:v>
                </c:pt>
                <c:pt idx="6942">
                  <c:v>4728.5416239479491</c:v>
                </c:pt>
                <c:pt idx="6943">
                  <c:v>4535.122595134133</c:v>
                </c:pt>
                <c:pt idx="6944">
                  <c:v>4345.4852372350006</c:v>
                </c:pt>
                <c:pt idx="6945">
                  <c:v>4166.4068715441426</c:v>
                </c:pt>
                <c:pt idx="6946">
                  <c:v>3997.9371839059836</c:v>
                </c:pt>
                <c:pt idx="6947">
                  <c:v>3791.7178203101294</c:v>
                </c:pt>
                <c:pt idx="6948">
                  <c:v>3852.5325436207486</c:v>
                </c:pt>
                <c:pt idx="6949">
                  <c:v>3799.0619010722776</c:v>
                </c:pt>
                <c:pt idx="6950">
                  <c:v>4027.0284817097909</c:v>
                </c:pt>
                <c:pt idx="6951">
                  <c:v>4042.9864329384127</c:v>
                </c:pt>
                <c:pt idx="6952">
                  <c:v>4425.258431247953</c:v>
                </c:pt>
                <c:pt idx="6953">
                  <c:v>4705.9951152613685</c:v>
                </c:pt>
                <c:pt idx="6954">
                  <c:v>4723.0606220179034</c:v>
                </c:pt>
                <c:pt idx="6955">
                  <c:v>4791.8857461801035</c:v>
                </c:pt>
                <c:pt idx="6956">
                  <c:v>4645.4924290136332</c:v>
                </c:pt>
                <c:pt idx="6957">
                  <c:v>4625.3054366017268</c:v>
                </c:pt>
                <c:pt idx="6958">
                  <c:v>4715.7507499640096</c:v>
                </c:pt>
                <c:pt idx="6959">
                  <c:v>4754.7742312504797</c:v>
                </c:pt>
                <c:pt idx="6960">
                  <c:v>4688.0824624547558</c:v>
                </c:pt>
                <c:pt idx="6961">
                  <c:v>4682.8567633775974</c:v>
                </c:pt>
                <c:pt idx="6962">
                  <c:v>4652.7531858414768</c:v>
                </c:pt>
                <c:pt idx="6963">
                  <c:v>4756.0334260185518</c:v>
                </c:pt>
                <c:pt idx="6964">
                  <c:v>5307.0512464852736</c:v>
                </c:pt>
                <c:pt idx="6965">
                  <c:v>5440.2600252364527</c:v>
                </c:pt>
                <c:pt idx="6966">
                  <c:v>5505.7522974133853</c:v>
                </c:pt>
                <c:pt idx="6967">
                  <c:v>5316.4838358317347</c:v>
                </c:pt>
                <c:pt idx="6968">
                  <c:v>5092.3520149138412</c:v>
                </c:pt>
                <c:pt idx="6969">
                  <c:v>4699.7284651991122</c:v>
                </c:pt>
                <c:pt idx="6970">
                  <c:v>4700.7489416323524</c:v>
                </c:pt>
                <c:pt idx="6971">
                  <c:v>4618.2175929776758</c:v>
                </c:pt>
                <c:pt idx="6972">
                  <c:v>4639.3260346891802</c:v>
                </c:pt>
                <c:pt idx="6973">
                  <c:v>4805.887280699324</c:v>
                </c:pt>
                <c:pt idx="6974">
                  <c:v>4744.4573832714905</c:v>
                </c:pt>
                <c:pt idx="6975">
                  <c:v>4830.63965205564</c:v>
                </c:pt>
                <c:pt idx="6976">
                  <c:v>4859.2398472891709</c:v>
                </c:pt>
                <c:pt idx="6977">
                  <c:v>5141.8987272907125</c:v>
                </c:pt>
                <c:pt idx="6978">
                  <c:v>5195.2314139731161</c:v>
                </c:pt>
                <c:pt idx="6979">
                  <c:v>5230.8827131978669</c:v>
                </c:pt>
                <c:pt idx="6980">
                  <c:v>5034.2304771107829</c:v>
                </c:pt>
                <c:pt idx="6981">
                  <c:v>4908.9450430504576</c:v>
                </c:pt>
                <c:pt idx="6982">
                  <c:v>4953.4876807057535</c:v>
                </c:pt>
                <c:pt idx="6983">
                  <c:v>5226.3561444938359</c:v>
                </c:pt>
                <c:pt idx="6984">
                  <c:v>5387.8506438650029</c:v>
                </c:pt>
                <c:pt idx="6985">
                  <c:v>5469.3616919133456</c:v>
                </c:pt>
                <c:pt idx="6986">
                  <c:v>5600.1877059228145</c:v>
                </c:pt>
                <c:pt idx="6987">
                  <c:v>5935.8479764910699</c:v>
                </c:pt>
                <c:pt idx="6988">
                  <c:v>6423.366135076797</c:v>
                </c:pt>
                <c:pt idx="6989">
                  <c:v>6831.8215026024018</c:v>
                </c:pt>
                <c:pt idx="6990">
                  <c:v>6990.7501659288509</c:v>
                </c:pt>
                <c:pt idx="6991">
                  <c:v>6342.1251325852472</c:v>
                </c:pt>
                <c:pt idx="6992">
                  <c:v>6003.3285959805207</c:v>
                </c:pt>
                <c:pt idx="6993">
                  <c:v>5642.8395512584257</c:v>
                </c:pt>
                <c:pt idx="6994">
                  <c:v>5400.756095288958</c:v>
                </c:pt>
                <c:pt idx="6995">
                  <c:v>5211.7119407883356</c:v>
                </c:pt>
                <c:pt idx="6996">
                  <c:v>5199.1054360594471</c:v>
                </c:pt>
                <c:pt idx="6997">
                  <c:v>5319.4387631700884</c:v>
                </c:pt>
                <c:pt idx="6998">
                  <c:v>5343.5368307317285</c:v>
                </c:pt>
                <c:pt idx="6999">
                  <c:v>5638.461330227492</c:v>
                </c:pt>
                <c:pt idx="7000">
                  <c:v>5660.5169045260564</c:v>
                </c:pt>
                <c:pt idx="7001">
                  <c:v>5429.192337392341</c:v>
                </c:pt>
                <c:pt idx="7002">
                  <c:v>5068.8513760569367</c:v>
                </c:pt>
                <c:pt idx="7003">
                  <c:v>4760.4101192119542</c:v>
                </c:pt>
                <c:pt idx="7004">
                  <c:v>4464.1513506812289</c:v>
                </c:pt>
                <c:pt idx="7005">
                  <c:v>4502.8127049861305</c:v>
                </c:pt>
                <c:pt idx="7006">
                  <c:v>4315.4549838873945</c:v>
                </c:pt>
                <c:pt idx="7007">
                  <c:v>4249.3491861070106</c:v>
                </c:pt>
                <c:pt idx="7008">
                  <c:v>4228.8340537269969</c:v>
                </c:pt>
                <c:pt idx="7009">
                  <c:v>4213.4089169990402</c:v>
                </c:pt>
                <c:pt idx="7010">
                  <c:v>4245.7193084175415</c:v>
                </c:pt>
                <c:pt idx="7011">
                  <c:v>4580.6371875489431</c:v>
                </c:pt>
                <c:pt idx="7012">
                  <c:v>4844.0090020234811</c:v>
                </c:pt>
                <c:pt idx="7013">
                  <c:v>5236.1915925991552</c:v>
                </c:pt>
                <c:pt idx="7014">
                  <c:v>5048.4208267939839</c:v>
                </c:pt>
                <c:pt idx="7015">
                  <c:v>5259.3196782665436</c:v>
                </c:pt>
                <c:pt idx="7016">
                  <c:v>5125.1574983168457</c:v>
                </c:pt>
                <c:pt idx="7017">
                  <c:v>4958.2550514572767</c:v>
                </c:pt>
                <c:pt idx="7018">
                  <c:v>4550.7647443106707</c:v>
                </c:pt>
                <c:pt idx="7019">
                  <c:v>4292.7094992073853</c:v>
                </c:pt>
                <c:pt idx="7020">
                  <c:v>3926.472627579496</c:v>
                </c:pt>
                <c:pt idx="7021">
                  <c:v>3627.0299597558956</c:v>
                </c:pt>
                <c:pt idx="7022">
                  <c:v>3493.554247911803</c:v>
                </c:pt>
                <c:pt idx="7023">
                  <c:v>3503.367552201742</c:v>
                </c:pt>
                <c:pt idx="7024">
                  <c:v>3541.650827328629</c:v>
                </c:pt>
                <c:pt idx="7025">
                  <c:v>3592.3572863382378</c:v>
                </c:pt>
                <c:pt idx="7026">
                  <c:v>3465.4176306929839</c:v>
                </c:pt>
                <c:pt idx="7027">
                  <c:v>3277.2295528295858</c:v>
                </c:pt>
                <c:pt idx="7028">
                  <c:v>3199.3880560102839</c:v>
                </c:pt>
                <c:pt idx="7029">
                  <c:v>3142.9286432662207</c:v>
                </c:pt>
                <c:pt idx="7030">
                  <c:v>2886.9198879388418</c:v>
                </c:pt>
                <c:pt idx="7031">
                  <c:v>2948.327616433166</c:v>
                </c:pt>
                <c:pt idx="7032">
                  <c:v>2877.9269237403387</c:v>
                </c:pt>
                <c:pt idx="7033">
                  <c:v>2876.0573748056936</c:v>
                </c:pt>
                <c:pt idx="7034">
                  <c:v>3097.0258823760132</c:v>
                </c:pt>
                <c:pt idx="7035">
                  <c:v>3208.9510963625412</c:v>
                </c:pt>
                <c:pt idx="7036">
                  <c:v>3334.6621898907965</c:v>
                </c:pt>
                <c:pt idx="7037">
                  <c:v>3551.2039673155205</c:v>
                </c:pt>
                <c:pt idx="7038">
                  <c:v>3547.9858341962586</c:v>
                </c:pt>
                <c:pt idx="7039">
                  <c:v>3333.5782208325745</c:v>
                </c:pt>
                <c:pt idx="7040">
                  <c:v>3385.3807345430419</c:v>
                </c:pt>
                <c:pt idx="7041">
                  <c:v>3349.5534162031754</c:v>
                </c:pt>
                <c:pt idx="7042">
                  <c:v>3364.6225766150251</c:v>
                </c:pt>
                <c:pt idx="7043">
                  <c:v>3394.6137772776965</c:v>
                </c:pt>
                <c:pt idx="7044">
                  <c:v>3530.4464755639833</c:v>
                </c:pt>
                <c:pt idx="7045">
                  <c:v>3588.3322633398657</c:v>
                </c:pt>
                <c:pt idx="7046">
                  <c:v>3782.5276269202936</c:v>
                </c:pt>
                <c:pt idx="7047">
                  <c:v>3841.3477599711114</c:v>
                </c:pt>
                <c:pt idx="7048">
                  <c:v>3679.3737768027222</c:v>
                </c:pt>
                <c:pt idx="7049">
                  <c:v>3589.3509094259266</c:v>
                </c:pt>
                <c:pt idx="7050">
                  <c:v>3402.3642562707851</c:v>
                </c:pt>
                <c:pt idx="7051">
                  <c:v>3221.6500325318802</c:v>
                </c:pt>
                <c:pt idx="7052">
                  <c:v>3171.7776854473</c:v>
                </c:pt>
                <c:pt idx="7053">
                  <c:v>3435.1521657198482</c:v>
                </c:pt>
                <c:pt idx="7054">
                  <c:v>3564.6250098479204</c:v>
                </c:pt>
                <c:pt idx="7055">
                  <c:v>3493.1539386430932</c:v>
                </c:pt>
                <c:pt idx="7056">
                  <c:v>3522.0768745389719</c:v>
                </c:pt>
                <c:pt idx="7057">
                  <c:v>3540.0271777836347</c:v>
                </c:pt>
                <c:pt idx="7058">
                  <c:v>3663.8564538091009</c:v>
                </c:pt>
                <c:pt idx="7059">
                  <c:v>4084.2137308591518</c:v>
                </c:pt>
                <c:pt idx="7060">
                  <c:v>4338.6690549187279</c:v>
                </c:pt>
                <c:pt idx="7061">
                  <c:v>4507.4343239686405</c:v>
                </c:pt>
                <c:pt idx="7062">
                  <c:v>4757.9887784837256</c:v>
                </c:pt>
                <c:pt idx="7063">
                  <c:v>4932.4413828848847</c:v>
                </c:pt>
                <c:pt idx="7064">
                  <c:v>4921.5027820229261</c:v>
                </c:pt>
                <c:pt idx="7065">
                  <c:v>4923.6994989632749</c:v>
                </c:pt>
                <c:pt idx="7066">
                  <c:v>4822.9849157277322</c:v>
                </c:pt>
                <c:pt idx="7067">
                  <c:v>4788.6187916076997</c:v>
                </c:pt>
                <c:pt idx="7068">
                  <c:v>4785.9712790503463</c:v>
                </c:pt>
                <c:pt idx="7069">
                  <c:v>4758.6434366624462</c:v>
                </c:pt>
                <c:pt idx="7070">
                  <c:v>4928.9759470369954</c:v>
                </c:pt>
                <c:pt idx="7071">
                  <c:v>5054.2400268648826</c:v>
                </c:pt>
                <c:pt idx="7072">
                  <c:v>5035.4677797908171</c:v>
                </c:pt>
                <c:pt idx="7073">
                  <c:v>4982.1477504615195</c:v>
                </c:pt>
                <c:pt idx="7074">
                  <c:v>4900.4390538582902</c:v>
                </c:pt>
                <c:pt idx="7075">
                  <c:v>4938.793059453792</c:v>
                </c:pt>
                <c:pt idx="7076">
                  <c:v>4905.17671586907</c:v>
                </c:pt>
                <c:pt idx="7077">
                  <c:v>5082.8634711114928</c:v>
                </c:pt>
                <c:pt idx="7078">
                  <c:v>5137.6816745538245</c:v>
                </c:pt>
                <c:pt idx="7079">
                  <c:v>5133.7772480637714</c:v>
                </c:pt>
                <c:pt idx="7080">
                  <c:v>5124.6634187021718</c:v>
                </c:pt>
                <c:pt idx="7081">
                  <c:v>5170.9233206252329</c:v>
                </c:pt>
                <c:pt idx="7082">
                  <c:v>5176.9811134403162</c:v>
                </c:pt>
                <c:pt idx="7083">
                  <c:v>5158.5506651363685</c:v>
                </c:pt>
                <c:pt idx="7084">
                  <c:v>5197.5891086373531</c:v>
                </c:pt>
                <c:pt idx="7085">
                  <c:v>5395.2910690353474</c:v>
                </c:pt>
                <c:pt idx="7086">
                  <c:v>5626.8046397190146</c:v>
                </c:pt>
                <c:pt idx="7087">
                  <c:v>5636.6937292281182</c:v>
                </c:pt>
                <c:pt idx="7088">
                  <c:v>5556.9919274918902</c:v>
                </c:pt>
                <c:pt idx="7089">
                  <c:v>5440.6918817837786</c:v>
                </c:pt>
                <c:pt idx="7090">
                  <c:v>5304.8045597564251</c:v>
                </c:pt>
                <c:pt idx="7091">
                  <c:v>5334.6402360595512</c:v>
                </c:pt>
                <c:pt idx="7092">
                  <c:v>5396.825581983233</c:v>
                </c:pt>
                <c:pt idx="7093">
                  <c:v>5619.1189835196828</c:v>
                </c:pt>
                <c:pt idx="7094">
                  <c:v>5595.9464496839237</c:v>
                </c:pt>
                <c:pt idx="7095">
                  <c:v>5681.4111857887747</c:v>
                </c:pt>
                <c:pt idx="7096">
                  <c:v>5911.8146607371673</c:v>
                </c:pt>
                <c:pt idx="7097">
                  <c:v>5980.7993101401144</c:v>
                </c:pt>
                <c:pt idx="7098">
                  <c:v>5947.5810151924416</c:v>
                </c:pt>
                <c:pt idx="7099">
                  <c:v>5833.6463208097075</c:v>
                </c:pt>
                <c:pt idx="7100">
                  <c:v>5529.8959363606236</c:v>
                </c:pt>
                <c:pt idx="7101">
                  <c:v>5813.3295381080234</c:v>
                </c:pt>
                <c:pt idx="7102">
                  <c:v>5695.7846531889199</c:v>
                </c:pt>
                <c:pt idx="7103">
                  <c:v>5652.9949311639557</c:v>
                </c:pt>
                <c:pt idx="7104">
                  <c:v>5915.3357146764274</c:v>
                </c:pt>
                <c:pt idx="7105">
                  <c:v>5904.196818027146</c:v>
                </c:pt>
                <c:pt idx="7106">
                  <c:v>5980.1640453415866</c:v>
                </c:pt>
                <c:pt idx="7107">
                  <c:v>6127.128009826235</c:v>
                </c:pt>
                <c:pt idx="7108">
                  <c:v>6230.2540508981219</c:v>
                </c:pt>
                <c:pt idx="7109">
                  <c:v>6418.4975644734259</c:v>
                </c:pt>
                <c:pt idx="7110">
                  <c:v>6265.7879971295415</c:v>
                </c:pt>
                <c:pt idx="7111">
                  <c:v>6102.5106374953011</c:v>
                </c:pt>
                <c:pt idx="7112">
                  <c:v>5882.5989888767772</c:v>
                </c:pt>
                <c:pt idx="7113">
                  <c:v>5737.4266459679966</c:v>
                </c:pt>
                <c:pt idx="7114">
                  <c:v>5520.1305044953669</c:v>
                </c:pt>
                <c:pt idx="7115">
                  <c:v>5371.9914827859302</c:v>
                </c:pt>
                <c:pt idx="7116">
                  <c:v>5323.7941911365979</c:v>
                </c:pt>
                <c:pt idx="7117">
                  <c:v>5429.2784685506458</c:v>
                </c:pt>
                <c:pt idx="7118">
                  <c:v>5330.2182030041813</c:v>
                </c:pt>
                <c:pt idx="7119">
                  <c:v>5469.7762011159421</c:v>
                </c:pt>
                <c:pt idx="7120">
                  <c:v>5502.1114299961937</c:v>
                </c:pt>
                <c:pt idx="7121">
                  <c:v>5179.1948200650713</c:v>
                </c:pt>
                <c:pt idx="7122">
                  <c:v>4943.5508623821434</c:v>
                </c:pt>
                <c:pt idx="7123">
                  <c:v>4594.7223714460597</c:v>
                </c:pt>
                <c:pt idx="7124">
                  <c:v>4206.7488880876435</c:v>
                </c:pt>
                <c:pt idx="7125">
                  <c:v>3930.5554479399998</c:v>
                </c:pt>
                <c:pt idx="7126">
                  <c:v>3799.4116759406193</c:v>
                </c:pt>
                <c:pt idx="7127">
                  <c:v>3676.170552931485</c:v>
                </c:pt>
                <c:pt idx="7128">
                  <c:v>3560.6175979346376</c:v>
                </c:pt>
                <c:pt idx="7129">
                  <c:v>3524.6858045572494</c:v>
                </c:pt>
                <c:pt idx="7130">
                  <c:v>3502.272323122882</c:v>
                </c:pt>
                <c:pt idx="7131">
                  <c:v>3893.4032673046881</c:v>
                </c:pt>
                <c:pt idx="7132">
                  <c:v>4130.7245896526438</c:v>
                </c:pt>
                <c:pt idx="7133">
                  <c:v>4215.4056837993721</c:v>
                </c:pt>
                <c:pt idx="7134">
                  <c:v>4204.3410363410276</c:v>
                </c:pt>
                <c:pt idx="7135">
                  <c:v>4130.0853048612971</c:v>
                </c:pt>
                <c:pt idx="7136">
                  <c:v>4023.9858325802761</c:v>
                </c:pt>
                <c:pt idx="7137">
                  <c:v>3923.0010716447387</c:v>
                </c:pt>
                <c:pt idx="7138">
                  <c:v>3813.821695679716</c:v>
                </c:pt>
                <c:pt idx="7139">
                  <c:v>3764.1145265071209</c:v>
                </c:pt>
                <c:pt idx="7140">
                  <c:v>3962.9816055412989</c:v>
                </c:pt>
                <c:pt idx="7141">
                  <c:v>3992.4875730853137</c:v>
                </c:pt>
                <c:pt idx="7142">
                  <c:v>4053.6054760418742</c:v>
                </c:pt>
                <c:pt idx="7143">
                  <c:v>4091.9699384239152</c:v>
                </c:pt>
                <c:pt idx="7144">
                  <c:v>4091.4142227416596</c:v>
                </c:pt>
                <c:pt idx="7145">
                  <c:v>4075.5445191467802</c:v>
                </c:pt>
                <c:pt idx="7146">
                  <c:v>4053.0000712389146</c:v>
                </c:pt>
                <c:pt idx="7147">
                  <c:v>3932.1236688716886</c:v>
                </c:pt>
                <c:pt idx="7148">
                  <c:v>3811.4090764029029</c:v>
                </c:pt>
                <c:pt idx="7149">
                  <c:v>3705.7554050534304</c:v>
                </c:pt>
                <c:pt idx="7150">
                  <c:v>3636.9496027393598</c:v>
                </c:pt>
                <c:pt idx="7151">
                  <c:v>3655.8856167417857</c:v>
                </c:pt>
                <c:pt idx="7152">
                  <c:v>3805.6091359308566</c:v>
                </c:pt>
                <c:pt idx="7153">
                  <c:v>3800.5537612520088</c:v>
                </c:pt>
                <c:pt idx="7154">
                  <c:v>3891.5804866891176</c:v>
                </c:pt>
                <c:pt idx="7155">
                  <c:v>3974.9870853045563</c:v>
                </c:pt>
                <c:pt idx="7156">
                  <c:v>4393.8648035057986</c:v>
                </c:pt>
                <c:pt idx="7157">
                  <c:v>4331.1152858269461</c:v>
                </c:pt>
                <c:pt idx="7158">
                  <c:v>4165.1533021449959</c:v>
                </c:pt>
                <c:pt idx="7159">
                  <c:v>3977.0223865918883</c:v>
                </c:pt>
                <c:pt idx="7160">
                  <c:v>3894.8964489164509</c:v>
                </c:pt>
                <c:pt idx="7161">
                  <c:v>4019.2900872672453</c:v>
                </c:pt>
                <c:pt idx="7162">
                  <c:v>3984.9761040157791</c:v>
                </c:pt>
                <c:pt idx="7163">
                  <c:v>4029.9860022219964</c:v>
                </c:pt>
                <c:pt idx="7164">
                  <c:v>4018.655610413522</c:v>
                </c:pt>
                <c:pt idx="7165">
                  <c:v>4025.5298691215826</c:v>
                </c:pt>
                <c:pt idx="7166">
                  <c:v>4043.05046123481</c:v>
                </c:pt>
                <c:pt idx="7167">
                  <c:v>4061.2701755304711</c:v>
                </c:pt>
                <c:pt idx="7168">
                  <c:v>4157.7615264232099</c:v>
                </c:pt>
                <c:pt idx="7169">
                  <c:v>4254.4850299901364</c:v>
                </c:pt>
                <c:pt idx="7170">
                  <c:v>4259.8783734703929</c:v>
                </c:pt>
                <c:pt idx="7171">
                  <c:v>4111.7996549295322</c:v>
                </c:pt>
                <c:pt idx="7172">
                  <c:v>3918.3569353511834</c:v>
                </c:pt>
                <c:pt idx="7173">
                  <c:v>3829.2940151758858</c:v>
                </c:pt>
                <c:pt idx="7174">
                  <c:v>3751.8862096194598</c:v>
                </c:pt>
                <c:pt idx="7175">
                  <c:v>3703.4500330911756</c:v>
                </c:pt>
                <c:pt idx="7176">
                  <c:v>3805.2028256133708</c:v>
                </c:pt>
                <c:pt idx="7177">
                  <c:v>3835.4682556395437</c:v>
                </c:pt>
                <c:pt idx="7178">
                  <c:v>3783.1594139499707</c:v>
                </c:pt>
                <c:pt idx="7179">
                  <c:v>4089.7162197108864</c:v>
                </c:pt>
                <c:pt idx="7180">
                  <c:v>4417.8382654872248</c:v>
                </c:pt>
                <c:pt idx="7181">
                  <c:v>4574.9751259504355</c:v>
                </c:pt>
                <c:pt idx="7182">
                  <c:v>4558.4632702751169</c:v>
                </c:pt>
                <c:pt idx="7183">
                  <c:v>4473.3229790430987</c:v>
                </c:pt>
                <c:pt idx="7184">
                  <c:v>4293.5871621467231</c:v>
                </c:pt>
                <c:pt idx="7185">
                  <c:v>4204.5390851478478</c:v>
                </c:pt>
                <c:pt idx="7186">
                  <c:v>4026.5939266016771</c:v>
                </c:pt>
                <c:pt idx="7187">
                  <c:v>4069.3183382135462</c:v>
                </c:pt>
                <c:pt idx="7188">
                  <c:v>4194.407029609788</c:v>
                </c:pt>
                <c:pt idx="7189">
                  <c:v>4272.7931267929744</c:v>
                </c:pt>
                <c:pt idx="7190">
                  <c:v>4251.9683042570505</c:v>
                </c:pt>
                <c:pt idx="7191">
                  <c:v>4292.6170606683327</c:v>
                </c:pt>
                <c:pt idx="7192">
                  <c:v>4232.0005849253848</c:v>
                </c:pt>
                <c:pt idx="7193">
                  <c:v>4070.951408695259</c:v>
                </c:pt>
                <c:pt idx="7194">
                  <c:v>3877.2180668976025</c:v>
                </c:pt>
                <c:pt idx="7195">
                  <c:v>3862.7314466922244</c:v>
                </c:pt>
                <c:pt idx="7196">
                  <c:v>3756.482832786794</c:v>
                </c:pt>
                <c:pt idx="7197">
                  <c:v>3661.3894723473954</c:v>
                </c:pt>
                <c:pt idx="7198">
                  <c:v>3699.0531853290449</c:v>
                </c:pt>
                <c:pt idx="7199">
                  <c:v>3730.5939872908102</c:v>
                </c:pt>
                <c:pt idx="7200">
                  <c:v>3763.256911657485</c:v>
                </c:pt>
                <c:pt idx="7201">
                  <c:v>3797.0632236559618</c:v>
                </c:pt>
                <c:pt idx="7202">
                  <c:v>4060.351958278889</c:v>
                </c:pt>
                <c:pt idx="7203">
                  <c:v>4445.2741196544957</c:v>
                </c:pt>
                <c:pt idx="7204">
                  <c:v>4804.4999146687351</c:v>
                </c:pt>
                <c:pt idx="7205">
                  <c:v>4747.4114833497079</c:v>
                </c:pt>
                <c:pt idx="7206">
                  <c:v>4766.3702483709931</c:v>
                </c:pt>
                <c:pt idx="7207">
                  <c:v>4551.6385581696786</c:v>
                </c:pt>
                <c:pt idx="7208">
                  <c:v>4306.6990671220628</c:v>
                </c:pt>
                <c:pt idx="7209">
                  <c:v>4126.9231185532744</c:v>
                </c:pt>
                <c:pt idx="7210">
                  <c:v>4093.6170461177198</c:v>
                </c:pt>
                <c:pt idx="7211">
                  <c:v>3920.9182905400094</c:v>
                </c:pt>
                <c:pt idx="7212">
                  <c:v>3879.4033376155267</c:v>
                </c:pt>
                <c:pt idx="7213">
                  <c:v>3900.8349022217849</c:v>
                </c:pt>
                <c:pt idx="7214">
                  <c:v>3896.4548033376445</c:v>
                </c:pt>
                <c:pt idx="7215">
                  <c:v>3846.1604782292516</c:v>
                </c:pt>
                <c:pt idx="7216">
                  <c:v>3795.5665069404886</c:v>
                </c:pt>
                <c:pt idx="7217">
                  <c:v>3684.8463647054177</c:v>
                </c:pt>
                <c:pt idx="7218">
                  <c:v>3696.2373043112088</c:v>
                </c:pt>
                <c:pt idx="7219">
                  <c:v>3569.8580041035734</c:v>
                </c:pt>
                <c:pt idx="7220">
                  <c:v>3408.7267057870358</c:v>
                </c:pt>
                <c:pt idx="7221">
                  <c:v>3316.6586542310247</c:v>
                </c:pt>
                <c:pt idx="7222">
                  <c:v>3257.4764761055826</c:v>
                </c:pt>
                <c:pt idx="7223">
                  <c:v>3228.7360671045576</c:v>
                </c:pt>
                <c:pt idx="7224">
                  <c:v>3212.2537345142423</c:v>
                </c:pt>
                <c:pt idx="7225">
                  <c:v>3251.1646407124585</c:v>
                </c:pt>
                <c:pt idx="7226">
                  <c:v>3346.1886833050053</c:v>
                </c:pt>
                <c:pt idx="7227">
                  <c:v>3542.7321753646374</c:v>
                </c:pt>
                <c:pt idx="7228">
                  <c:v>3672.9235099372081</c:v>
                </c:pt>
                <c:pt idx="7229">
                  <c:v>3783.1400740823133</c:v>
                </c:pt>
                <c:pt idx="7230">
                  <c:v>3834.8384917113876</c:v>
                </c:pt>
                <c:pt idx="7231">
                  <c:v>3763.1447122490822</c:v>
                </c:pt>
                <c:pt idx="7232">
                  <c:v>3615.2400317673819</c:v>
                </c:pt>
                <c:pt idx="7233">
                  <c:v>3343.7482052922946</c:v>
                </c:pt>
                <c:pt idx="7234">
                  <c:v>3309.2000664688326</c:v>
                </c:pt>
                <c:pt idx="7235">
                  <c:v>3599.5657390296733</c:v>
                </c:pt>
                <c:pt idx="7236">
                  <c:v>3637.2269178104707</c:v>
                </c:pt>
                <c:pt idx="7237">
                  <c:v>3680.9030307787448</c:v>
                </c:pt>
                <c:pt idx="7238">
                  <c:v>3807.7157923637651</c:v>
                </c:pt>
                <c:pt idx="7239">
                  <c:v>3763.0412244632612</c:v>
                </c:pt>
                <c:pt idx="7240">
                  <c:v>3900.387258383993</c:v>
                </c:pt>
                <c:pt idx="7241">
                  <c:v>3994.4702873842562</c:v>
                </c:pt>
                <c:pt idx="7242">
                  <c:v>4097.1533800704374</c:v>
                </c:pt>
                <c:pt idx="7243">
                  <c:v>3942.364846301236</c:v>
                </c:pt>
                <c:pt idx="7244">
                  <c:v>3705.1194200198415</c:v>
                </c:pt>
                <c:pt idx="7245">
                  <c:v>3502.0554990602723</c:v>
                </c:pt>
                <c:pt idx="7246">
                  <c:v>3504.2175808302095</c:v>
                </c:pt>
                <c:pt idx="7247">
                  <c:v>3435.8614793103216</c:v>
                </c:pt>
                <c:pt idx="7248">
                  <c:v>3396.1402922855059</c:v>
                </c:pt>
                <c:pt idx="7249">
                  <c:v>3381.9408596682429</c:v>
                </c:pt>
                <c:pt idx="7250">
                  <c:v>3425.9265857998998</c:v>
                </c:pt>
                <c:pt idx="7251">
                  <c:v>3454.1158052964042</c:v>
                </c:pt>
                <c:pt idx="7252">
                  <c:v>3536.7819198146944</c:v>
                </c:pt>
                <c:pt idx="7253">
                  <c:v>3610.0845880985621</c:v>
                </c:pt>
                <c:pt idx="7254">
                  <c:v>3754.3255043498502</c:v>
                </c:pt>
                <c:pt idx="7255">
                  <c:v>3852.3264564664273</c:v>
                </c:pt>
                <c:pt idx="7256">
                  <c:v>3895.6128387208546</c:v>
                </c:pt>
                <c:pt idx="7257">
                  <c:v>3877.9732740409881</c:v>
                </c:pt>
                <c:pt idx="7258">
                  <c:v>3979.8334809679072</c:v>
                </c:pt>
                <c:pt idx="7259">
                  <c:v>4015.0991622995011</c:v>
                </c:pt>
                <c:pt idx="7260">
                  <c:v>3934.0064834550112</c:v>
                </c:pt>
                <c:pt idx="7261">
                  <c:v>3917.5406190748909</c:v>
                </c:pt>
                <c:pt idx="7262">
                  <c:v>4105.7091124418921</c:v>
                </c:pt>
                <c:pt idx="7263">
                  <c:v>4343.4898104322765</c:v>
                </c:pt>
                <c:pt idx="7264">
                  <c:v>4333.6575250270944</c:v>
                </c:pt>
                <c:pt idx="7265">
                  <c:v>3995.4111158668461</c:v>
                </c:pt>
                <c:pt idx="7266">
                  <c:v>3860.7261522869117</c:v>
                </c:pt>
                <c:pt idx="7267">
                  <c:v>3813.8877246897364</c:v>
                </c:pt>
                <c:pt idx="7268">
                  <c:v>3624.2084975988837</c:v>
                </c:pt>
                <c:pt idx="7269">
                  <c:v>3567.6126742997667</c:v>
                </c:pt>
                <c:pt idx="7270">
                  <c:v>3612.7813207228519</c:v>
                </c:pt>
                <c:pt idx="7271">
                  <c:v>3558.0169416098138</c:v>
                </c:pt>
                <c:pt idx="7272">
                  <c:v>3589.0167503895145</c:v>
                </c:pt>
                <c:pt idx="7273">
                  <c:v>3633.1958424349705</c:v>
                </c:pt>
                <c:pt idx="7274">
                  <c:v>3576.1013669295094</c:v>
                </c:pt>
                <c:pt idx="7275">
                  <c:v>3654.0202554361731</c:v>
                </c:pt>
                <c:pt idx="7276">
                  <c:v>3772.627835995911</c:v>
                </c:pt>
                <c:pt idx="7277">
                  <c:v>3846.1321657288831</c:v>
                </c:pt>
                <c:pt idx="7278">
                  <c:v>3829.2805633254216</c:v>
                </c:pt>
                <c:pt idx="7279">
                  <c:v>3912.2230406100857</c:v>
                </c:pt>
                <c:pt idx="7280">
                  <c:v>3815.2564257658878</c:v>
                </c:pt>
                <c:pt idx="7281">
                  <c:v>3877.1018813512501</c:v>
                </c:pt>
                <c:pt idx="7282">
                  <c:v>3922.3248298941353</c:v>
                </c:pt>
                <c:pt idx="7283">
                  <c:v>3961.4876965958711</c:v>
                </c:pt>
                <c:pt idx="7284">
                  <c:v>3909.1989111866947</c:v>
                </c:pt>
                <c:pt idx="7285">
                  <c:v>3881.0977514840065</c:v>
                </c:pt>
                <c:pt idx="7286">
                  <c:v>3920.7629010538981</c:v>
                </c:pt>
                <c:pt idx="7287">
                  <c:v>3961.3995843816101</c:v>
                </c:pt>
                <c:pt idx="7288">
                  <c:v>3937.5534773234899</c:v>
                </c:pt>
                <c:pt idx="7289">
                  <c:v>3935.6252764642622</c:v>
                </c:pt>
                <c:pt idx="7290">
                  <c:v>3815.2452700400913</c:v>
                </c:pt>
                <c:pt idx="7291">
                  <c:v>3684.6124144468286</c:v>
                </c:pt>
                <c:pt idx="7292">
                  <c:v>3538.9988421060784</c:v>
                </c:pt>
                <c:pt idx="7293">
                  <c:v>3406.0398320285931</c:v>
                </c:pt>
                <c:pt idx="7294">
                  <c:v>3411.4591165301613</c:v>
                </c:pt>
                <c:pt idx="7295">
                  <c:v>3490.3119669872608</c:v>
                </c:pt>
                <c:pt idx="7296">
                  <c:v>3564.607195087563</c:v>
                </c:pt>
                <c:pt idx="7297">
                  <c:v>3558.855785025984</c:v>
                </c:pt>
                <c:pt idx="7298">
                  <c:v>3569.9096835630212</c:v>
                </c:pt>
                <c:pt idx="7299">
                  <c:v>3524.9244682874528</c:v>
                </c:pt>
                <c:pt idx="7300">
                  <c:v>3743.1079388109251</c:v>
                </c:pt>
                <c:pt idx="7301">
                  <c:v>3918.851295087607</c:v>
                </c:pt>
                <c:pt idx="7302">
                  <c:v>3995.7889777184355</c:v>
                </c:pt>
                <c:pt idx="7303">
                  <c:v>3954.1526370645533</c:v>
                </c:pt>
                <c:pt idx="7304">
                  <c:v>3896.2684830591838</c:v>
                </c:pt>
                <c:pt idx="7305">
                  <c:v>3936.4762808774572</c:v>
                </c:pt>
                <c:pt idx="7306">
                  <c:v>3873.4526670704004</c:v>
                </c:pt>
                <c:pt idx="7307">
                  <c:v>3774.4575301036157</c:v>
                </c:pt>
                <c:pt idx="7308">
                  <c:v>3687.3593745934691</c:v>
                </c:pt>
                <c:pt idx="7309">
                  <c:v>3644.5267267772028</c:v>
                </c:pt>
                <c:pt idx="7310">
                  <c:v>3707.7920872918412</c:v>
                </c:pt>
                <c:pt idx="7311">
                  <c:v>3842.9935986533278</c:v>
                </c:pt>
                <c:pt idx="7312">
                  <c:v>3907.721867427118</c:v>
                </c:pt>
                <c:pt idx="7313">
                  <c:v>4026.0281205299466</c:v>
                </c:pt>
                <c:pt idx="7314">
                  <c:v>4157.1266891789319</c:v>
                </c:pt>
                <c:pt idx="7315">
                  <c:v>4078.6548163135781</c:v>
                </c:pt>
                <c:pt idx="7316">
                  <c:v>4066.8790811603494</c:v>
                </c:pt>
                <c:pt idx="7317">
                  <c:v>4037.4170299356147</c:v>
                </c:pt>
                <c:pt idx="7318">
                  <c:v>4020.5230314057576</c:v>
                </c:pt>
                <c:pt idx="7319">
                  <c:v>3990.5319869123259</c:v>
                </c:pt>
                <c:pt idx="7320">
                  <c:v>4010.0356903001525</c:v>
                </c:pt>
                <c:pt idx="7321">
                  <c:v>4004.2718047188832</c:v>
                </c:pt>
                <c:pt idx="7322">
                  <c:v>4003.0722169103619</c:v>
                </c:pt>
                <c:pt idx="7323">
                  <c:v>4046.8723479130363</c:v>
                </c:pt>
                <c:pt idx="7324">
                  <c:v>4181.5558420823918</c:v>
                </c:pt>
                <c:pt idx="7325">
                  <c:v>4421.549062323119</c:v>
                </c:pt>
                <c:pt idx="7326">
                  <c:v>4638.3467345149138</c:v>
                </c:pt>
                <c:pt idx="7327">
                  <c:v>4581.2559950581999</c:v>
                </c:pt>
                <c:pt idx="7328">
                  <c:v>4614.7019569097511</c:v>
                </c:pt>
                <c:pt idx="7329">
                  <c:v>4589.1027578483463</c:v>
                </c:pt>
                <c:pt idx="7330">
                  <c:v>4509.5061284507583</c:v>
                </c:pt>
                <c:pt idx="7331">
                  <c:v>4376.9460057374317</c:v>
                </c:pt>
                <c:pt idx="7332">
                  <c:v>4304.2070685493763</c:v>
                </c:pt>
                <c:pt idx="7333">
                  <c:v>4436.4254673009273</c:v>
                </c:pt>
                <c:pt idx="7334">
                  <c:v>4487.498696869794</c:v>
                </c:pt>
                <c:pt idx="7335">
                  <c:v>4475.903913267859</c:v>
                </c:pt>
                <c:pt idx="7336">
                  <c:v>4486.7583683958401</c:v>
                </c:pt>
                <c:pt idx="7337">
                  <c:v>4521.1073499385038</c:v>
                </c:pt>
                <c:pt idx="7338">
                  <c:v>4514.7117390307894</c:v>
                </c:pt>
                <c:pt idx="7339">
                  <c:v>4454.0004428948523</c:v>
                </c:pt>
                <c:pt idx="7340">
                  <c:v>4385.3705013424724</c:v>
                </c:pt>
                <c:pt idx="7341">
                  <c:v>4071.6561016419887</c:v>
                </c:pt>
                <c:pt idx="7342">
                  <c:v>3918.8154307669856</c:v>
                </c:pt>
                <c:pt idx="7343">
                  <c:v>3878.2745075779358</c:v>
                </c:pt>
                <c:pt idx="7344">
                  <c:v>3848.9761206248572</c:v>
                </c:pt>
                <c:pt idx="7345">
                  <c:v>3822.790078512181</c:v>
                </c:pt>
                <c:pt idx="7346">
                  <c:v>3834.5852769395296</c:v>
                </c:pt>
                <c:pt idx="7347">
                  <c:v>3945.9037728817593</c:v>
                </c:pt>
                <c:pt idx="7348">
                  <c:v>4100.532674931188</c:v>
                </c:pt>
                <c:pt idx="7349">
                  <c:v>4290.9927373022119</c:v>
                </c:pt>
                <c:pt idx="7350">
                  <c:v>4298.7616169633302</c:v>
                </c:pt>
                <c:pt idx="7351">
                  <c:v>4264.9676892948128</c:v>
                </c:pt>
                <c:pt idx="7352">
                  <c:v>4333.3880681082073</c:v>
                </c:pt>
                <c:pt idx="7353">
                  <c:v>4421.5862109446252</c:v>
                </c:pt>
                <c:pt idx="7354">
                  <c:v>4456.6226418380857</c:v>
                </c:pt>
                <c:pt idx="7355">
                  <c:v>4653.9720485381467</c:v>
                </c:pt>
                <c:pt idx="7356">
                  <c:v>4689.9119425123126</c:v>
                </c:pt>
                <c:pt idx="7357">
                  <c:v>4690.6461132222039</c:v>
                </c:pt>
                <c:pt idx="7358">
                  <c:v>4645.4641596509218</c:v>
                </c:pt>
                <c:pt idx="7359">
                  <c:v>4572.8755883230679</c:v>
                </c:pt>
                <c:pt idx="7360">
                  <c:v>4462.2940845119319</c:v>
                </c:pt>
                <c:pt idx="7361">
                  <c:v>4449.2463077594612</c:v>
                </c:pt>
                <c:pt idx="7362">
                  <c:v>4377.2804940397591</c:v>
                </c:pt>
                <c:pt idx="7363">
                  <c:v>4320.3599452000135</c:v>
                </c:pt>
                <c:pt idx="7364">
                  <c:v>4180.0084047647642</c:v>
                </c:pt>
                <c:pt idx="7365">
                  <c:v>4042.0312205043342</c:v>
                </c:pt>
                <c:pt idx="7366">
                  <c:v>3841.7107890211582</c:v>
                </c:pt>
                <c:pt idx="7367">
                  <c:v>3730.6959456009604</c:v>
                </c:pt>
                <c:pt idx="7368">
                  <c:v>3715.7446574724677</c:v>
                </c:pt>
                <c:pt idx="7369">
                  <c:v>3703.6336679139608</c:v>
                </c:pt>
                <c:pt idx="7370">
                  <c:v>3721.1619041292647</c:v>
                </c:pt>
                <c:pt idx="7371">
                  <c:v>3720.4387144103553</c:v>
                </c:pt>
                <c:pt idx="7372">
                  <c:v>3888.8748218395426</c:v>
                </c:pt>
                <c:pt idx="7373">
                  <c:v>4067.6855740638048</c:v>
                </c:pt>
                <c:pt idx="7374">
                  <c:v>4081.4768621940789</c:v>
                </c:pt>
                <c:pt idx="7375">
                  <c:v>3978.3273083687523</c:v>
                </c:pt>
                <c:pt idx="7376">
                  <c:v>3997.1109880140857</c:v>
                </c:pt>
                <c:pt idx="7377">
                  <c:v>4022.1432097344577</c:v>
                </c:pt>
                <c:pt idx="7378">
                  <c:v>3979.7127965461345</c:v>
                </c:pt>
                <c:pt idx="7379">
                  <c:v>3932.7636263920695</c:v>
                </c:pt>
                <c:pt idx="7380">
                  <c:v>3906.5904616891562</c:v>
                </c:pt>
                <c:pt idx="7381">
                  <c:v>4082.8194966582714</c:v>
                </c:pt>
                <c:pt idx="7382">
                  <c:v>4153.5008822645868</c:v>
                </c:pt>
                <c:pt idx="7383">
                  <c:v>4333.58941885697</c:v>
                </c:pt>
                <c:pt idx="7384">
                  <c:v>4266.5692441685933</c:v>
                </c:pt>
                <c:pt idx="7385">
                  <c:v>4171.8115121761848</c:v>
                </c:pt>
                <c:pt idx="7386">
                  <c:v>4262.8697559514576</c:v>
                </c:pt>
                <c:pt idx="7387">
                  <c:v>4257.1477013386702</c:v>
                </c:pt>
                <c:pt idx="7388">
                  <c:v>4258.6395216570209</c:v>
                </c:pt>
                <c:pt idx="7389">
                  <c:v>4225.7997520071858</c:v>
                </c:pt>
                <c:pt idx="7390">
                  <c:v>4287.5020692011012</c:v>
                </c:pt>
                <c:pt idx="7391">
                  <c:v>4299.8628318016717</c:v>
                </c:pt>
                <c:pt idx="7392">
                  <c:v>4240.0342539016665</c:v>
                </c:pt>
                <c:pt idx="7393">
                  <c:v>4210.2167046973773</c:v>
                </c:pt>
                <c:pt idx="7394">
                  <c:v>4214.3564782324402</c:v>
                </c:pt>
                <c:pt idx="7395">
                  <c:v>4230.2475245927862</c:v>
                </c:pt>
                <c:pt idx="7396">
                  <c:v>4256.4545228701518</c:v>
                </c:pt>
                <c:pt idx="7397">
                  <c:v>4391.5967161305762</c:v>
                </c:pt>
                <c:pt idx="7398">
                  <c:v>4606.1280968934125</c:v>
                </c:pt>
                <c:pt idx="7399">
                  <c:v>4595.5901787958283</c:v>
                </c:pt>
                <c:pt idx="7400">
                  <c:v>4538.7220706040653</c:v>
                </c:pt>
                <c:pt idx="7401">
                  <c:v>4432.0419152200202</c:v>
                </c:pt>
                <c:pt idx="7402">
                  <c:v>4336.5272107165574</c:v>
                </c:pt>
                <c:pt idx="7403">
                  <c:v>4397.6682021485867</c:v>
                </c:pt>
                <c:pt idx="7404">
                  <c:v>4409.9246988473669</c:v>
                </c:pt>
                <c:pt idx="7405">
                  <c:v>4382.4810651585394</c:v>
                </c:pt>
                <c:pt idx="7406">
                  <c:v>4604.5879198073153</c:v>
                </c:pt>
                <c:pt idx="7407">
                  <c:v>4811.9864004821584</c:v>
                </c:pt>
                <c:pt idx="7408">
                  <c:v>4873.2516660443007</c:v>
                </c:pt>
                <c:pt idx="7409">
                  <c:v>4889.2110937821035</c:v>
                </c:pt>
                <c:pt idx="7410">
                  <c:v>4918.4174238824889</c:v>
                </c:pt>
                <c:pt idx="7411">
                  <c:v>4900.7026446018363</c:v>
                </c:pt>
                <c:pt idx="7412">
                  <c:v>4724.8229596770452</c:v>
                </c:pt>
                <c:pt idx="7413">
                  <c:v>4685.2086688590207</c:v>
                </c:pt>
                <c:pt idx="7414">
                  <c:v>4685.6651357128385</c:v>
                </c:pt>
                <c:pt idx="7415">
                  <c:v>4636.72088331126</c:v>
                </c:pt>
                <c:pt idx="7416">
                  <c:v>4538.8085343045641</c:v>
                </c:pt>
                <c:pt idx="7417">
                  <c:v>4529.5867832612321</c:v>
                </c:pt>
                <c:pt idx="7418">
                  <c:v>4505.0418952996115</c:v>
                </c:pt>
                <c:pt idx="7419">
                  <c:v>4476.8701258045394</c:v>
                </c:pt>
                <c:pt idx="7420">
                  <c:v>4361.2897177841915</c:v>
                </c:pt>
                <c:pt idx="7421">
                  <c:v>4619.4053643443849</c:v>
                </c:pt>
                <c:pt idx="7422">
                  <c:v>4820.6066285656379</c:v>
                </c:pt>
                <c:pt idx="7423">
                  <c:v>4893.856617033246</c:v>
                </c:pt>
                <c:pt idx="7424">
                  <c:v>4827.432642445443</c:v>
                </c:pt>
                <c:pt idx="7425">
                  <c:v>4746.315813065441</c:v>
                </c:pt>
                <c:pt idx="7426">
                  <c:v>4659.5964012716504</c:v>
                </c:pt>
                <c:pt idx="7427">
                  <c:v>4479.4501623291917</c:v>
                </c:pt>
                <c:pt idx="7428">
                  <c:v>4569.7926371546973</c:v>
                </c:pt>
                <c:pt idx="7429">
                  <c:v>4843.7670740285303</c:v>
                </c:pt>
                <c:pt idx="7430">
                  <c:v>4908.3563456259699</c:v>
                </c:pt>
                <c:pt idx="7431">
                  <c:v>5067.2601081492976</c:v>
                </c:pt>
                <c:pt idx="7432">
                  <c:v>5224.266381641185</c:v>
                </c:pt>
                <c:pt idx="7433">
                  <c:v>5354.6112409517709</c:v>
                </c:pt>
                <c:pt idx="7434">
                  <c:v>5389.9373133653944</c:v>
                </c:pt>
                <c:pt idx="7435">
                  <c:v>5380.2117991224031</c:v>
                </c:pt>
                <c:pt idx="7436">
                  <c:v>5278.0459968407349</c:v>
                </c:pt>
                <c:pt idx="7437">
                  <c:v>5094.2372954422299</c:v>
                </c:pt>
                <c:pt idx="7438">
                  <c:v>5115.9090412413434</c:v>
                </c:pt>
                <c:pt idx="7439">
                  <c:v>5005.4921414475375</c:v>
                </c:pt>
                <c:pt idx="7440">
                  <c:v>4973.2991396074685</c:v>
                </c:pt>
                <c:pt idx="7441">
                  <c:v>4954.4912624666431</c:v>
                </c:pt>
                <c:pt idx="7442">
                  <c:v>4916.7782278534451</c:v>
                </c:pt>
                <c:pt idx="7443">
                  <c:v>4931.8688386018803</c:v>
                </c:pt>
                <c:pt idx="7444">
                  <c:v>5081.7424145889499</c:v>
                </c:pt>
                <c:pt idx="7445">
                  <c:v>5286.4028362177978</c:v>
                </c:pt>
                <c:pt idx="7446">
                  <c:v>5627.3199108443314</c:v>
                </c:pt>
                <c:pt idx="7447">
                  <c:v>5565.1322491383153</c:v>
                </c:pt>
                <c:pt idx="7448">
                  <c:v>5523.7241389080873</c:v>
                </c:pt>
                <c:pt idx="7449">
                  <c:v>5493.8668298889124</c:v>
                </c:pt>
                <c:pt idx="7450">
                  <c:v>5466.2794899204901</c:v>
                </c:pt>
                <c:pt idx="7451">
                  <c:v>5357.3225060521418</c:v>
                </c:pt>
                <c:pt idx="7452">
                  <c:v>5272.9267658700728</c:v>
                </c:pt>
                <c:pt idx="7453">
                  <c:v>5349.276844261095</c:v>
                </c:pt>
                <c:pt idx="7454">
                  <c:v>5303.8405854635057</c:v>
                </c:pt>
                <c:pt idx="7455">
                  <c:v>5473.5636109771822</c:v>
                </c:pt>
                <c:pt idx="7456">
                  <c:v>5584.8568937778109</c:v>
                </c:pt>
                <c:pt idx="7457">
                  <c:v>5635.0731894167702</c:v>
                </c:pt>
                <c:pt idx="7458">
                  <c:v>5647.5470600467788</c:v>
                </c:pt>
                <c:pt idx="7459">
                  <c:v>5671.2183471074459</c:v>
                </c:pt>
                <c:pt idx="7460">
                  <c:v>5447.4356081251453</c:v>
                </c:pt>
                <c:pt idx="7461">
                  <c:v>5401.5313647192479</c:v>
                </c:pt>
                <c:pt idx="7462">
                  <c:v>5267.0318641250924</c:v>
                </c:pt>
                <c:pt idx="7463">
                  <c:v>5207.1470254372289</c:v>
                </c:pt>
                <c:pt idx="7464">
                  <c:v>5196.0764883235533</c:v>
                </c:pt>
                <c:pt idx="7465">
                  <c:v>5149.443047597415</c:v>
                </c:pt>
                <c:pt idx="7466">
                  <c:v>5166.3035008652632</c:v>
                </c:pt>
                <c:pt idx="7467">
                  <c:v>5339.5240189666392</c:v>
                </c:pt>
                <c:pt idx="7468">
                  <c:v>5874.2790289203958</c:v>
                </c:pt>
                <c:pt idx="7469">
                  <c:v>6269.7544282684248</c:v>
                </c:pt>
                <c:pt idx="7470">
                  <c:v>6516.8969032297109</c:v>
                </c:pt>
                <c:pt idx="7471">
                  <c:v>6586.6985361775196</c:v>
                </c:pt>
                <c:pt idx="7472">
                  <c:v>6433.3719092185665</c:v>
                </c:pt>
                <c:pt idx="7473">
                  <c:v>6201.1338934555588</c:v>
                </c:pt>
                <c:pt idx="7474">
                  <c:v>6163.7931510217477</c:v>
                </c:pt>
                <c:pt idx="7475">
                  <c:v>6064.545611253945</c:v>
                </c:pt>
                <c:pt idx="7476">
                  <c:v>6000.9526721067896</c:v>
                </c:pt>
                <c:pt idx="7477">
                  <c:v>6167.5196111955984</c:v>
                </c:pt>
                <c:pt idx="7478">
                  <c:v>6741.7151381946269</c:v>
                </c:pt>
                <c:pt idx="7479">
                  <c:v>6904.6384632533818</c:v>
                </c:pt>
                <c:pt idx="7480">
                  <c:v>7025.0146855767334</c:v>
                </c:pt>
                <c:pt idx="7481">
                  <c:v>7102.8525692077037</c:v>
                </c:pt>
                <c:pt idx="7482">
                  <c:v>7186.4521859054512</c:v>
                </c:pt>
                <c:pt idx="7483">
                  <c:v>7005.2331483738162</c:v>
                </c:pt>
                <c:pt idx="7484">
                  <c:v>6771.3178422080773</c:v>
                </c:pt>
                <c:pt idx="7485">
                  <c:v>6568.1350480622941</c:v>
                </c:pt>
                <c:pt idx="7486">
                  <c:v>6483.7525211084576</c:v>
                </c:pt>
                <c:pt idx="7487">
                  <c:v>6471.3627907519658</c:v>
                </c:pt>
                <c:pt idx="7488">
                  <c:v>6519.3739111934756</c:v>
                </c:pt>
                <c:pt idx="7489">
                  <c:v>6657.9878231104531</c:v>
                </c:pt>
                <c:pt idx="7490">
                  <c:v>6681.1778795718028</c:v>
                </c:pt>
                <c:pt idx="7491">
                  <c:v>7088.6531431429967</c:v>
                </c:pt>
                <c:pt idx="7492">
                  <c:v>7286.0838528600261</c:v>
                </c:pt>
                <c:pt idx="7493">
                  <c:v>7758.9592995387293</c:v>
                </c:pt>
                <c:pt idx="7494">
                  <c:v>8104.0854245937044</c:v>
                </c:pt>
                <c:pt idx="7495">
                  <c:v>7874.3128296920941</c:v>
                </c:pt>
                <c:pt idx="7496">
                  <c:v>7296.4742565511579</c:v>
                </c:pt>
                <c:pt idx="7497">
                  <c:v>6775.1923628346749</c:v>
                </c:pt>
                <c:pt idx="7498">
                  <c:v>6435.6079524130419</c:v>
                </c:pt>
                <c:pt idx="7499">
                  <c:v>5969.7830172653303</c:v>
                </c:pt>
                <c:pt idx="7500">
                  <c:v>5812.6374517320937</c:v>
                </c:pt>
                <c:pt idx="7501">
                  <c:v>5812.9462955162471</c:v>
                </c:pt>
                <c:pt idx="7502">
                  <c:v>5767.2164145210081</c:v>
                </c:pt>
                <c:pt idx="7503">
                  <c:v>5724.1459591751291</c:v>
                </c:pt>
                <c:pt idx="7504">
                  <c:v>5857.37908722267</c:v>
                </c:pt>
                <c:pt idx="7505">
                  <c:v>5809.3177141406804</c:v>
                </c:pt>
                <c:pt idx="7506">
                  <c:v>5800.6677128829942</c:v>
                </c:pt>
                <c:pt idx="7507">
                  <c:v>5591.3607529029423</c:v>
                </c:pt>
                <c:pt idx="7508">
                  <c:v>5412.8209160872202</c:v>
                </c:pt>
                <c:pt idx="7509">
                  <c:v>5053.4374944352021</c:v>
                </c:pt>
                <c:pt idx="7510">
                  <c:v>5122.5185930872331</c:v>
                </c:pt>
                <c:pt idx="7511">
                  <c:v>4979.1495194678291</c:v>
                </c:pt>
                <c:pt idx="7512">
                  <c:v>5072.4869872324989</c:v>
                </c:pt>
                <c:pt idx="7513">
                  <c:v>5010.1497214008623</c:v>
                </c:pt>
                <c:pt idx="7514">
                  <c:v>4856.8651372763507</c:v>
                </c:pt>
                <c:pt idx="7515">
                  <c:v>4688.9460597875941</c:v>
                </c:pt>
                <c:pt idx="7516">
                  <c:v>4698.4409513781156</c:v>
                </c:pt>
                <c:pt idx="7517">
                  <c:v>4836.6061366475014</c:v>
                </c:pt>
                <c:pt idx="7518">
                  <c:v>4859.4029049033943</c:v>
                </c:pt>
                <c:pt idx="7519">
                  <c:v>4808.6821394808694</c:v>
                </c:pt>
                <c:pt idx="7520">
                  <c:v>4745.4997878318245</c:v>
                </c:pt>
                <c:pt idx="7521">
                  <c:v>4680.2689915611381</c:v>
                </c:pt>
                <c:pt idx="7522">
                  <c:v>4540.5304388737386</c:v>
                </c:pt>
                <c:pt idx="7523">
                  <c:v>4430.4148075638432</c:v>
                </c:pt>
                <c:pt idx="7524">
                  <c:v>4372.5180906713767</c:v>
                </c:pt>
                <c:pt idx="7525">
                  <c:v>4380.4017924012514</c:v>
                </c:pt>
                <c:pt idx="7526">
                  <c:v>4386.4305060669694</c:v>
                </c:pt>
                <c:pt idx="7527">
                  <c:v>4364.9761615013986</c:v>
                </c:pt>
                <c:pt idx="7528">
                  <c:v>4350.0897977312716</c:v>
                </c:pt>
                <c:pt idx="7529">
                  <c:v>4302.3362937408001</c:v>
                </c:pt>
                <c:pt idx="7530">
                  <c:v>4326.8212192667315</c:v>
                </c:pt>
                <c:pt idx="7531">
                  <c:v>4254.7754911257862</c:v>
                </c:pt>
                <c:pt idx="7532">
                  <c:v>4266.5912722221592</c:v>
                </c:pt>
                <c:pt idx="7533">
                  <c:v>4069.5483367351021</c:v>
                </c:pt>
                <c:pt idx="7534">
                  <c:v>4050.8430223776741</c:v>
                </c:pt>
                <c:pt idx="7535">
                  <c:v>4075.6383211634302</c:v>
                </c:pt>
                <c:pt idx="7536">
                  <c:v>4276.1497099501994</c:v>
                </c:pt>
                <c:pt idx="7537">
                  <c:v>4365.2954052832765</c:v>
                </c:pt>
                <c:pt idx="7538">
                  <c:v>4399.5350738182497</c:v>
                </c:pt>
                <c:pt idx="7539">
                  <c:v>4640.2738438275983</c:v>
                </c:pt>
                <c:pt idx="7540">
                  <c:v>5015.3832147428293</c:v>
                </c:pt>
                <c:pt idx="7541">
                  <c:v>5470.5904052851674</c:v>
                </c:pt>
                <c:pt idx="7542">
                  <c:v>5682.1950516258803</c:v>
                </c:pt>
                <c:pt idx="7543">
                  <c:v>5528.224002672041</c:v>
                </c:pt>
                <c:pt idx="7544">
                  <c:v>5251.0485173754078</c:v>
                </c:pt>
                <c:pt idx="7545">
                  <c:v>4905.8802997957755</c:v>
                </c:pt>
                <c:pt idx="7546">
                  <c:v>4593.0952517768646</c:v>
                </c:pt>
                <c:pt idx="7547">
                  <c:v>4445.7271141999272</c:v>
                </c:pt>
                <c:pt idx="7548">
                  <c:v>4517.9903795399414</c:v>
                </c:pt>
                <c:pt idx="7549">
                  <c:v>4656.5938799922242</c:v>
                </c:pt>
                <c:pt idx="7550">
                  <c:v>4862.4940434899045</c:v>
                </c:pt>
                <c:pt idx="7551">
                  <c:v>5021.294094894477</c:v>
                </c:pt>
                <c:pt idx="7552">
                  <c:v>4967.2745873605618</c:v>
                </c:pt>
                <c:pt idx="7553">
                  <c:v>4886.0725518246782</c:v>
                </c:pt>
                <c:pt idx="7554">
                  <c:v>4902.795011003218</c:v>
                </c:pt>
                <c:pt idx="7555">
                  <c:v>5113.0397787377597</c:v>
                </c:pt>
                <c:pt idx="7556">
                  <c:v>4921.3360298594735</c:v>
                </c:pt>
                <c:pt idx="7557">
                  <c:v>4761.9355060881189</c:v>
                </c:pt>
                <c:pt idx="7558">
                  <c:v>4628.8760371436083</c:v>
                </c:pt>
                <c:pt idx="7559">
                  <c:v>4703.5532481068849</c:v>
                </c:pt>
                <c:pt idx="7560">
                  <c:v>4649.8806962042918</c:v>
                </c:pt>
                <c:pt idx="7561">
                  <c:v>4631.7452073653685</c:v>
                </c:pt>
                <c:pt idx="7562">
                  <c:v>4664.6906975843222</c:v>
                </c:pt>
                <c:pt idx="7563">
                  <c:v>4739.3941275064744</c:v>
                </c:pt>
                <c:pt idx="7564">
                  <c:v>4931.4007229424624</c:v>
                </c:pt>
                <c:pt idx="7565">
                  <c:v>5307.0235340897834</c:v>
                </c:pt>
                <c:pt idx="7566">
                  <c:v>5309.403103914623</c:v>
                </c:pt>
                <c:pt idx="7567">
                  <c:v>5284.6322330558969</c:v>
                </c:pt>
                <c:pt idx="7568">
                  <c:v>5012.9749359880107</c:v>
                </c:pt>
                <c:pt idx="7569">
                  <c:v>5068.754141047234</c:v>
                </c:pt>
                <c:pt idx="7570">
                  <c:v>5036.8106190223698</c:v>
                </c:pt>
                <c:pt idx="7571">
                  <c:v>4967.7377383670701</c:v>
                </c:pt>
                <c:pt idx="7572">
                  <c:v>4836.2331919427934</c:v>
                </c:pt>
                <c:pt idx="7573">
                  <c:v>4922.1310312186606</c:v>
                </c:pt>
                <c:pt idx="7574">
                  <c:v>5129.2265583107283</c:v>
                </c:pt>
                <c:pt idx="7575">
                  <c:v>5493.7862662186262</c:v>
                </c:pt>
                <c:pt idx="7576">
                  <c:v>5334.989478532756</c:v>
                </c:pt>
                <c:pt idx="7577">
                  <c:v>5294.5812129225778</c:v>
                </c:pt>
                <c:pt idx="7578">
                  <c:v>5202.5721785961186</c:v>
                </c:pt>
                <c:pt idx="7579">
                  <c:v>5141.4781870067936</c:v>
                </c:pt>
                <c:pt idx="7580">
                  <c:v>5069.5071880314781</c:v>
                </c:pt>
                <c:pt idx="7581">
                  <c:v>4947.0940404791163</c:v>
                </c:pt>
                <c:pt idx="7582">
                  <c:v>5224.3218091623985</c:v>
                </c:pt>
                <c:pt idx="7583">
                  <c:v>5268.747043588105</c:v>
                </c:pt>
                <c:pt idx="7584">
                  <c:v>5329.2866502099951</c:v>
                </c:pt>
                <c:pt idx="7585">
                  <c:v>5664.7680551238027</c:v>
                </c:pt>
                <c:pt idx="7586">
                  <c:v>5667.3058817238461</c:v>
                </c:pt>
                <c:pt idx="7587">
                  <c:v>5786.5214608064425</c:v>
                </c:pt>
                <c:pt idx="7588">
                  <c:v>5839.305970521732</c:v>
                </c:pt>
                <c:pt idx="7589">
                  <c:v>5831.7751293678093</c:v>
                </c:pt>
                <c:pt idx="7590">
                  <c:v>5973.966354373767</c:v>
                </c:pt>
                <c:pt idx="7591">
                  <c:v>6021.2075222377553</c:v>
                </c:pt>
                <c:pt idx="7592">
                  <c:v>5785.3122249059434</c:v>
                </c:pt>
                <c:pt idx="7593">
                  <c:v>5709.5119239437236</c:v>
                </c:pt>
                <c:pt idx="7594">
                  <c:v>5717.5356647062781</c:v>
                </c:pt>
                <c:pt idx="7595">
                  <c:v>5636.1064127547097</c:v>
                </c:pt>
                <c:pt idx="7596">
                  <c:v>5644.2663975281976</c:v>
                </c:pt>
                <c:pt idx="7597">
                  <c:v>5673.9731670444489</c:v>
                </c:pt>
                <c:pt idx="7598">
                  <c:v>5569.4805522927754</c:v>
                </c:pt>
                <c:pt idx="7599">
                  <c:v>5680.7107940487067</c:v>
                </c:pt>
                <c:pt idx="7600">
                  <c:v>5670.9353859176499</c:v>
                </c:pt>
                <c:pt idx="7601">
                  <c:v>5595.8558496827454</c:v>
                </c:pt>
                <c:pt idx="7602">
                  <c:v>5591.4999128010886</c:v>
                </c:pt>
                <c:pt idx="7603">
                  <c:v>5648.6239561673492</c:v>
                </c:pt>
                <c:pt idx="7604">
                  <c:v>5642.8331297540026</c:v>
                </c:pt>
                <c:pt idx="7605">
                  <c:v>5505.1813732497367</c:v>
                </c:pt>
                <c:pt idx="7606">
                  <c:v>5494.4349200722936</c:v>
                </c:pt>
                <c:pt idx="7607">
                  <c:v>5420.4475594253699</c:v>
                </c:pt>
                <c:pt idx="7608">
                  <c:v>5487.05359185426</c:v>
                </c:pt>
                <c:pt idx="7609">
                  <c:v>5450.0426504613833</c:v>
                </c:pt>
                <c:pt idx="7610">
                  <c:v>5484.8739006373726</c:v>
                </c:pt>
                <c:pt idx="7611">
                  <c:v>5479.556911356518</c:v>
                </c:pt>
                <c:pt idx="7612">
                  <c:v>5494.0890052052082</c:v>
                </c:pt>
                <c:pt idx="7613">
                  <c:v>5723.5266498493265</c:v>
                </c:pt>
                <c:pt idx="7614">
                  <c:v>5878.1541829606949</c:v>
                </c:pt>
                <c:pt idx="7615">
                  <c:v>5691.069570738463</c:v>
                </c:pt>
                <c:pt idx="7616">
                  <c:v>5630.5704206865303</c:v>
                </c:pt>
                <c:pt idx="7617">
                  <c:v>5705.0173404474381</c:v>
                </c:pt>
                <c:pt idx="7618">
                  <c:v>5629.3003115451247</c:v>
                </c:pt>
                <c:pt idx="7619">
                  <c:v>5573.8713378489438</c:v>
                </c:pt>
                <c:pt idx="7620">
                  <c:v>5871.1492662952933</c:v>
                </c:pt>
                <c:pt idx="7621">
                  <c:v>6212.6778690879319</c:v>
                </c:pt>
                <c:pt idx="7622">
                  <c:v>6478.1113550635009</c:v>
                </c:pt>
                <c:pt idx="7623">
                  <c:v>6979.4198254487283</c:v>
                </c:pt>
                <c:pt idx="7624">
                  <c:v>7165.3501012649067</c:v>
                </c:pt>
                <c:pt idx="7625">
                  <c:v>7098.8675397320312</c:v>
                </c:pt>
                <c:pt idx="7626">
                  <c:v>7102.8019998603731</c:v>
                </c:pt>
                <c:pt idx="7627">
                  <c:v>6921.2647265483192</c:v>
                </c:pt>
                <c:pt idx="7628">
                  <c:v>6654.3803518846316</c:v>
                </c:pt>
                <c:pt idx="7629">
                  <c:v>6706.3301315504868</c:v>
                </c:pt>
                <c:pt idx="7630">
                  <c:v>6545.130538131807</c:v>
                </c:pt>
                <c:pt idx="7631">
                  <c:v>6493.7183246614713</c:v>
                </c:pt>
                <c:pt idx="7632">
                  <c:v>6451.7383292261156</c:v>
                </c:pt>
                <c:pt idx="7633">
                  <c:v>6542.352620436548</c:v>
                </c:pt>
                <c:pt idx="7634">
                  <c:v>6691.1096098360413</c:v>
                </c:pt>
                <c:pt idx="7635">
                  <c:v>6746.6070195143075</c:v>
                </c:pt>
                <c:pt idx="7636">
                  <c:v>7004.1470131499436</c:v>
                </c:pt>
                <c:pt idx="7637">
                  <c:v>7134.5165652200112</c:v>
                </c:pt>
                <c:pt idx="7638">
                  <c:v>7143.1691001325034</c:v>
                </c:pt>
                <c:pt idx="7639">
                  <c:v>6798.4954126557386</c:v>
                </c:pt>
                <c:pt idx="7640">
                  <c:v>6339.2709103807974</c:v>
                </c:pt>
                <c:pt idx="7641">
                  <c:v>6203.4320002718659</c:v>
                </c:pt>
                <c:pt idx="7642">
                  <c:v>6253.3228468588568</c:v>
                </c:pt>
                <c:pt idx="7643">
                  <c:v>6244.534149842375</c:v>
                </c:pt>
                <c:pt idx="7644">
                  <c:v>6280.0493448440429</c:v>
                </c:pt>
                <c:pt idx="7645">
                  <c:v>6299.6503154583033</c:v>
                </c:pt>
                <c:pt idx="7646">
                  <c:v>6321.4990364995947</c:v>
                </c:pt>
                <c:pt idx="7647">
                  <c:v>6215.8068126435937</c:v>
                </c:pt>
                <c:pt idx="7648">
                  <c:v>6162.5680142531546</c:v>
                </c:pt>
                <c:pt idx="7649">
                  <c:v>6091.8886992543858</c:v>
                </c:pt>
                <c:pt idx="7650">
                  <c:v>5919.1366009602143</c:v>
                </c:pt>
                <c:pt idx="7651">
                  <c:v>5764.2082454847587</c:v>
                </c:pt>
                <c:pt idx="7652">
                  <c:v>5514.8246272566057</c:v>
                </c:pt>
                <c:pt idx="7653">
                  <c:v>5262.7836960322065</c:v>
                </c:pt>
                <c:pt idx="7654">
                  <c:v>5117.3705499838425</c:v>
                </c:pt>
                <c:pt idx="7655">
                  <c:v>4997.5128100840657</c:v>
                </c:pt>
                <c:pt idx="7656">
                  <c:v>4840.7268963045444</c:v>
                </c:pt>
                <c:pt idx="7657">
                  <c:v>4781.0927267207135</c:v>
                </c:pt>
                <c:pt idx="7658">
                  <c:v>4837.680081933896</c:v>
                </c:pt>
                <c:pt idx="7659">
                  <c:v>4841.319834870601</c:v>
                </c:pt>
                <c:pt idx="7660">
                  <c:v>4940.1936327061057</c:v>
                </c:pt>
                <c:pt idx="7661">
                  <c:v>5394.3735856699859</c:v>
                </c:pt>
                <c:pt idx="7662">
                  <c:v>5443.692953310293</c:v>
                </c:pt>
                <c:pt idx="7663">
                  <c:v>5260.4891368786748</c:v>
                </c:pt>
                <c:pt idx="7664">
                  <c:v>5364.5705088766863</c:v>
                </c:pt>
                <c:pt idx="7665">
                  <c:v>5363.5669478655564</c:v>
                </c:pt>
                <c:pt idx="7666">
                  <c:v>5295.3692270733809</c:v>
                </c:pt>
                <c:pt idx="7667">
                  <c:v>5275.8452768350016</c:v>
                </c:pt>
                <c:pt idx="7668">
                  <c:v>5319.7542703571735</c:v>
                </c:pt>
                <c:pt idx="7669">
                  <c:v>5218.5599444984655</c:v>
                </c:pt>
                <c:pt idx="7670">
                  <c:v>5235.9004063140255</c:v>
                </c:pt>
                <c:pt idx="7671">
                  <c:v>5246.1956237611521</c:v>
                </c:pt>
                <c:pt idx="7672">
                  <c:v>5252.0945247491918</c:v>
                </c:pt>
                <c:pt idx="7673">
                  <c:v>5205.3199725554514</c:v>
                </c:pt>
                <c:pt idx="7674">
                  <c:v>5119.0168123979838</c:v>
                </c:pt>
                <c:pt idx="7675">
                  <c:v>5067.0936661401411</c:v>
                </c:pt>
                <c:pt idx="7676">
                  <c:v>4825.0578461573086</c:v>
                </c:pt>
                <c:pt idx="7677">
                  <c:v>4795.8878811019968</c:v>
                </c:pt>
                <c:pt idx="7678">
                  <c:v>4564.4250135470038</c:v>
                </c:pt>
                <c:pt idx="7679">
                  <c:v>4500.4813723448979</c:v>
                </c:pt>
                <c:pt idx="7680">
                  <c:v>4520.9484477365813</c:v>
                </c:pt>
                <c:pt idx="7681">
                  <c:v>4591.8379020992206</c:v>
                </c:pt>
                <c:pt idx="7682">
                  <c:v>4631.8736369077824</c:v>
                </c:pt>
                <c:pt idx="7683">
                  <c:v>4749.3576791645692</c:v>
                </c:pt>
                <c:pt idx="7684">
                  <c:v>5191.6651523150913</c:v>
                </c:pt>
                <c:pt idx="7685">
                  <c:v>5540.1969140501096</c:v>
                </c:pt>
                <c:pt idx="7686">
                  <c:v>5777.1631883606597</c:v>
                </c:pt>
                <c:pt idx="7687">
                  <c:v>5518.1048037939836</c:v>
                </c:pt>
                <c:pt idx="7688">
                  <c:v>5520.6627576604415</c:v>
                </c:pt>
                <c:pt idx="7689">
                  <c:v>5397.8914474226085</c:v>
                </c:pt>
                <c:pt idx="7690">
                  <c:v>5401.2036834300279</c:v>
                </c:pt>
                <c:pt idx="7691">
                  <c:v>5432.1730386618401</c:v>
                </c:pt>
                <c:pt idx="7692">
                  <c:v>5312.0984976333993</c:v>
                </c:pt>
                <c:pt idx="7693">
                  <c:v>5295.7598565794278</c:v>
                </c:pt>
                <c:pt idx="7694">
                  <c:v>5261.0747518718299</c:v>
                </c:pt>
                <c:pt idx="7695">
                  <c:v>5227.0110980836016</c:v>
                </c:pt>
                <c:pt idx="7696">
                  <c:v>5179.6402988293066</c:v>
                </c:pt>
                <c:pt idx="7697">
                  <c:v>5167.0297331541251</c:v>
                </c:pt>
                <c:pt idx="7698">
                  <c:v>5039.696196843186</c:v>
                </c:pt>
                <c:pt idx="7699">
                  <c:v>4931.1602397860061</c:v>
                </c:pt>
                <c:pt idx="7700">
                  <c:v>4890.1497282506816</c:v>
                </c:pt>
                <c:pt idx="7701">
                  <c:v>4700.9021895248961</c:v>
                </c:pt>
                <c:pt idx="7702">
                  <c:v>4618.2298866639503</c:v>
                </c:pt>
                <c:pt idx="7703">
                  <c:v>4581.3039892512061</c:v>
                </c:pt>
                <c:pt idx="7704">
                  <c:v>4544.2512370935628</c:v>
                </c:pt>
                <c:pt idx="7705">
                  <c:v>4568.6634712986352</c:v>
                </c:pt>
                <c:pt idx="7706">
                  <c:v>4588.9895395175581</c:v>
                </c:pt>
                <c:pt idx="7707">
                  <c:v>4624.9639632752014</c:v>
                </c:pt>
                <c:pt idx="7708">
                  <c:v>4716.6688197830917</c:v>
                </c:pt>
                <c:pt idx="7709">
                  <c:v>5183.755442946258</c:v>
                </c:pt>
                <c:pt idx="7710">
                  <c:v>5647.6861489589064</c:v>
                </c:pt>
                <c:pt idx="7711">
                  <c:v>5598.6611133764318</c:v>
                </c:pt>
                <c:pt idx="7712">
                  <c:v>5560.914319997124</c:v>
                </c:pt>
                <c:pt idx="7713">
                  <c:v>5553.0845294179026</c:v>
                </c:pt>
                <c:pt idx="7714">
                  <c:v>5446.602832921445</c:v>
                </c:pt>
                <c:pt idx="7715">
                  <c:v>5378.107311039329</c:v>
                </c:pt>
                <c:pt idx="7716">
                  <c:v>5423.2795613679582</c:v>
                </c:pt>
                <c:pt idx="7717">
                  <c:v>5550.7429518560939</c:v>
                </c:pt>
                <c:pt idx="7718">
                  <c:v>5680.1041256946219</c:v>
                </c:pt>
                <c:pt idx="7719">
                  <c:v>5948.5744208345859</c:v>
                </c:pt>
                <c:pt idx="7720">
                  <c:v>6046.5111873934338</c:v>
                </c:pt>
                <c:pt idx="7721">
                  <c:v>6019.4691729383758</c:v>
                </c:pt>
                <c:pt idx="7722">
                  <c:v>6072.8153131093823</c:v>
                </c:pt>
                <c:pt idx="7723">
                  <c:v>6024.9994861250907</c:v>
                </c:pt>
                <c:pt idx="7724">
                  <c:v>5728.6786567027684</c:v>
                </c:pt>
                <c:pt idx="7725">
                  <c:v>5548.6051423899926</c:v>
                </c:pt>
                <c:pt idx="7726">
                  <c:v>5513.7686829323538</c:v>
                </c:pt>
                <c:pt idx="7727">
                  <c:v>5541.8280963037369</c:v>
                </c:pt>
                <c:pt idx="7728">
                  <c:v>5407.9916045742839</c:v>
                </c:pt>
                <c:pt idx="7729">
                  <c:v>5249.9160555839117</c:v>
                </c:pt>
                <c:pt idx="7730">
                  <c:v>5192.9569596981009</c:v>
                </c:pt>
                <c:pt idx="7731">
                  <c:v>5307.439902580013</c:v>
                </c:pt>
                <c:pt idx="7732">
                  <c:v>5803.4144021906741</c:v>
                </c:pt>
                <c:pt idx="7733">
                  <c:v>6288.3624355380389</c:v>
                </c:pt>
                <c:pt idx="7734">
                  <c:v>6428.9769081850036</c:v>
                </c:pt>
                <c:pt idx="7735">
                  <c:v>6363.6265518018645</c:v>
                </c:pt>
                <c:pt idx="7736">
                  <c:v>6129.5823896315569</c:v>
                </c:pt>
                <c:pt idx="7737">
                  <c:v>5923.4532061272803</c:v>
                </c:pt>
                <c:pt idx="7738">
                  <c:v>5863.4134994275164</c:v>
                </c:pt>
                <c:pt idx="7739">
                  <c:v>5711.3937905906796</c:v>
                </c:pt>
                <c:pt idx="7740">
                  <c:v>5675.5225788654789</c:v>
                </c:pt>
                <c:pt idx="7741">
                  <c:v>5774.6723162814787</c:v>
                </c:pt>
                <c:pt idx="7742">
                  <c:v>5526.0545334417866</c:v>
                </c:pt>
                <c:pt idx="7743">
                  <c:v>5444.6351392639699</c:v>
                </c:pt>
                <c:pt idx="7744">
                  <c:v>5388.0929819407211</c:v>
                </c:pt>
                <c:pt idx="7745">
                  <c:v>5348.2177978478458</c:v>
                </c:pt>
                <c:pt idx="7746">
                  <c:v>5292.0208438933596</c:v>
                </c:pt>
                <c:pt idx="7747">
                  <c:v>5223.1430415530385</c:v>
                </c:pt>
                <c:pt idx="7748">
                  <c:v>5129.8496522833975</c:v>
                </c:pt>
                <c:pt idx="7749">
                  <c:v>5072.9506018323118</c:v>
                </c:pt>
                <c:pt idx="7750">
                  <c:v>5264.700043318473</c:v>
                </c:pt>
                <c:pt idx="7751">
                  <c:v>5495.3799623941368</c:v>
                </c:pt>
                <c:pt idx="7752">
                  <c:v>5573.6089407625986</c:v>
                </c:pt>
                <c:pt idx="7753">
                  <c:v>5516.5825959993454</c:v>
                </c:pt>
                <c:pt idx="7754">
                  <c:v>5481.5088958081478</c:v>
                </c:pt>
                <c:pt idx="7755">
                  <c:v>5616.2916704766249</c:v>
                </c:pt>
                <c:pt idx="7756">
                  <c:v>5584.3659926986174</c:v>
                </c:pt>
                <c:pt idx="7757">
                  <c:v>5391.6797798538346</c:v>
                </c:pt>
                <c:pt idx="7758">
                  <c:v>5309.3519006075439</c:v>
                </c:pt>
                <c:pt idx="7759">
                  <c:v>5445.9145759681787</c:v>
                </c:pt>
                <c:pt idx="7760">
                  <c:v>5492.3519991797129</c:v>
                </c:pt>
                <c:pt idx="7761">
                  <c:v>5337.9415276610907</c:v>
                </c:pt>
                <c:pt idx="7762">
                  <c:v>5286.3806765670752</c:v>
                </c:pt>
                <c:pt idx="7763">
                  <c:v>5136.0055193813387</c:v>
                </c:pt>
                <c:pt idx="7764">
                  <c:v>5147.5849754637875</c:v>
                </c:pt>
                <c:pt idx="7765">
                  <c:v>5286.8941446475274</c:v>
                </c:pt>
                <c:pt idx="7766">
                  <c:v>5474.7803113305263</c:v>
                </c:pt>
                <c:pt idx="7767">
                  <c:v>5588.4325141232775</c:v>
                </c:pt>
                <c:pt idx="7768">
                  <c:v>5551.8503501226733</c:v>
                </c:pt>
                <c:pt idx="7769">
                  <c:v>5548.21599157731</c:v>
                </c:pt>
                <c:pt idx="7770">
                  <c:v>5524.2723366249602</c:v>
                </c:pt>
                <c:pt idx="7771">
                  <c:v>5517.4502471798733</c:v>
                </c:pt>
                <c:pt idx="7772">
                  <c:v>5420.4885363774456</c:v>
                </c:pt>
                <c:pt idx="7773">
                  <c:v>5473.4461454983148</c:v>
                </c:pt>
                <c:pt idx="7774">
                  <c:v>5538.2468516814379</c:v>
                </c:pt>
                <c:pt idx="7775">
                  <c:v>5459.6357632212157</c:v>
                </c:pt>
                <c:pt idx="7776">
                  <c:v>5460.4414714561453</c:v>
                </c:pt>
                <c:pt idx="7777">
                  <c:v>5574.7695676219628</c:v>
                </c:pt>
                <c:pt idx="7778">
                  <c:v>5635.9052056161227</c:v>
                </c:pt>
                <c:pt idx="7779">
                  <c:v>5627.3143575535169</c:v>
                </c:pt>
                <c:pt idx="7780">
                  <c:v>5639.6960828713318</c:v>
                </c:pt>
                <c:pt idx="7781">
                  <c:v>5748.2834714829414</c:v>
                </c:pt>
                <c:pt idx="7782">
                  <c:v>5946.4330948303495</c:v>
                </c:pt>
                <c:pt idx="7783">
                  <c:v>5801.9104378027332</c:v>
                </c:pt>
                <c:pt idx="7784">
                  <c:v>6106.852257043116</c:v>
                </c:pt>
                <c:pt idx="7785">
                  <c:v>5882.4706952998895</c:v>
                </c:pt>
                <c:pt idx="7786">
                  <c:v>6107.3467183441498</c:v>
                </c:pt>
                <c:pt idx="7787">
                  <c:v>5988.5968403042571</c:v>
                </c:pt>
                <c:pt idx="7788">
                  <c:v>5907.6843119611467</c:v>
                </c:pt>
                <c:pt idx="7789">
                  <c:v>5942.9128053559016</c:v>
                </c:pt>
                <c:pt idx="7790">
                  <c:v>6240.8516627766176</c:v>
                </c:pt>
                <c:pt idx="7791">
                  <c:v>6597.8817226417459</c:v>
                </c:pt>
                <c:pt idx="7792">
                  <c:v>6787.1122968012551</c:v>
                </c:pt>
                <c:pt idx="7793">
                  <c:v>6929.07695627871</c:v>
                </c:pt>
                <c:pt idx="7794">
                  <c:v>6861.5195135360909</c:v>
                </c:pt>
                <c:pt idx="7795">
                  <c:v>6960.6213681525278</c:v>
                </c:pt>
                <c:pt idx="7796">
                  <c:v>6812.4311475043833</c:v>
                </c:pt>
                <c:pt idx="7797">
                  <c:v>6595.8030609102625</c:v>
                </c:pt>
                <c:pt idx="7798">
                  <c:v>6689.4324614053457</c:v>
                </c:pt>
                <c:pt idx="7799">
                  <c:v>6784.9955756430463</c:v>
                </c:pt>
                <c:pt idx="7800">
                  <c:v>6640.4617301268563</c:v>
                </c:pt>
                <c:pt idx="7801">
                  <c:v>6624.3888301467387</c:v>
                </c:pt>
                <c:pt idx="7802">
                  <c:v>6640.1727951905996</c:v>
                </c:pt>
                <c:pt idx="7803">
                  <c:v>6862.2102784799872</c:v>
                </c:pt>
                <c:pt idx="7804">
                  <c:v>7322.917929858123</c:v>
                </c:pt>
                <c:pt idx="7805">
                  <c:v>7901.1882508831713</c:v>
                </c:pt>
                <c:pt idx="7806">
                  <c:v>7996.702095363722</c:v>
                </c:pt>
                <c:pt idx="7807">
                  <c:v>7949.2612329093827</c:v>
                </c:pt>
                <c:pt idx="7808">
                  <c:v>7515.3284537576592</c:v>
                </c:pt>
                <c:pt idx="7809">
                  <c:v>7345.3132923843477</c:v>
                </c:pt>
                <c:pt idx="7810">
                  <c:v>7026.576661922998</c:v>
                </c:pt>
                <c:pt idx="7811">
                  <c:v>6868.8590364498186</c:v>
                </c:pt>
                <c:pt idx="7812">
                  <c:v>6857.6877920180532</c:v>
                </c:pt>
                <c:pt idx="7813">
                  <c:v>7146.519121451408</c:v>
                </c:pt>
                <c:pt idx="7814">
                  <c:v>7283.3065740389311</c:v>
                </c:pt>
                <c:pt idx="7815">
                  <c:v>7203.1724073862779</c:v>
                </c:pt>
                <c:pt idx="7816">
                  <c:v>7163.1211730536479</c:v>
                </c:pt>
                <c:pt idx="7817">
                  <c:v>7167.3946187215979</c:v>
                </c:pt>
                <c:pt idx="7818">
                  <c:v>7211.0358726404793</c:v>
                </c:pt>
                <c:pt idx="7819">
                  <c:v>7095.3620699540161</c:v>
                </c:pt>
                <c:pt idx="7820">
                  <c:v>6619.9869598507912</c:v>
                </c:pt>
                <c:pt idx="7821">
                  <c:v>6231.7677567519549</c:v>
                </c:pt>
                <c:pt idx="7822">
                  <c:v>5559.8287635823235</c:v>
                </c:pt>
                <c:pt idx="7823">
                  <c:v>5594.3668797260507</c:v>
                </c:pt>
                <c:pt idx="7824">
                  <c:v>5717.2401553726349</c:v>
                </c:pt>
                <c:pt idx="7825">
                  <c:v>5574.1027249662266</c:v>
                </c:pt>
                <c:pt idx="7826">
                  <c:v>5576.3608775751673</c:v>
                </c:pt>
                <c:pt idx="7827">
                  <c:v>5700.6881762155999</c:v>
                </c:pt>
                <c:pt idx="7828">
                  <c:v>5913.2752635888637</c:v>
                </c:pt>
                <c:pt idx="7829">
                  <c:v>6242.0388711695969</c:v>
                </c:pt>
                <c:pt idx="7830">
                  <c:v>6325.446022929932</c:v>
                </c:pt>
                <c:pt idx="7831">
                  <c:v>6402.4529442308994</c:v>
                </c:pt>
                <c:pt idx="7832">
                  <c:v>6877.6410443991945</c:v>
                </c:pt>
                <c:pt idx="7833">
                  <c:v>6598.499339224034</c:v>
                </c:pt>
                <c:pt idx="7834">
                  <c:v>6600.1216482253758</c:v>
                </c:pt>
                <c:pt idx="7835">
                  <c:v>6899.0881866141417</c:v>
                </c:pt>
                <c:pt idx="7836">
                  <c:v>7063.8368024632828</c:v>
                </c:pt>
                <c:pt idx="7837">
                  <c:v>6948.7713171907144</c:v>
                </c:pt>
                <c:pt idx="7838">
                  <c:v>7103.0841638225784</c:v>
                </c:pt>
                <c:pt idx="7839">
                  <c:v>7096.510099525367</c:v>
                </c:pt>
                <c:pt idx="7840">
                  <c:v>6977.4947501584902</c:v>
                </c:pt>
                <c:pt idx="7841">
                  <c:v>7100.0019399878729</c:v>
                </c:pt>
                <c:pt idx="7842">
                  <c:v>7084.0228016169785</c:v>
                </c:pt>
                <c:pt idx="7843">
                  <c:v>6780.4120466658533</c:v>
                </c:pt>
                <c:pt idx="7844">
                  <c:v>6528.846034291656</c:v>
                </c:pt>
                <c:pt idx="7845">
                  <c:v>5841.5540977207065</c:v>
                </c:pt>
                <c:pt idx="7846">
                  <c:v>5141.9733636284727</c:v>
                </c:pt>
                <c:pt idx="7847">
                  <c:v>5353.4897181056922</c:v>
                </c:pt>
                <c:pt idx="7848">
                  <c:v>5300.0625910785211</c:v>
                </c:pt>
                <c:pt idx="7849">
                  <c:v>5038.3940599024236</c:v>
                </c:pt>
                <c:pt idx="7850">
                  <c:v>4967.6694345281876</c:v>
                </c:pt>
                <c:pt idx="7851">
                  <c:v>5080.9730921488526</c:v>
                </c:pt>
                <c:pt idx="7852">
                  <c:v>5603.5071104259878</c:v>
                </c:pt>
                <c:pt idx="7853">
                  <c:v>5832.3168673570181</c:v>
                </c:pt>
                <c:pt idx="7854">
                  <c:v>5884.5785049825727</c:v>
                </c:pt>
                <c:pt idx="7855">
                  <c:v>5852.746829074159</c:v>
                </c:pt>
                <c:pt idx="7856">
                  <c:v>5759.2186983248475</c:v>
                </c:pt>
                <c:pt idx="7857">
                  <c:v>5568.3170696112902</c:v>
                </c:pt>
                <c:pt idx="7858">
                  <c:v>5552.5476785430292</c:v>
                </c:pt>
                <c:pt idx="7859">
                  <c:v>5566.1054019233989</c:v>
                </c:pt>
                <c:pt idx="7860">
                  <c:v>5716.6411316666727</c:v>
                </c:pt>
                <c:pt idx="7861">
                  <c:v>6036.9027711401532</c:v>
                </c:pt>
                <c:pt idx="7862">
                  <c:v>6225.1153238905608</c:v>
                </c:pt>
                <c:pt idx="7863">
                  <c:v>6653.2246885860841</c:v>
                </c:pt>
                <c:pt idx="7864">
                  <c:v>6653.251008017477</c:v>
                </c:pt>
                <c:pt idx="7865">
                  <c:v>6584.5462401032264</c:v>
                </c:pt>
                <c:pt idx="7866">
                  <c:v>6583.1633614810862</c:v>
                </c:pt>
                <c:pt idx="7867">
                  <c:v>6438.3458558358443</c:v>
                </c:pt>
                <c:pt idx="7868">
                  <c:v>6132.6747972296544</c:v>
                </c:pt>
                <c:pt idx="7869">
                  <c:v>5980.6107439732441</c:v>
                </c:pt>
                <c:pt idx="7870">
                  <c:v>5723.7597078682702</c:v>
                </c:pt>
                <c:pt idx="7871">
                  <c:v>5522.2543460972556</c:v>
                </c:pt>
                <c:pt idx="7872">
                  <c:v>5189.7195686181258</c:v>
                </c:pt>
                <c:pt idx="7873">
                  <c:v>5019.0677773305506</c:v>
                </c:pt>
                <c:pt idx="7874">
                  <c:v>4929.0449367100246</c:v>
                </c:pt>
                <c:pt idx="7875">
                  <c:v>4885.2109055152496</c:v>
                </c:pt>
                <c:pt idx="7876">
                  <c:v>4994.8695064515505</c:v>
                </c:pt>
                <c:pt idx="7877">
                  <c:v>5053.7859871868432</c:v>
                </c:pt>
                <c:pt idx="7878">
                  <c:v>5357.5963138679035</c:v>
                </c:pt>
                <c:pt idx="7879">
                  <c:v>5651.751114151627</c:v>
                </c:pt>
                <c:pt idx="7880">
                  <c:v>5525.7979189856987</c:v>
                </c:pt>
                <c:pt idx="7881">
                  <c:v>5319.1262548692521</c:v>
                </c:pt>
                <c:pt idx="7882">
                  <c:v>5056.1926703943891</c:v>
                </c:pt>
                <c:pt idx="7883">
                  <c:v>5011.137721730739</c:v>
                </c:pt>
                <c:pt idx="7884">
                  <c:v>5225.5462016698921</c:v>
                </c:pt>
                <c:pt idx="7885">
                  <c:v>5243.4083714044882</c:v>
                </c:pt>
                <c:pt idx="7886">
                  <c:v>5336.1399702268482</c:v>
                </c:pt>
                <c:pt idx="7887">
                  <c:v>5440.1923864819555</c:v>
                </c:pt>
                <c:pt idx="7888">
                  <c:v>5415.9334924512514</c:v>
                </c:pt>
                <c:pt idx="7889">
                  <c:v>5577.8252208439799</c:v>
                </c:pt>
                <c:pt idx="7890">
                  <c:v>5946.2814686952997</c:v>
                </c:pt>
                <c:pt idx="7891">
                  <c:v>5765.6820571963181</c:v>
                </c:pt>
                <c:pt idx="7892">
                  <c:v>5642.3098699713992</c:v>
                </c:pt>
                <c:pt idx="7893">
                  <c:v>5466.0739799371022</c:v>
                </c:pt>
                <c:pt idx="7894">
                  <c:v>5226.5459671132294</c:v>
                </c:pt>
                <c:pt idx="7895">
                  <c:v>4998.4746405992337</c:v>
                </c:pt>
                <c:pt idx="7896">
                  <c:v>4862.8612683596775</c:v>
                </c:pt>
                <c:pt idx="7897">
                  <c:v>4918.8409865326485</c:v>
                </c:pt>
                <c:pt idx="7898">
                  <c:v>5320.0642630227303</c:v>
                </c:pt>
                <c:pt idx="7899">
                  <c:v>5825.9921878629557</c:v>
                </c:pt>
                <c:pt idx="7900">
                  <c:v>6436.1148854114426</c:v>
                </c:pt>
                <c:pt idx="7901">
                  <c:v>7153.8970696428787</c:v>
                </c:pt>
                <c:pt idx="7902">
                  <c:v>7614.4630656913023</c:v>
                </c:pt>
                <c:pt idx="7903">
                  <c:v>7604.1671225486507</c:v>
                </c:pt>
                <c:pt idx="7904">
                  <c:v>7421.7575675834905</c:v>
                </c:pt>
                <c:pt idx="7905">
                  <c:v>7324.0154774495495</c:v>
                </c:pt>
                <c:pt idx="7906">
                  <c:v>7201.6452414912856</c:v>
                </c:pt>
                <c:pt idx="7907">
                  <c:v>7028.6286929767002</c:v>
                </c:pt>
                <c:pt idx="7908">
                  <c:v>6890.5895330078938</c:v>
                </c:pt>
                <c:pt idx="7909">
                  <c:v>7011.3982676801706</c:v>
                </c:pt>
                <c:pt idx="7910">
                  <c:v>7331.2666391519069</c:v>
                </c:pt>
                <c:pt idx="7911">
                  <c:v>8016.3836897133615</c:v>
                </c:pt>
                <c:pt idx="7912">
                  <c:v>8117.3584721989146</c:v>
                </c:pt>
                <c:pt idx="7913">
                  <c:v>7976.5702421605856</c:v>
                </c:pt>
                <c:pt idx="7914">
                  <c:v>7830.7534717964581</c:v>
                </c:pt>
                <c:pt idx="7915">
                  <c:v>7622.5571426770475</c:v>
                </c:pt>
                <c:pt idx="7916">
                  <c:v>7297.8659865837335</c:v>
                </c:pt>
                <c:pt idx="7917">
                  <c:v>7112.7357996400679</c:v>
                </c:pt>
                <c:pt idx="7918">
                  <c:v>7112.8311993881744</c:v>
                </c:pt>
                <c:pt idx="7919">
                  <c:v>7189.7013743156176</c:v>
                </c:pt>
                <c:pt idx="7920">
                  <c:v>7434.0233181288231</c:v>
                </c:pt>
                <c:pt idx="7921">
                  <c:v>7434.0653636934985</c:v>
                </c:pt>
                <c:pt idx="7922">
                  <c:v>7573.0129699614918</c:v>
                </c:pt>
                <c:pt idx="7923">
                  <c:v>7695.0598427646337</c:v>
                </c:pt>
                <c:pt idx="7924">
                  <c:v>7685.338799002654</c:v>
                </c:pt>
                <c:pt idx="7925">
                  <c:v>7861.4840398916049</c:v>
                </c:pt>
                <c:pt idx="7926">
                  <c:v>8203.4867856026613</c:v>
                </c:pt>
                <c:pt idx="7927">
                  <c:v>8334.3081800604796</c:v>
                </c:pt>
                <c:pt idx="7928">
                  <c:v>8480.6326533482825</c:v>
                </c:pt>
                <c:pt idx="7929">
                  <c:v>8342.4331632664926</c:v>
                </c:pt>
                <c:pt idx="7930">
                  <c:v>8281.5358526380187</c:v>
                </c:pt>
                <c:pt idx="7931">
                  <c:v>8496.5965078833924</c:v>
                </c:pt>
                <c:pt idx="7932">
                  <c:v>8502.6481041651277</c:v>
                </c:pt>
                <c:pt idx="7933">
                  <c:v>8537.1309440424648</c:v>
                </c:pt>
                <c:pt idx="7934">
                  <c:v>8466.7919742385784</c:v>
                </c:pt>
                <c:pt idx="7935">
                  <c:v>8371.2983225499993</c:v>
                </c:pt>
                <c:pt idx="7936">
                  <c:v>8205.8295098616891</c:v>
                </c:pt>
                <c:pt idx="7937">
                  <c:v>8262.5704635291349</c:v>
                </c:pt>
                <c:pt idx="7938">
                  <c:v>8150.7543195596973</c:v>
                </c:pt>
                <c:pt idx="7939">
                  <c:v>8028.5482251175508</c:v>
                </c:pt>
                <c:pt idx="7940">
                  <c:v>7882.0643827582435</c:v>
                </c:pt>
                <c:pt idx="7941">
                  <c:v>7678.3943242015876</c:v>
                </c:pt>
                <c:pt idx="7942">
                  <c:v>7726.3844710049261</c:v>
                </c:pt>
                <c:pt idx="7943">
                  <c:v>7599.7070983223421</c:v>
                </c:pt>
                <c:pt idx="7944">
                  <c:v>7489.9346909633932</c:v>
                </c:pt>
                <c:pt idx="7945">
                  <c:v>7442.8962264048387</c:v>
                </c:pt>
                <c:pt idx="7946">
                  <c:v>7540.3621918485924</c:v>
                </c:pt>
                <c:pt idx="7947">
                  <c:v>7599.2999061400906</c:v>
                </c:pt>
                <c:pt idx="7948">
                  <c:v>7788.8235378853806</c:v>
                </c:pt>
                <c:pt idx="7949">
                  <c:v>7942.6929676238178</c:v>
                </c:pt>
                <c:pt idx="7950">
                  <c:v>7856.8738310924655</c:v>
                </c:pt>
                <c:pt idx="7951">
                  <c:v>7898.5322325626903</c:v>
                </c:pt>
                <c:pt idx="7952">
                  <c:v>8225.0113353403121</c:v>
                </c:pt>
                <c:pt idx="7953">
                  <c:v>8208.3225115214191</c:v>
                </c:pt>
                <c:pt idx="7954">
                  <c:v>8198.0806105805295</c:v>
                </c:pt>
                <c:pt idx="7955">
                  <c:v>8141.7778863667127</c:v>
                </c:pt>
                <c:pt idx="7956">
                  <c:v>8160.8087791890812</c:v>
                </c:pt>
                <c:pt idx="7957">
                  <c:v>8236.1300501185488</c:v>
                </c:pt>
                <c:pt idx="7958">
                  <c:v>8306.9442167102006</c:v>
                </c:pt>
                <c:pt idx="7959">
                  <c:v>8368.9533048965332</c:v>
                </c:pt>
                <c:pt idx="7960">
                  <c:v>8415.9028239741801</c:v>
                </c:pt>
                <c:pt idx="7961">
                  <c:v>8437.8317264533525</c:v>
                </c:pt>
                <c:pt idx="7962">
                  <c:v>8277.0372229386903</c:v>
                </c:pt>
                <c:pt idx="7963">
                  <c:v>8192.3468023212536</c:v>
                </c:pt>
                <c:pt idx="7964">
                  <c:v>7882.3575495532832</c:v>
                </c:pt>
                <c:pt idx="7965">
                  <c:v>7551.6371086298259</c:v>
                </c:pt>
                <c:pt idx="7966">
                  <c:v>7307.7121677750174</c:v>
                </c:pt>
                <c:pt idx="7967">
                  <c:v>7278.5634138880123</c:v>
                </c:pt>
                <c:pt idx="7968">
                  <c:v>7125.1099895190191</c:v>
                </c:pt>
                <c:pt idx="7969">
                  <c:v>7161.7413741326063</c:v>
                </c:pt>
                <c:pt idx="7970">
                  <c:v>7195.2995883590511</c:v>
                </c:pt>
                <c:pt idx="7971">
                  <c:v>7393.3157361502381</c:v>
                </c:pt>
                <c:pt idx="7972">
                  <c:v>7942.5374536391519</c:v>
                </c:pt>
                <c:pt idx="7973">
                  <c:v>8509.3371057468612</c:v>
                </c:pt>
                <c:pt idx="7974">
                  <c:v>9061.898251256569</c:v>
                </c:pt>
                <c:pt idx="7975">
                  <c:v>9230.1899103292471</c:v>
                </c:pt>
                <c:pt idx="7976">
                  <c:v>8967.0474107263035</c:v>
                </c:pt>
                <c:pt idx="7977">
                  <c:v>8745.11281347972</c:v>
                </c:pt>
                <c:pt idx="7978">
                  <c:v>8399.9146430766505</c:v>
                </c:pt>
                <c:pt idx="7979">
                  <c:v>8655.8613500714964</c:v>
                </c:pt>
                <c:pt idx="7980">
                  <c:v>8844.5934167269297</c:v>
                </c:pt>
                <c:pt idx="7981">
                  <c:v>8521.7177280511623</c:v>
                </c:pt>
                <c:pt idx="7982">
                  <c:v>8445.0403074656679</c:v>
                </c:pt>
                <c:pt idx="7983">
                  <c:v>8278.0714400808847</c:v>
                </c:pt>
                <c:pt idx="7984">
                  <c:v>8178.7993992158499</c:v>
                </c:pt>
                <c:pt idx="7985">
                  <c:v>8354.7196908733295</c:v>
                </c:pt>
                <c:pt idx="7986">
                  <c:v>8543.3234967146527</c:v>
                </c:pt>
                <c:pt idx="7987">
                  <c:v>8444.4188357965395</c:v>
                </c:pt>
                <c:pt idx="7988">
                  <c:v>8235.1735353640579</c:v>
                </c:pt>
                <c:pt idx="7989">
                  <c:v>7896.8228455587696</c:v>
                </c:pt>
                <c:pt idx="7990">
                  <c:v>7962.8532043133409</c:v>
                </c:pt>
                <c:pt idx="7991">
                  <c:v>7874.6829726332662</c:v>
                </c:pt>
                <c:pt idx="7992">
                  <c:v>7849.5050018741113</c:v>
                </c:pt>
                <c:pt idx="7993">
                  <c:v>8027.978491334823</c:v>
                </c:pt>
                <c:pt idx="7994">
                  <c:v>8192.6923185745436</c:v>
                </c:pt>
                <c:pt idx="7995">
                  <c:v>8601.831865725735</c:v>
                </c:pt>
                <c:pt idx="7996">
                  <c:v>8913.692708549399</c:v>
                </c:pt>
                <c:pt idx="7997">
                  <c:v>9170.7184630872162</c:v>
                </c:pt>
                <c:pt idx="7998">
                  <c:v>9548.6303816618638</c:v>
                </c:pt>
                <c:pt idx="7999">
                  <c:v>9512.5458897145054</c:v>
                </c:pt>
                <c:pt idx="8000">
                  <c:v>9693.3036000342545</c:v>
                </c:pt>
                <c:pt idx="8001">
                  <c:v>9423.5947626891666</c:v>
                </c:pt>
                <c:pt idx="8002">
                  <c:v>9255.0766964414106</c:v>
                </c:pt>
                <c:pt idx="8003">
                  <c:v>9234.4217254277064</c:v>
                </c:pt>
                <c:pt idx="8004">
                  <c:v>9479.2488876539464</c:v>
                </c:pt>
                <c:pt idx="8005">
                  <c:v>9580.5150786654704</c:v>
                </c:pt>
                <c:pt idx="8006">
                  <c:v>9650.1644902877706</c:v>
                </c:pt>
                <c:pt idx="8007">
                  <c:v>9571.2119186721884</c:v>
                </c:pt>
                <c:pt idx="8008">
                  <c:v>9479.7884687602927</c:v>
                </c:pt>
                <c:pt idx="8009">
                  <c:v>9430.5917780646887</c:v>
                </c:pt>
                <c:pt idx="8010">
                  <c:v>9526.3414053351917</c:v>
                </c:pt>
                <c:pt idx="8011">
                  <c:v>9437.4374949329358</c:v>
                </c:pt>
                <c:pt idx="8012">
                  <c:v>9085.1460193507792</c:v>
                </c:pt>
                <c:pt idx="8013">
                  <c:v>8836.8385109365336</c:v>
                </c:pt>
                <c:pt idx="8014">
                  <c:v>8412.2232473351742</c:v>
                </c:pt>
                <c:pt idx="8015">
                  <c:v>8273.8891786836502</c:v>
                </c:pt>
                <c:pt idx="8016">
                  <c:v>7747.9793242029918</c:v>
                </c:pt>
                <c:pt idx="8017">
                  <c:v>7615.1536722817737</c:v>
                </c:pt>
                <c:pt idx="8018">
                  <c:v>7634.2401253146054</c:v>
                </c:pt>
                <c:pt idx="8019">
                  <c:v>7615.074320834261</c:v>
                </c:pt>
                <c:pt idx="8020">
                  <c:v>7994.3633790844951</c:v>
                </c:pt>
                <c:pt idx="8021">
                  <c:v>8357.4254594717004</c:v>
                </c:pt>
                <c:pt idx="8022">
                  <c:v>8477.3107807158576</c:v>
                </c:pt>
                <c:pt idx="8023">
                  <c:v>8499.872550850323</c:v>
                </c:pt>
                <c:pt idx="8024">
                  <c:v>8804.0840222509214</c:v>
                </c:pt>
                <c:pt idx="8025">
                  <c:v>8773.8242552708689</c:v>
                </c:pt>
                <c:pt idx="8026">
                  <c:v>8719.09132132579</c:v>
                </c:pt>
                <c:pt idx="8027">
                  <c:v>8654.4494654701939</c:v>
                </c:pt>
                <c:pt idx="8028">
                  <c:v>8797.0482648908092</c:v>
                </c:pt>
                <c:pt idx="8029">
                  <c:v>9388.2821126395083</c:v>
                </c:pt>
                <c:pt idx="8030">
                  <c:v>9464.0468659879589</c:v>
                </c:pt>
                <c:pt idx="8031">
                  <c:v>9476.2116471129793</c:v>
                </c:pt>
                <c:pt idx="8032">
                  <c:v>9659.1317553634708</c:v>
                </c:pt>
                <c:pt idx="8033">
                  <c:v>9523.9153707930145</c:v>
                </c:pt>
                <c:pt idx="8034">
                  <c:v>9485.7208085313141</c:v>
                </c:pt>
                <c:pt idx="8035">
                  <c:v>9425.8916245199216</c:v>
                </c:pt>
                <c:pt idx="8036">
                  <c:v>9121.1163220970393</c:v>
                </c:pt>
                <c:pt idx="8037">
                  <c:v>8699.558273410099</c:v>
                </c:pt>
                <c:pt idx="8038">
                  <c:v>8719.5628814452339</c:v>
                </c:pt>
                <c:pt idx="8039">
                  <c:v>8536.4715112349459</c:v>
                </c:pt>
                <c:pt idx="8040">
                  <c:v>8304.0599455781648</c:v>
                </c:pt>
                <c:pt idx="8041">
                  <c:v>8065.3235584552867</c:v>
                </c:pt>
                <c:pt idx="8042">
                  <c:v>7876.1354994602661</c:v>
                </c:pt>
                <c:pt idx="8043">
                  <c:v>8145.7869855630452</c:v>
                </c:pt>
                <c:pt idx="8044">
                  <c:v>8599.4957813896472</c:v>
                </c:pt>
                <c:pt idx="8045">
                  <c:v>9042.9978252753372</c:v>
                </c:pt>
                <c:pt idx="8046">
                  <c:v>9327.9272225581117</c:v>
                </c:pt>
                <c:pt idx="8047">
                  <c:v>9619.0693325422671</c:v>
                </c:pt>
                <c:pt idx="8048">
                  <c:v>9567.6555792213803</c:v>
                </c:pt>
                <c:pt idx="8049">
                  <c:v>9301.0593204245088</c:v>
                </c:pt>
                <c:pt idx="8050">
                  <c:v>9498.6755056863822</c:v>
                </c:pt>
                <c:pt idx="8051">
                  <c:v>9439.3023140145797</c:v>
                </c:pt>
                <c:pt idx="8052">
                  <c:v>9429.4393855834442</c:v>
                </c:pt>
                <c:pt idx="8053">
                  <c:v>9470.4047287153353</c:v>
                </c:pt>
                <c:pt idx="8054">
                  <c:v>9394.090194115759</c:v>
                </c:pt>
                <c:pt idx="8055">
                  <c:v>9340.2605408719228</c:v>
                </c:pt>
                <c:pt idx="8056">
                  <c:v>9318.6843842989801</c:v>
                </c:pt>
                <c:pt idx="8057">
                  <c:v>9482.7362723786882</c:v>
                </c:pt>
                <c:pt idx="8058">
                  <c:v>9721.6957248733215</c:v>
                </c:pt>
                <c:pt idx="8059">
                  <c:v>9697.8305476944133</c:v>
                </c:pt>
                <c:pt idx="8060">
                  <c:v>9248.8160408753756</c:v>
                </c:pt>
                <c:pt idx="8061">
                  <c:v>9097.021019167787</c:v>
                </c:pt>
                <c:pt idx="8062">
                  <c:v>8865.2092962864117</c:v>
                </c:pt>
                <c:pt idx="8063">
                  <c:v>8747.0373372632002</c:v>
                </c:pt>
                <c:pt idx="8064">
                  <c:v>8449.646590191951</c:v>
                </c:pt>
                <c:pt idx="8065">
                  <c:v>8421.177532890455</c:v>
                </c:pt>
                <c:pt idx="8066">
                  <c:v>8605.4136946175695</c:v>
                </c:pt>
                <c:pt idx="8067">
                  <c:v>9180.1370081229816</c:v>
                </c:pt>
                <c:pt idx="8068">
                  <c:v>9984.7866667851413</c:v>
                </c:pt>
                <c:pt idx="8069">
                  <c:v>10405.049034982703</c:v>
                </c:pt>
                <c:pt idx="8070">
                  <c:v>10507.763722999576</c:v>
                </c:pt>
                <c:pt idx="8071">
                  <c:v>10589.817318823783</c:v>
                </c:pt>
                <c:pt idx="8072">
                  <c:v>10531.438138905511</c:v>
                </c:pt>
                <c:pt idx="8073">
                  <c:v>10241.023662911055</c:v>
                </c:pt>
                <c:pt idx="8074">
                  <c:v>10143.650519876899</c:v>
                </c:pt>
                <c:pt idx="8075">
                  <c:v>10102.695699057102</c:v>
                </c:pt>
                <c:pt idx="8076">
                  <c:v>9986.5090879141117</c:v>
                </c:pt>
                <c:pt idx="8077">
                  <c:v>9898.2015474328273</c:v>
                </c:pt>
                <c:pt idx="8078">
                  <c:v>9789.1959801875219</c:v>
                </c:pt>
                <c:pt idx="8079">
                  <c:v>9660.2685363811561</c:v>
                </c:pt>
                <c:pt idx="8080">
                  <c:v>9277.4957573768152</c:v>
                </c:pt>
                <c:pt idx="8081">
                  <c:v>9065.8510749217912</c:v>
                </c:pt>
                <c:pt idx="8082">
                  <c:v>8905.5024072856413</c:v>
                </c:pt>
                <c:pt idx="8083">
                  <c:v>8590.1247478419627</c:v>
                </c:pt>
                <c:pt idx="8084">
                  <c:v>8209.1411332051648</c:v>
                </c:pt>
                <c:pt idx="8085">
                  <c:v>7956.1553513211729</c:v>
                </c:pt>
                <c:pt idx="8086">
                  <c:v>7905.7118731213977</c:v>
                </c:pt>
                <c:pt idx="8087">
                  <c:v>7686.1758606697667</c:v>
                </c:pt>
                <c:pt idx="8088">
                  <c:v>7513.1254245221471</c:v>
                </c:pt>
                <c:pt idx="8089">
                  <c:v>7364.538157231902</c:v>
                </c:pt>
                <c:pt idx="8090">
                  <c:v>7365.7567523658872</c:v>
                </c:pt>
                <c:pt idx="8091">
                  <c:v>7453.2755835794351</c:v>
                </c:pt>
                <c:pt idx="8092">
                  <c:v>7689.8362000978204</c:v>
                </c:pt>
                <c:pt idx="8093">
                  <c:v>7945.0786493448322</c:v>
                </c:pt>
                <c:pt idx="8094">
                  <c:v>8261.6289923500572</c:v>
                </c:pt>
                <c:pt idx="8095">
                  <c:v>8541.0478651638277</c:v>
                </c:pt>
                <c:pt idx="8096">
                  <c:v>8828.1793142592469</c:v>
                </c:pt>
                <c:pt idx="8097">
                  <c:v>9140.668306898222</c:v>
                </c:pt>
                <c:pt idx="8098">
                  <c:v>9559.4094829472524</c:v>
                </c:pt>
                <c:pt idx="8099">
                  <c:v>9791.6799010973737</c:v>
                </c:pt>
                <c:pt idx="8100">
                  <c:v>9918.111842351982</c:v>
                </c:pt>
                <c:pt idx="8101">
                  <c:v>10012.420213191002</c:v>
                </c:pt>
                <c:pt idx="8102">
                  <c:v>10140.248613239095</c:v>
                </c:pt>
                <c:pt idx="8103">
                  <c:v>10235.689396725444</c:v>
                </c:pt>
                <c:pt idx="8104">
                  <c:v>10293.093059478177</c:v>
                </c:pt>
                <c:pt idx="8105">
                  <c:v>10129.166598232308</c:v>
                </c:pt>
                <c:pt idx="8106">
                  <c:v>9634.5764411939035</c:v>
                </c:pt>
                <c:pt idx="8107">
                  <c:v>9616.4329828093123</c:v>
                </c:pt>
                <c:pt idx="8108">
                  <c:v>9357.3359709277665</c:v>
                </c:pt>
                <c:pt idx="8109">
                  <c:v>9323.1517364665597</c:v>
                </c:pt>
                <c:pt idx="8110">
                  <c:v>9230.5357159870746</c:v>
                </c:pt>
                <c:pt idx="8111">
                  <c:v>8982.8118109314328</c:v>
                </c:pt>
                <c:pt idx="8112">
                  <c:v>8846.0056234955464</c:v>
                </c:pt>
                <c:pt idx="8113">
                  <c:v>9239.4022355214438</c:v>
                </c:pt>
                <c:pt idx="8114">
                  <c:v>9501.8176690228338</c:v>
                </c:pt>
                <c:pt idx="8115">
                  <c:v>9830.8101792102098</c:v>
                </c:pt>
                <c:pt idx="8116">
                  <c:v>9976.2416866112726</c:v>
                </c:pt>
                <c:pt idx="8117">
                  <c:v>10245.297479890485</c:v>
                </c:pt>
                <c:pt idx="8118">
                  <c:v>10529.899489656946</c:v>
                </c:pt>
                <c:pt idx="8119">
                  <c:v>10656.220381476645</c:v>
                </c:pt>
                <c:pt idx="8120">
                  <c:v>10730.691021488585</c:v>
                </c:pt>
                <c:pt idx="8121">
                  <c:v>10709.308465629347</c:v>
                </c:pt>
                <c:pt idx="8122">
                  <c:v>10594.541574851986</c:v>
                </c:pt>
                <c:pt idx="8123">
                  <c:v>10675.24455246913</c:v>
                </c:pt>
                <c:pt idx="8124">
                  <c:v>10738.105057879657</c:v>
                </c:pt>
                <c:pt idx="8125">
                  <c:v>11007.806649190417</c:v>
                </c:pt>
                <c:pt idx="8126">
                  <c:v>11069.726185784459</c:v>
                </c:pt>
                <c:pt idx="8127">
                  <c:v>11219.394308030909</c:v>
                </c:pt>
                <c:pt idx="8128">
                  <c:v>11262.201803862759</c:v>
                </c:pt>
                <c:pt idx="8129">
                  <c:v>11141.622714420088</c:v>
                </c:pt>
                <c:pt idx="8130">
                  <c:v>11148.777531714248</c:v>
                </c:pt>
                <c:pt idx="8131">
                  <c:v>10971.594464317095</c:v>
                </c:pt>
                <c:pt idx="8132">
                  <c:v>10683.442951599434</c:v>
                </c:pt>
                <c:pt idx="8133">
                  <c:v>10329.595506180252</c:v>
                </c:pt>
                <c:pt idx="8134">
                  <c:v>9821.320205858663</c:v>
                </c:pt>
                <c:pt idx="8135">
                  <c:v>9720.4262218433032</c:v>
                </c:pt>
                <c:pt idx="8136">
                  <c:v>9584.5409196411929</c:v>
                </c:pt>
                <c:pt idx="8137">
                  <c:v>9562.1619166619494</c:v>
                </c:pt>
                <c:pt idx="8138">
                  <c:v>9510.29890921275</c:v>
                </c:pt>
                <c:pt idx="8139">
                  <c:v>9601.2436294173549</c:v>
                </c:pt>
                <c:pt idx="8140">
                  <c:v>9894.8771083828196</c:v>
                </c:pt>
                <c:pt idx="8141">
                  <c:v>10187.964420923627</c:v>
                </c:pt>
                <c:pt idx="8142">
                  <c:v>10315.590723777672</c:v>
                </c:pt>
                <c:pt idx="8143">
                  <c:v>10351.81736795687</c:v>
                </c:pt>
                <c:pt idx="8144">
                  <c:v>10391.186170012057</c:v>
                </c:pt>
                <c:pt idx="8145">
                  <c:v>10525.251221431081</c:v>
                </c:pt>
                <c:pt idx="8146">
                  <c:v>10687.394077060684</c:v>
                </c:pt>
                <c:pt idx="8147">
                  <c:v>10781.044260077735</c:v>
                </c:pt>
                <c:pt idx="8148">
                  <c:v>11133.731116860794</c:v>
                </c:pt>
                <c:pt idx="8149">
                  <c:v>11215.458455484517</c:v>
                </c:pt>
                <c:pt idx="8150">
                  <c:v>11272.241667674693</c:v>
                </c:pt>
                <c:pt idx="8151">
                  <c:v>11189.657964647349</c:v>
                </c:pt>
                <c:pt idx="8152">
                  <c:v>11078.531526291996</c:v>
                </c:pt>
                <c:pt idx="8153">
                  <c:v>11021.147657717436</c:v>
                </c:pt>
                <c:pt idx="8154">
                  <c:v>10936.454676142879</c:v>
                </c:pt>
                <c:pt idx="8155">
                  <c:v>10813.076651683072</c:v>
                </c:pt>
                <c:pt idx="8156">
                  <c:v>10367.091549640674</c:v>
                </c:pt>
                <c:pt idx="8157">
                  <c:v>10098.546833851235</c:v>
                </c:pt>
                <c:pt idx="8158">
                  <c:v>9772.983221370001</c:v>
                </c:pt>
                <c:pt idx="8159">
                  <c:v>9487.4045313593942</c:v>
                </c:pt>
                <c:pt idx="8160">
                  <c:v>9458.010034798026</c:v>
                </c:pt>
                <c:pt idx="8161">
                  <c:v>9475.5958270229985</c:v>
                </c:pt>
                <c:pt idx="8162">
                  <c:v>9635.5225756083364</c:v>
                </c:pt>
                <c:pt idx="8163">
                  <c:v>10091.968395723206</c:v>
                </c:pt>
                <c:pt idx="8164">
                  <c:v>10860.742244950363</c:v>
                </c:pt>
                <c:pt idx="8165">
                  <c:v>11363.071510659867</c:v>
                </c:pt>
                <c:pt idx="8166">
                  <c:v>11822.539664251864</c:v>
                </c:pt>
                <c:pt idx="8167">
                  <c:v>11910.070131711946</c:v>
                </c:pt>
                <c:pt idx="8168">
                  <c:v>11665.702614875003</c:v>
                </c:pt>
                <c:pt idx="8169">
                  <c:v>11299.615192295587</c:v>
                </c:pt>
                <c:pt idx="8170">
                  <c:v>11045.614965605722</c:v>
                </c:pt>
                <c:pt idx="8171">
                  <c:v>11082.60500980691</c:v>
                </c:pt>
                <c:pt idx="8172">
                  <c:v>10882.267182380885</c:v>
                </c:pt>
                <c:pt idx="8173">
                  <c:v>11319.270303399946</c:v>
                </c:pt>
                <c:pt idx="8174">
                  <c:v>11419.572668097095</c:v>
                </c:pt>
                <c:pt idx="8175">
                  <c:v>11192.671747039505</c:v>
                </c:pt>
                <c:pt idx="8176">
                  <c:v>11108.619403359011</c:v>
                </c:pt>
                <c:pt idx="8177">
                  <c:v>11274.55071725874</c:v>
                </c:pt>
                <c:pt idx="8178">
                  <c:v>11262.375517570421</c:v>
                </c:pt>
                <c:pt idx="8179">
                  <c:v>11039.984884300546</c:v>
                </c:pt>
                <c:pt idx="8180">
                  <c:v>10879.711472764697</c:v>
                </c:pt>
                <c:pt idx="8181">
                  <c:v>10528.50022964597</c:v>
                </c:pt>
                <c:pt idx="8182">
                  <c:v>10178.966637320529</c:v>
                </c:pt>
                <c:pt idx="8183">
                  <c:v>10184.304567476775</c:v>
                </c:pt>
                <c:pt idx="8184">
                  <c:v>10243.721939754265</c:v>
                </c:pt>
                <c:pt idx="8185">
                  <c:v>10207.812865179005</c:v>
                </c:pt>
                <c:pt idx="8186">
                  <c:v>10243.73615333931</c:v>
                </c:pt>
                <c:pt idx="8187">
                  <c:v>10511.578238598873</c:v>
                </c:pt>
                <c:pt idx="8188">
                  <c:v>11224.74350312221</c:v>
                </c:pt>
                <c:pt idx="8189">
                  <c:v>11854.126487541374</c:v>
                </c:pt>
                <c:pt idx="8190">
                  <c:v>12043.029084454571</c:v>
                </c:pt>
                <c:pt idx="8191">
                  <c:v>12595.319199886017</c:v>
                </c:pt>
                <c:pt idx="8192">
                  <c:v>12060.809285541764</c:v>
                </c:pt>
                <c:pt idx="8193">
                  <c:v>11813.756984665548</c:v>
                </c:pt>
                <c:pt idx="8194">
                  <c:v>11699.069609149588</c:v>
                </c:pt>
                <c:pt idx="8195">
                  <c:v>11474.964314068586</c:v>
                </c:pt>
                <c:pt idx="8196">
                  <c:v>11603.07989624433</c:v>
                </c:pt>
                <c:pt idx="8197">
                  <c:v>11554.615945071277</c:v>
                </c:pt>
                <c:pt idx="8198">
                  <c:v>11509.717725345299</c:v>
                </c:pt>
                <c:pt idx="8199">
                  <c:v>11229.678358285268</c:v>
                </c:pt>
                <c:pt idx="8200">
                  <c:v>11146.42607617497</c:v>
                </c:pt>
                <c:pt idx="8201">
                  <c:v>11108.524473210717</c:v>
                </c:pt>
                <c:pt idx="8202">
                  <c:v>11134.237957031324</c:v>
                </c:pt>
                <c:pt idx="8203">
                  <c:v>10828.348452605031</c:v>
                </c:pt>
                <c:pt idx="8204">
                  <c:v>10278.944770648946</c:v>
                </c:pt>
                <c:pt idx="8205">
                  <c:v>9796.6904819605479</c:v>
                </c:pt>
                <c:pt idx="8206">
                  <c:v>9502.5304996974901</c:v>
                </c:pt>
                <c:pt idx="8207">
                  <c:v>9367.0333053596387</c:v>
                </c:pt>
                <c:pt idx="8208">
                  <c:v>9160.8031906582928</c:v>
                </c:pt>
                <c:pt idx="8209">
                  <c:v>9041.1656543016416</c:v>
                </c:pt>
                <c:pt idx="8210">
                  <c:v>8962.7857323559983</c:v>
                </c:pt>
                <c:pt idx="8211">
                  <c:v>9265.4350089918171</c:v>
                </c:pt>
                <c:pt idx="8212">
                  <c:v>9609.8399707056833</c:v>
                </c:pt>
                <c:pt idx="8213">
                  <c:v>9851.7695546516934</c:v>
                </c:pt>
                <c:pt idx="8214">
                  <c:v>10035.375759150264</c:v>
                </c:pt>
                <c:pt idx="8215">
                  <c:v>9957.4164512047901</c:v>
                </c:pt>
                <c:pt idx="8216">
                  <c:v>9624.1470661787353</c:v>
                </c:pt>
                <c:pt idx="8217">
                  <c:v>9557.4907144917179</c:v>
                </c:pt>
                <c:pt idx="8218">
                  <c:v>9432.8305132673977</c:v>
                </c:pt>
                <c:pt idx="8219">
                  <c:v>9135.8264871028186</c:v>
                </c:pt>
                <c:pt idx="8220">
                  <c:v>8946.3636958356601</c:v>
                </c:pt>
                <c:pt idx="8221">
                  <c:v>8974.4956405363373</c:v>
                </c:pt>
                <c:pt idx="8222">
                  <c:v>9093.0374858589621</c:v>
                </c:pt>
                <c:pt idx="8223">
                  <c:v>9077.1059845667969</c:v>
                </c:pt>
                <c:pt idx="8224">
                  <c:v>9029.1632127399662</c:v>
                </c:pt>
                <c:pt idx="8225">
                  <c:v>8973.2365451486894</c:v>
                </c:pt>
                <c:pt idx="8226">
                  <c:v>8910.2468943290551</c:v>
                </c:pt>
                <c:pt idx="8227">
                  <c:v>8886.1174307436231</c:v>
                </c:pt>
                <c:pt idx="8228">
                  <c:v>8506.6800936221243</c:v>
                </c:pt>
                <c:pt idx="8229">
                  <c:v>8006.3958095086628</c:v>
                </c:pt>
                <c:pt idx="8230">
                  <c:v>7676.0446596941574</c:v>
                </c:pt>
                <c:pt idx="8231">
                  <c:v>7681.1568543122685</c:v>
                </c:pt>
                <c:pt idx="8232">
                  <c:v>7650.0045036778829</c:v>
                </c:pt>
                <c:pt idx="8233">
                  <c:v>7604.7711371177447</c:v>
                </c:pt>
                <c:pt idx="8234">
                  <c:v>7619.3392154172407</c:v>
                </c:pt>
                <c:pt idx="8235">
                  <c:v>7810.2876402982329</c:v>
                </c:pt>
                <c:pt idx="8236">
                  <c:v>8147.7939787183795</c:v>
                </c:pt>
                <c:pt idx="8237">
                  <c:v>8924.3649321935718</c:v>
                </c:pt>
                <c:pt idx="8238">
                  <c:v>8853.7829663281827</c:v>
                </c:pt>
                <c:pt idx="8239">
                  <c:v>8672.0909216544242</c:v>
                </c:pt>
                <c:pt idx="8240">
                  <c:v>8534.7398728445241</c:v>
                </c:pt>
                <c:pt idx="8241">
                  <c:v>8428.4651486434304</c:v>
                </c:pt>
                <c:pt idx="8242">
                  <c:v>8309.8067442787888</c:v>
                </c:pt>
                <c:pt idx="8243">
                  <c:v>8259.1964216337365</c:v>
                </c:pt>
                <c:pt idx="8244">
                  <c:v>8349.7876751510048</c:v>
                </c:pt>
                <c:pt idx="8245">
                  <c:v>8442.0204967224199</c:v>
                </c:pt>
                <c:pt idx="8246">
                  <c:v>8448.177900394634</c:v>
                </c:pt>
                <c:pt idx="8247">
                  <c:v>8306.1414685922337</c:v>
                </c:pt>
                <c:pt idx="8248">
                  <c:v>8178.3151872037624</c:v>
                </c:pt>
                <c:pt idx="8249">
                  <c:v>7791.9858011859305</c:v>
                </c:pt>
                <c:pt idx="8250">
                  <c:v>7965.9364164918397</c:v>
                </c:pt>
                <c:pt idx="8251">
                  <c:v>7701.818028411878</c:v>
                </c:pt>
                <c:pt idx="8252">
                  <c:v>7093.7344752245453</c:v>
                </c:pt>
                <c:pt idx="8253">
                  <c:v>7086.8951525584043</c:v>
                </c:pt>
                <c:pt idx="8254">
                  <c:v>6802.8938210181786</c:v>
                </c:pt>
                <c:pt idx="8255">
                  <c:v>6591.8633423561041</c:v>
                </c:pt>
                <c:pt idx="8256">
                  <c:v>6420.8060625507178</c:v>
                </c:pt>
                <c:pt idx="8257">
                  <c:v>6360.7563413619137</c:v>
                </c:pt>
                <c:pt idx="8258">
                  <c:v>6354.6404699708573</c:v>
                </c:pt>
                <c:pt idx="8259">
                  <c:v>6409.6626227962661</c:v>
                </c:pt>
                <c:pt idx="8260">
                  <c:v>6802.0576111832861</c:v>
                </c:pt>
                <c:pt idx="8261">
                  <c:v>6911.4539400778431</c:v>
                </c:pt>
                <c:pt idx="8262">
                  <c:v>6893.9033732993275</c:v>
                </c:pt>
                <c:pt idx="8263">
                  <c:v>7091.9793841457767</c:v>
                </c:pt>
                <c:pt idx="8264">
                  <c:v>7247.3001885535341</c:v>
                </c:pt>
                <c:pt idx="8265">
                  <c:v>7361.9966666612227</c:v>
                </c:pt>
                <c:pt idx="8266">
                  <c:v>7523.1932459043574</c:v>
                </c:pt>
                <c:pt idx="8267">
                  <c:v>7623.5476324319816</c:v>
                </c:pt>
                <c:pt idx="8268">
                  <c:v>7441.9155327204289</c:v>
                </c:pt>
                <c:pt idx="8269">
                  <c:v>7234.8054917178542</c:v>
                </c:pt>
                <c:pt idx="8270">
                  <c:v>7199.4246350255526</c:v>
                </c:pt>
                <c:pt idx="8271">
                  <c:v>7105.818993004742</c:v>
                </c:pt>
                <c:pt idx="8272">
                  <c:v>7061.9783175186558</c:v>
                </c:pt>
                <c:pt idx="8273">
                  <c:v>7000.7694547164083</c:v>
                </c:pt>
                <c:pt idx="8274">
                  <c:v>7052.4781494827903</c:v>
                </c:pt>
                <c:pt idx="8275">
                  <c:v>6647.7856634188784</c:v>
                </c:pt>
                <c:pt idx="8276">
                  <c:v>6306.7888714938144</c:v>
                </c:pt>
                <c:pt idx="8277">
                  <c:v>6166.2804628790882</c:v>
                </c:pt>
                <c:pt idx="8278">
                  <c:v>5987.348174400835</c:v>
                </c:pt>
                <c:pt idx="8279">
                  <c:v>5998.1931561716538</c:v>
                </c:pt>
                <c:pt idx="8280">
                  <c:v>5947.934776744778</c:v>
                </c:pt>
                <c:pt idx="8281">
                  <c:v>5856.7828865760493</c:v>
                </c:pt>
                <c:pt idx="8282">
                  <c:v>5812.3616328278295</c:v>
                </c:pt>
                <c:pt idx="8283">
                  <c:v>5863.7157087491923</c:v>
                </c:pt>
                <c:pt idx="8284">
                  <c:v>5985.7898511042804</c:v>
                </c:pt>
                <c:pt idx="8285">
                  <c:v>6090.4063801415587</c:v>
                </c:pt>
                <c:pt idx="8286">
                  <c:v>6123.0769360512459</c:v>
                </c:pt>
                <c:pt idx="8287">
                  <c:v>6250.5240592742221</c:v>
                </c:pt>
                <c:pt idx="8288">
                  <c:v>6330.9307412510589</c:v>
                </c:pt>
                <c:pt idx="8289">
                  <c:v>6555.6018331210025</c:v>
                </c:pt>
                <c:pt idx="8290">
                  <c:v>6764.0269119540935</c:v>
                </c:pt>
                <c:pt idx="8291">
                  <c:v>6629.3981223406572</c:v>
                </c:pt>
                <c:pt idx="8292">
                  <c:v>6541.1347952278375</c:v>
                </c:pt>
                <c:pt idx="8293">
                  <c:v>6605.0967306189459</c:v>
                </c:pt>
                <c:pt idx="8294">
                  <c:v>6599.1839939098973</c:v>
                </c:pt>
                <c:pt idx="8295">
                  <c:v>6593.5574127614655</c:v>
                </c:pt>
                <c:pt idx="8296">
                  <c:v>6592.4818599147793</c:v>
                </c:pt>
                <c:pt idx="8297">
                  <c:v>6691.9273469247919</c:v>
                </c:pt>
                <c:pt idx="8298">
                  <c:v>6709.6511414297656</c:v>
                </c:pt>
                <c:pt idx="8299">
                  <c:v>6639.9410586036884</c:v>
                </c:pt>
                <c:pt idx="8300">
                  <c:v>6472.1544541301546</c:v>
                </c:pt>
                <c:pt idx="8301">
                  <c:v>6275.6360403386898</c:v>
                </c:pt>
                <c:pt idx="8302">
                  <c:v>6137.8003262982775</c:v>
                </c:pt>
                <c:pt idx="8303">
                  <c:v>6047.5375796922281</c:v>
                </c:pt>
                <c:pt idx="8304">
                  <c:v>6053.9441333676841</c:v>
                </c:pt>
                <c:pt idx="8305">
                  <c:v>6036.5956528622892</c:v>
                </c:pt>
                <c:pt idx="8306">
                  <c:v>6084.130932181406</c:v>
                </c:pt>
                <c:pt idx="8307">
                  <c:v>6141.430873440504</c:v>
                </c:pt>
                <c:pt idx="8308">
                  <c:v>6507.5993129086319</c:v>
                </c:pt>
                <c:pt idx="8309">
                  <c:v>6863.0500649181085</c:v>
                </c:pt>
                <c:pt idx="8310">
                  <c:v>7019.4561363361308</c:v>
                </c:pt>
                <c:pt idx="8311">
                  <c:v>6951.5092533762927</c:v>
                </c:pt>
                <c:pt idx="8312">
                  <c:v>6949.3206889071207</c:v>
                </c:pt>
                <c:pt idx="8313">
                  <c:v>6987.4896688999252</c:v>
                </c:pt>
                <c:pt idx="8314">
                  <c:v>6997.6198214666492</c:v>
                </c:pt>
                <c:pt idx="8315">
                  <c:v>7071.9144925997316</c:v>
                </c:pt>
                <c:pt idx="8316">
                  <c:v>7046.5438494055734</c:v>
                </c:pt>
                <c:pt idx="8317">
                  <c:v>6973.4972326040634</c:v>
                </c:pt>
                <c:pt idx="8318">
                  <c:v>6760.9195481479901</c:v>
                </c:pt>
                <c:pt idx="8319">
                  <c:v>6772.4232037219781</c:v>
                </c:pt>
                <c:pt idx="8320">
                  <c:v>6679.0356034470133</c:v>
                </c:pt>
                <c:pt idx="8321">
                  <c:v>6682.813364670229</c:v>
                </c:pt>
                <c:pt idx="8322">
                  <c:v>6573.8655855042671</c:v>
                </c:pt>
                <c:pt idx="8323">
                  <c:v>6599.3689561712226</c:v>
                </c:pt>
                <c:pt idx="8324">
                  <c:v>6181.3639105922339</c:v>
                </c:pt>
                <c:pt idx="8325">
                  <c:v>5966.4001403408874</c:v>
                </c:pt>
                <c:pt idx="8326">
                  <c:v>5585.6503099646061</c:v>
                </c:pt>
                <c:pt idx="8327">
                  <c:v>5539.9622724969122</c:v>
                </c:pt>
                <c:pt idx="8328">
                  <c:v>5569.9225221635206</c:v>
                </c:pt>
                <c:pt idx="8329">
                  <c:v>5599.5918219830455</c:v>
                </c:pt>
                <c:pt idx="8330">
                  <c:v>5658.8099528886087</c:v>
                </c:pt>
                <c:pt idx="8331">
                  <c:v>5709.3638634909776</c:v>
                </c:pt>
                <c:pt idx="8332">
                  <c:v>6217.0425973149286</c:v>
                </c:pt>
                <c:pt idx="8333">
                  <c:v>6513.0812791564349</c:v>
                </c:pt>
                <c:pt idx="8334">
                  <c:v>6759.0449876004532</c:v>
                </c:pt>
                <c:pt idx="8335">
                  <c:v>6608.565276746529</c:v>
                </c:pt>
                <c:pt idx="8336">
                  <c:v>6743.1808520396389</c:v>
                </c:pt>
                <c:pt idx="8337">
                  <c:v>6774.5133597279601</c:v>
                </c:pt>
                <c:pt idx="8338">
                  <c:v>6824.0566478485189</c:v>
                </c:pt>
                <c:pt idx="8339">
                  <c:v>6825.3049260590724</c:v>
                </c:pt>
                <c:pt idx="8340">
                  <c:v>6740.3490941797445</c:v>
                </c:pt>
                <c:pt idx="8341">
                  <c:v>6652.4071098507584</c:v>
                </c:pt>
                <c:pt idx="8342">
                  <c:v>6584.182502285089</c:v>
                </c:pt>
                <c:pt idx="8343">
                  <c:v>6419.8992653113382</c:v>
                </c:pt>
                <c:pt idx="8344">
                  <c:v>6270.3595403905711</c:v>
                </c:pt>
                <c:pt idx="8345">
                  <c:v>6342.75412331185</c:v>
                </c:pt>
                <c:pt idx="8346">
                  <c:v>6338.4595128895253</c:v>
                </c:pt>
                <c:pt idx="8347">
                  <c:v>6178.467560916165</c:v>
                </c:pt>
                <c:pt idx="8348">
                  <c:v>6301.4877666996663</c:v>
                </c:pt>
                <c:pt idx="8349">
                  <c:v>6021.3584057498438</c:v>
                </c:pt>
                <c:pt idx="8350">
                  <c:v>5911.5179173388997</c:v>
                </c:pt>
                <c:pt idx="8351">
                  <c:v>6088.0650537610454</c:v>
                </c:pt>
                <c:pt idx="8352">
                  <c:v>5918.2161307216229</c:v>
                </c:pt>
                <c:pt idx="8353">
                  <c:v>5851.7487219734176</c:v>
                </c:pt>
                <c:pt idx="8354">
                  <c:v>5849.731692487192</c:v>
                </c:pt>
                <c:pt idx="8355">
                  <c:v>6124.2687749168026</c:v>
                </c:pt>
                <c:pt idx="8356">
                  <c:v>6282.714230956346</c:v>
                </c:pt>
                <c:pt idx="8357">
                  <c:v>6510.5229430575719</c:v>
                </c:pt>
                <c:pt idx="8358">
                  <c:v>6398.1143552400199</c:v>
                </c:pt>
                <c:pt idx="8359">
                  <c:v>6249.3362174675412</c:v>
                </c:pt>
                <c:pt idx="8360">
                  <c:v>6000.357186780815</c:v>
                </c:pt>
                <c:pt idx="8361">
                  <c:v>5914.3910709683787</c:v>
                </c:pt>
                <c:pt idx="8362">
                  <c:v>5981.3008918848273</c:v>
                </c:pt>
                <c:pt idx="8363">
                  <c:v>5894.7478418313885</c:v>
                </c:pt>
                <c:pt idx="8364">
                  <c:v>5755.2287271302093</c:v>
                </c:pt>
                <c:pt idx="8365">
                  <c:v>5778.2061695458788</c:v>
                </c:pt>
                <c:pt idx="8366">
                  <c:v>5693.6087351519272</c:v>
                </c:pt>
                <c:pt idx="8367">
                  <c:v>5521.3051592840366</c:v>
                </c:pt>
                <c:pt idx="8368">
                  <c:v>5437.1230138467909</c:v>
                </c:pt>
                <c:pt idx="8369">
                  <c:v>5466.637292215406</c:v>
                </c:pt>
                <c:pt idx="8370">
                  <c:v>5425.3765866363256</c:v>
                </c:pt>
                <c:pt idx="8371">
                  <c:v>5449.2942743571421</c:v>
                </c:pt>
                <c:pt idx="8372">
                  <c:v>5407.5674560164507</c:v>
                </c:pt>
                <c:pt idx="8373">
                  <c:v>5284.9112397784274</c:v>
                </c:pt>
                <c:pt idx="8374">
                  <c:v>5264.3040030396942</c:v>
                </c:pt>
                <c:pt idx="8375">
                  <c:v>5207.3188705744697</c:v>
                </c:pt>
                <c:pt idx="8376">
                  <c:v>5012.3588254014012</c:v>
                </c:pt>
                <c:pt idx="8377">
                  <c:v>4960.0152802856292</c:v>
                </c:pt>
                <c:pt idx="8378">
                  <c:v>5068.4781490462947</c:v>
                </c:pt>
                <c:pt idx="8379">
                  <c:v>5163.8493318338114</c:v>
                </c:pt>
                <c:pt idx="8380">
                  <c:v>5476.8673767144819</c:v>
                </c:pt>
                <c:pt idx="8381">
                  <c:v>5744.3086967566796</c:v>
                </c:pt>
                <c:pt idx="8382">
                  <c:v>5394.9257001769292</c:v>
                </c:pt>
                <c:pt idx="8383">
                  <c:v>5846.922016739446</c:v>
                </c:pt>
                <c:pt idx="8384">
                  <c:v>6191.9036524844414</c:v>
                </c:pt>
                <c:pt idx="8385">
                  <c:v>6191.5234295286737</c:v>
                </c:pt>
                <c:pt idx="8386">
                  <c:v>5939.4634254532557</c:v>
                </c:pt>
                <c:pt idx="8387">
                  <c:v>5943.1075145435852</c:v>
                </c:pt>
                <c:pt idx="8388">
                  <c:v>6065.9023397190431</c:v>
                </c:pt>
                <c:pt idx="8389">
                  <c:v>5880.1957026232285</c:v>
                </c:pt>
                <c:pt idx="8390">
                  <c:v>5869.4576039540907</c:v>
                </c:pt>
                <c:pt idx="8391">
                  <c:v>6000.9565162727013</c:v>
                </c:pt>
                <c:pt idx="8392">
                  <c:v>5953.0164965191962</c:v>
                </c:pt>
                <c:pt idx="8393">
                  <c:v>5911.4582672416918</c:v>
                </c:pt>
                <c:pt idx="8394">
                  <c:v>5938.8028022648141</c:v>
                </c:pt>
                <c:pt idx="8395">
                  <c:v>5885.9746416087437</c:v>
                </c:pt>
                <c:pt idx="8396">
                  <c:v>5792.5774036166804</c:v>
                </c:pt>
                <c:pt idx="8397">
                  <c:v>5646.0347575319211</c:v>
                </c:pt>
                <c:pt idx="8398">
                  <c:v>5783.206566645662</c:v>
                </c:pt>
                <c:pt idx="8399">
                  <c:v>5743.8717559723054</c:v>
                </c:pt>
                <c:pt idx="8400">
                  <c:v>5625.2617640721301</c:v>
                </c:pt>
                <c:pt idx="8401">
                  <c:v>5614.2019731495293</c:v>
                </c:pt>
                <c:pt idx="8402">
                  <c:v>5563.4669007680441</c:v>
                </c:pt>
                <c:pt idx="8403">
                  <c:v>5691.0933292127356</c:v>
                </c:pt>
                <c:pt idx="8404">
                  <c:v>5789.0366537875798</c:v>
                </c:pt>
                <c:pt idx="8405">
                  <c:v>6286.8698179920975</c:v>
                </c:pt>
                <c:pt idx="8406">
                  <c:v>6862.0581827451251</c:v>
                </c:pt>
                <c:pt idx="8407">
                  <c:v>6788.3119605102111</c:v>
                </c:pt>
                <c:pt idx="8408">
                  <c:v>6540.9655864021061</c:v>
                </c:pt>
                <c:pt idx="8409">
                  <c:v>6702.8619130506813</c:v>
                </c:pt>
                <c:pt idx="8410">
                  <c:v>6887.0122363003038</c:v>
                </c:pt>
                <c:pt idx="8411">
                  <c:v>6495.2668518875034</c:v>
                </c:pt>
                <c:pt idx="8412">
                  <c:v>6679.0921574617314</c:v>
                </c:pt>
                <c:pt idx="8413">
                  <c:v>6946.7054984680772</c:v>
                </c:pt>
                <c:pt idx="8414">
                  <c:v>7068.1972988314974</c:v>
                </c:pt>
                <c:pt idx="8415">
                  <c:v>7016.8800537326961</c:v>
                </c:pt>
                <c:pt idx="8416">
                  <c:v>6888.8801787667508</c:v>
                </c:pt>
                <c:pt idx="8417">
                  <c:v>6848.7488558241103</c:v>
                </c:pt>
                <c:pt idx="8418">
                  <c:v>6710.1519259468896</c:v>
                </c:pt>
                <c:pt idx="8419">
                  <c:v>6752.6247991490245</c:v>
                </c:pt>
                <c:pt idx="8420">
                  <c:v>6550.3506151163192</c:v>
                </c:pt>
                <c:pt idx="8421">
                  <c:v>6497.6227140203764</c:v>
                </c:pt>
                <c:pt idx="8422">
                  <c:v>6400.1440966839809</c:v>
                </c:pt>
                <c:pt idx="8423">
                  <c:v>6200.1707606199798</c:v>
                </c:pt>
                <c:pt idx="8424">
                  <c:v>6093.9991900243749</c:v>
                </c:pt>
                <c:pt idx="8425">
                  <c:v>6041.8932356578371</c:v>
                </c:pt>
                <c:pt idx="8426">
                  <c:v>5941.0651703511467</c:v>
                </c:pt>
                <c:pt idx="8427">
                  <c:v>5907.9441371694456</c:v>
                </c:pt>
                <c:pt idx="8428">
                  <c:v>5906.7930278969934</c:v>
                </c:pt>
                <c:pt idx="8429">
                  <c:v>5699.0666043767569</c:v>
                </c:pt>
                <c:pt idx="8430">
                  <c:v>5841.6366107762633</c:v>
                </c:pt>
                <c:pt idx="8431">
                  <c:v>6096.9889955237422</c:v>
                </c:pt>
                <c:pt idx="8432">
                  <c:v>6090.9155901530075</c:v>
                </c:pt>
                <c:pt idx="8433">
                  <c:v>5993.3748982738553</c:v>
                </c:pt>
                <c:pt idx="8434">
                  <c:v>5979.7315384531239</c:v>
                </c:pt>
                <c:pt idx="8435">
                  <c:v>6001.8780676829574</c:v>
                </c:pt>
                <c:pt idx="8436">
                  <c:v>5982.2034627258872</c:v>
                </c:pt>
                <c:pt idx="8437">
                  <c:v>5970.2151583027762</c:v>
                </c:pt>
                <c:pt idx="8438">
                  <c:v>6007.2645686570977</c:v>
                </c:pt>
                <c:pt idx="8439">
                  <c:v>5939.6103774320236</c:v>
                </c:pt>
                <c:pt idx="8440">
                  <c:v>5915.3782189199892</c:v>
                </c:pt>
                <c:pt idx="8441">
                  <c:v>5782.6973730156024</c:v>
                </c:pt>
                <c:pt idx="8442">
                  <c:v>5668.9705256943971</c:v>
                </c:pt>
                <c:pt idx="8443">
                  <c:v>5619.4532785216215</c:v>
                </c:pt>
                <c:pt idx="8444">
                  <c:v>5808.4606999419675</c:v>
                </c:pt>
                <c:pt idx="8445">
                  <c:v>5679.0285783083991</c:v>
                </c:pt>
                <c:pt idx="8446">
                  <c:v>5499.4781108201732</c:v>
                </c:pt>
                <c:pt idx="8447">
                  <c:v>5733.9552440182943</c:v>
                </c:pt>
                <c:pt idx="8448">
                  <c:v>5735.8938230333943</c:v>
                </c:pt>
                <c:pt idx="8449">
                  <c:v>5553.5272637534617</c:v>
                </c:pt>
                <c:pt idx="8450">
                  <c:v>5639.904426834988</c:v>
                </c:pt>
                <c:pt idx="8451">
                  <c:v>5641.6768603440678</c:v>
                </c:pt>
                <c:pt idx="8452">
                  <c:v>5984.7153575874054</c:v>
                </c:pt>
                <c:pt idx="8453">
                  <c:v>6159.6843492325061</c:v>
                </c:pt>
                <c:pt idx="8454">
                  <c:v>6219.6926855726524</c:v>
                </c:pt>
                <c:pt idx="8455">
                  <c:v>6382.2397410508129</c:v>
                </c:pt>
                <c:pt idx="8456">
                  <c:v>6532.4194595310173</c:v>
                </c:pt>
                <c:pt idx="8457">
                  <c:v>6482.7390155022131</c:v>
                </c:pt>
                <c:pt idx="8458">
                  <c:v>6562.2513610161113</c:v>
                </c:pt>
                <c:pt idx="8459">
                  <c:v>6588.182225866547</c:v>
                </c:pt>
                <c:pt idx="8460">
                  <c:v>6590.0932786879421</c:v>
                </c:pt>
                <c:pt idx="8461">
                  <c:v>6604.4141290671514</c:v>
                </c:pt>
                <c:pt idx="8462">
                  <c:v>6615.4466231354918</c:v>
                </c:pt>
                <c:pt idx="8463">
                  <c:v>6676.5984404813553</c:v>
                </c:pt>
                <c:pt idx="8464">
                  <c:v>7125.8608140948445</c:v>
                </c:pt>
                <c:pt idx="8465">
                  <c:v>7504.6304785702396</c:v>
                </c:pt>
                <c:pt idx="8466">
                  <c:v>7704.6261424672221</c:v>
                </c:pt>
                <c:pt idx="8467">
                  <c:v>7895.6477211702868</c:v>
                </c:pt>
                <c:pt idx="8468">
                  <c:v>7771.8037663283321</c:v>
                </c:pt>
                <c:pt idx="8469">
                  <c:v>7488.0438746176706</c:v>
                </c:pt>
                <c:pt idx="8470">
                  <c:v>7413.2762345657047</c:v>
                </c:pt>
                <c:pt idx="8471">
                  <c:v>7446.4250669642579</c:v>
                </c:pt>
                <c:pt idx="8472">
                  <c:v>7574.2030014138136</c:v>
                </c:pt>
                <c:pt idx="8473">
                  <c:v>7465.307599008418</c:v>
                </c:pt>
                <c:pt idx="8474">
                  <c:v>7759.2078488910465</c:v>
                </c:pt>
                <c:pt idx="8475">
                  <c:v>8082.9999561419017</c:v>
                </c:pt>
                <c:pt idx="8476">
                  <c:v>8650.2707752157221</c:v>
                </c:pt>
                <c:pt idx="8477">
                  <c:v>9282.8552017570637</c:v>
                </c:pt>
                <c:pt idx="8478">
                  <c:v>9547.6113446066556</c:v>
                </c:pt>
                <c:pt idx="8479">
                  <c:v>9983.7802160970223</c:v>
                </c:pt>
                <c:pt idx="8480">
                  <c:v>10222.477489923827</c:v>
                </c:pt>
                <c:pt idx="8481">
                  <c:v>10301.491595496333</c:v>
                </c:pt>
                <c:pt idx="8482">
                  <c:v>10231.465215354179</c:v>
                </c:pt>
                <c:pt idx="8483">
                  <c:v>10205.981245712066</c:v>
                </c:pt>
                <c:pt idx="8484">
                  <c:v>10013.317716722449</c:v>
                </c:pt>
                <c:pt idx="8485">
                  <c:v>9977.5323107119602</c:v>
                </c:pt>
                <c:pt idx="8486">
                  <c:v>10002.804425312745</c:v>
                </c:pt>
                <c:pt idx="8487">
                  <c:v>9897.3691763033858</c:v>
                </c:pt>
                <c:pt idx="8488">
                  <c:v>9554.965108407745</c:v>
                </c:pt>
                <c:pt idx="8489">
                  <c:v>9301.6867112354703</c:v>
                </c:pt>
                <c:pt idx="8490">
                  <c:v>9286.266767953819</c:v>
                </c:pt>
                <c:pt idx="8491">
                  <c:v>9036.1551608058744</c:v>
                </c:pt>
                <c:pt idx="8492">
                  <c:v>8867.132602386655</c:v>
                </c:pt>
                <c:pt idx="8493">
                  <c:v>8517.9289203114076</c:v>
                </c:pt>
                <c:pt idx="8494">
                  <c:v>8553.2813225313039</c:v>
                </c:pt>
                <c:pt idx="8495">
                  <c:v>8399.0489085186164</c:v>
                </c:pt>
                <c:pt idx="8496">
                  <c:v>8318.6819568701667</c:v>
                </c:pt>
                <c:pt idx="8497">
                  <c:v>8330.1819757758331</c:v>
                </c:pt>
                <c:pt idx="8498">
                  <c:v>8428.6996263827405</c:v>
                </c:pt>
                <c:pt idx="8499">
                  <c:v>8815.3827739529097</c:v>
                </c:pt>
                <c:pt idx="8500">
                  <c:v>9464.763950363249</c:v>
                </c:pt>
                <c:pt idx="8501">
                  <c:v>10131.005305380149</c:v>
                </c:pt>
                <c:pt idx="8502">
                  <c:v>10419.050704921407</c:v>
                </c:pt>
                <c:pt idx="8503">
                  <c:v>10706.691020019107</c:v>
                </c:pt>
                <c:pt idx="8504">
                  <c:v>10606.848038609034</c:v>
                </c:pt>
                <c:pt idx="8505">
                  <c:v>10837.08056830448</c:v>
                </c:pt>
                <c:pt idx="8506">
                  <c:v>10718.07083229351</c:v>
                </c:pt>
                <c:pt idx="8507">
                  <c:v>10678.778411193995</c:v>
                </c:pt>
                <c:pt idx="8508">
                  <c:v>10780.829882302525</c:v>
                </c:pt>
                <c:pt idx="8509">
                  <c:v>10881.478937252499</c:v>
                </c:pt>
                <c:pt idx="8510">
                  <c:v>10996.289560877585</c:v>
                </c:pt>
                <c:pt idx="8511">
                  <c:v>10829.540160419478</c:v>
                </c:pt>
                <c:pt idx="8512">
                  <c:v>10635.132292002629</c:v>
                </c:pt>
                <c:pt idx="8513">
                  <c:v>10486.775205067357</c:v>
                </c:pt>
                <c:pt idx="8514">
                  <c:v>10260.817726415968</c:v>
                </c:pt>
                <c:pt idx="8515">
                  <c:v>10160.88294916333</c:v>
                </c:pt>
                <c:pt idx="8516">
                  <c:v>9774.2550669386237</c:v>
                </c:pt>
                <c:pt idx="8517">
                  <c:v>9605.2788514684144</c:v>
                </c:pt>
                <c:pt idx="8518">
                  <c:v>9411.7466338103095</c:v>
                </c:pt>
                <c:pt idx="8519">
                  <c:v>9265.1558100609909</c:v>
                </c:pt>
                <c:pt idx="8520">
                  <c:v>9120.8156417049868</c:v>
                </c:pt>
                <c:pt idx="8521">
                  <c:v>9346.822253601953</c:v>
                </c:pt>
                <c:pt idx="8522">
                  <c:v>9335.6026021661819</c:v>
                </c:pt>
                <c:pt idx="8523">
                  <c:v>9685.842953131485</c:v>
                </c:pt>
                <c:pt idx="8524">
                  <c:v>10138.566064410546</c:v>
                </c:pt>
                <c:pt idx="8525">
                  <c:v>10399.776537553924</c:v>
                </c:pt>
                <c:pt idx="8526">
                  <c:v>10575.051670054021</c:v>
                </c:pt>
                <c:pt idx="8527">
                  <c:v>10498.393180893556</c:v>
                </c:pt>
                <c:pt idx="8528">
                  <c:v>10434.706938816063</c:v>
                </c:pt>
                <c:pt idx="8529">
                  <c:v>10372.6374961328</c:v>
                </c:pt>
                <c:pt idx="8530">
                  <c:v>10259.700493855624</c:v>
                </c:pt>
                <c:pt idx="8531">
                  <c:v>10093.621927651666</c:v>
                </c:pt>
                <c:pt idx="8532">
                  <c:v>10196.431316477387</c:v>
                </c:pt>
                <c:pt idx="8533">
                  <c:v>10331.969906584822</c:v>
                </c:pt>
                <c:pt idx="8534">
                  <c:v>10401.403782813768</c:v>
                </c:pt>
                <c:pt idx="8535">
                  <c:v>10497.854036624245</c:v>
                </c:pt>
                <c:pt idx="8536">
                  <c:v>10306.324432830192</c:v>
                </c:pt>
                <c:pt idx="8537">
                  <c:v>10220.619960560214</c:v>
                </c:pt>
                <c:pt idx="8538">
                  <c:v>10063.242412719233</c:v>
                </c:pt>
                <c:pt idx="8539">
                  <c:v>9628.4504242626954</c:v>
                </c:pt>
                <c:pt idx="8540">
                  <c:v>9530.9384598790966</c:v>
                </c:pt>
                <c:pt idx="8541">
                  <c:v>9225.4882606176343</c:v>
                </c:pt>
                <c:pt idx="8542">
                  <c:v>8425.0165222846699</c:v>
                </c:pt>
                <c:pt idx="8543">
                  <c:v>7812.6742448374862</c:v>
                </c:pt>
                <c:pt idx="8544">
                  <c:v>7499.4203833119909</c:v>
                </c:pt>
                <c:pt idx="8545">
                  <c:v>7135.333308504506</c:v>
                </c:pt>
                <c:pt idx="8546">
                  <c:v>7019.5966777314006</c:v>
                </c:pt>
                <c:pt idx="8547">
                  <c:v>7021.1879876846051</c:v>
                </c:pt>
                <c:pt idx="8548">
                  <c:v>7357.9197102918752</c:v>
                </c:pt>
                <c:pt idx="8549">
                  <c:v>7555.2882799405943</c:v>
                </c:pt>
                <c:pt idx="8550">
                  <c:v>7948.3801926737124</c:v>
                </c:pt>
                <c:pt idx="8551">
                  <c:v>7933.3395986737587</c:v>
                </c:pt>
                <c:pt idx="8552">
                  <c:v>7789.6070760947077</c:v>
                </c:pt>
                <c:pt idx="8553">
                  <c:v>7964.4405936541507</c:v>
                </c:pt>
                <c:pt idx="8554">
                  <c:v>7977.3296342027716</c:v>
                </c:pt>
                <c:pt idx="8555">
                  <c:v>8051.7280322899524</c:v>
                </c:pt>
                <c:pt idx="8556">
                  <c:v>7945.2555519628522</c:v>
                </c:pt>
                <c:pt idx="8557">
                  <c:v>7870.0330225848129</c:v>
                </c:pt>
                <c:pt idx="8558">
                  <c:v>7869.4885052199652</c:v>
                </c:pt>
                <c:pt idx="8559">
                  <c:v>7826.2807301519506</c:v>
                </c:pt>
                <c:pt idx="8560">
                  <c:v>7650.7803863181616</c:v>
                </c:pt>
                <c:pt idx="8561">
                  <c:v>7576.4574409079523</c:v>
                </c:pt>
                <c:pt idx="8562">
                  <c:v>7496.5383728116167</c:v>
                </c:pt>
                <c:pt idx="8563">
                  <c:v>7378.4422869210212</c:v>
                </c:pt>
                <c:pt idx="8564">
                  <c:v>7184.0176385015448</c:v>
                </c:pt>
                <c:pt idx="8565">
                  <c:v>7057.3246052112354</c:v>
                </c:pt>
                <c:pt idx="8566">
                  <c:v>7008.3989445938914</c:v>
                </c:pt>
                <c:pt idx="8567">
                  <c:v>7013.0655872775651</c:v>
                </c:pt>
                <c:pt idx="8568">
                  <c:v>7597.4396629263965</c:v>
                </c:pt>
                <c:pt idx="8569">
                  <c:v>7794.8222932671988</c:v>
                </c:pt>
                <c:pt idx="8570">
                  <c:v>8023.0919012037357</c:v>
                </c:pt>
                <c:pt idx="8571">
                  <c:v>8196.4615287127908</c:v>
                </c:pt>
                <c:pt idx="8572">
                  <c:v>8658.3628209092531</c:v>
                </c:pt>
                <c:pt idx="8573">
                  <c:v>9060.1064877086628</c:v>
                </c:pt>
                <c:pt idx="8574">
                  <c:v>9608.7456830106348</c:v>
                </c:pt>
                <c:pt idx="8575">
                  <c:v>9902.0471276058179</c:v>
                </c:pt>
                <c:pt idx="8576">
                  <c:v>10096.733779958309</c:v>
                </c:pt>
                <c:pt idx="8577">
                  <c:v>10212.619301174527</c:v>
                </c:pt>
                <c:pt idx="8578">
                  <c:v>10290.113661621182</c:v>
                </c:pt>
                <c:pt idx="8579">
                  <c:v>10386.75166252909</c:v>
                </c:pt>
                <c:pt idx="8580">
                  <c:v>10210.28935439879</c:v>
                </c:pt>
                <c:pt idx="8581">
                  <c:v>10228.870004749053</c:v>
                </c:pt>
                <c:pt idx="8582">
                  <c:v>10370.982266000367</c:v>
                </c:pt>
                <c:pt idx="8583">
                  <c:v>10319.456485821705</c:v>
                </c:pt>
                <c:pt idx="8584">
                  <c:v>10004.597543055461</c:v>
                </c:pt>
                <c:pt idx="8585">
                  <c:v>9934.8712808776781</c:v>
                </c:pt>
                <c:pt idx="8586">
                  <c:v>9987.4569205325188</c:v>
                </c:pt>
                <c:pt idx="8587">
                  <c:v>9850.7137796017942</c:v>
                </c:pt>
                <c:pt idx="8588">
                  <c:v>9869.1606431494456</c:v>
                </c:pt>
                <c:pt idx="8589">
                  <c:v>9738.7326805072571</c:v>
                </c:pt>
                <c:pt idx="8590">
                  <c:v>9653.0660437850256</c:v>
                </c:pt>
                <c:pt idx="8591">
                  <c:v>9523.0530708661736</c:v>
                </c:pt>
                <c:pt idx="8592">
                  <c:v>9439.8304827533702</c:v>
                </c:pt>
                <c:pt idx="8593">
                  <c:v>9369.5822166994603</c:v>
                </c:pt>
                <c:pt idx="8594">
                  <c:v>9317.0219408949943</c:v>
                </c:pt>
                <c:pt idx="8595">
                  <c:v>9291.718625208945</c:v>
                </c:pt>
                <c:pt idx="8596">
                  <c:v>9599.7611464906404</c:v>
                </c:pt>
                <c:pt idx="8597">
                  <c:v>9783.5976951580706</c:v>
                </c:pt>
                <c:pt idx="8598">
                  <c:v>9930.6143367287459</c:v>
                </c:pt>
                <c:pt idx="8599">
                  <c:v>10101.40800176455</c:v>
                </c:pt>
                <c:pt idx="8600">
                  <c:v>10134.194051925981</c:v>
                </c:pt>
                <c:pt idx="8601">
                  <c:v>9962.2705515813577</c:v>
                </c:pt>
                <c:pt idx="8602">
                  <c:v>9633.3736704815328</c:v>
                </c:pt>
                <c:pt idx="8603">
                  <c:v>9293.0911999375094</c:v>
                </c:pt>
                <c:pt idx="8604">
                  <c:v>9175.5848003612409</c:v>
                </c:pt>
                <c:pt idx="8605">
                  <c:v>9167.8478594939334</c:v>
                </c:pt>
                <c:pt idx="8606">
                  <c:v>9079.2940248315263</c:v>
                </c:pt>
                <c:pt idx="8607">
                  <c:v>9090.4064709983031</c:v>
                </c:pt>
                <c:pt idx="8608">
                  <c:v>8922.8513464699245</c:v>
                </c:pt>
                <c:pt idx="8609">
                  <c:v>8862.2709338084478</c:v>
                </c:pt>
                <c:pt idx="8610">
                  <c:v>8617.0190458534398</c:v>
                </c:pt>
                <c:pt idx="8611">
                  <c:v>8526.5117851771884</c:v>
                </c:pt>
                <c:pt idx="8612">
                  <c:v>8513.5065732794192</c:v>
                </c:pt>
                <c:pt idx="8613">
                  <c:v>8581.5575217420574</c:v>
                </c:pt>
                <c:pt idx="8614">
                  <c:v>8610.1410685701139</c:v>
                </c:pt>
                <c:pt idx="8615">
                  <c:v>8801.0136148580295</c:v>
                </c:pt>
                <c:pt idx="8616">
                  <c:v>9034.1516295840484</c:v>
                </c:pt>
                <c:pt idx="8617">
                  <c:v>9142.8474957525177</c:v>
                </c:pt>
                <c:pt idx="8618">
                  <c:v>9352.5919589446275</c:v>
                </c:pt>
                <c:pt idx="8619">
                  <c:v>9582.7783750305061</c:v>
                </c:pt>
                <c:pt idx="8620">
                  <c:v>10009.334505580937</c:v>
                </c:pt>
                <c:pt idx="8621">
                  <c:v>10296.520237138491</c:v>
                </c:pt>
                <c:pt idx="8622">
                  <c:v>10565.776484012405</c:v>
                </c:pt>
                <c:pt idx="8623">
                  <c:v>10706.826761667451</c:v>
                </c:pt>
                <c:pt idx="8624">
                  <c:v>10650.515016768848</c:v>
                </c:pt>
                <c:pt idx="8625">
                  <c:v>10532.660873070408</c:v>
                </c:pt>
                <c:pt idx="8626">
                  <c:v>10405.625758157999</c:v>
                </c:pt>
                <c:pt idx="8627">
                  <c:v>10298.174986750186</c:v>
                </c:pt>
                <c:pt idx="8628">
                  <c:v>10223.235500468887</c:v>
                </c:pt>
                <c:pt idx="8629">
                  <c:v>10180.376698127209</c:v>
                </c:pt>
                <c:pt idx="8630">
                  <c:v>9964.9279896222033</c:v>
                </c:pt>
                <c:pt idx="8631">
                  <c:v>10047.928025646768</c:v>
                </c:pt>
                <c:pt idx="8632">
                  <c:v>10095.599838381355</c:v>
                </c:pt>
                <c:pt idx="8633">
                  <c:v>10165.503909614008</c:v>
                </c:pt>
                <c:pt idx="8634">
                  <c:v>10074.809311375049</c:v>
                </c:pt>
                <c:pt idx="8635">
                  <c:v>10101.850315644462</c:v>
                </c:pt>
                <c:pt idx="8636">
                  <c:v>9937.3352547163922</c:v>
                </c:pt>
                <c:pt idx="8637">
                  <c:v>9620.6808571292913</c:v>
                </c:pt>
                <c:pt idx="8638">
                  <c:v>9473.6304589766914</c:v>
                </c:pt>
                <c:pt idx="8639">
                  <c:v>9392.7525226663365</c:v>
                </c:pt>
                <c:pt idx="8640">
                  <c:v>9229.9361134720384</c:v>
                </c:pt>
                <c:pt idx="8641">
                  <c:v>8982.2695214354681</c:v>
                </c:pt>
                <c:pt idx="8642">
                  <c:v>8957.5014512481848</c:v>
                </c:pt>
                <c:pt idx="8643">
                  <c:v>9086.0136268476035</c:v>
                </c:pt>
                <c:pt idx="8644">
                  <c:v>10096.610635597979</c:v>
                </c:pt>
                <c:pt idx="8645">
                  <c:v>10734.672092128621</c:v>
                </c:pt>
                <c:pt idx="8646">
                  <c:v>10800.004843979228</c:v>
                </c:pt>
                <c:pt idx="8647">
                  <c:v>11063.385479831652</c:v>
                </c:pt>
                <c:pt idx="8648">
                  <c:v>11068.569861769894</c:v>
                </c:pt>
                <c:pt idx="8649">
                  <c:v>10897.45215648156</c:v>
                </c:pt>
                <c:pt idx="8650">
                  <c:v>10864.239267392204</c:v>
                </c:pt>
                <c:pt idx="8651">
                  <c:v>10579.184099266424</c:v>
                </c:pt>
                <c:pt idx="8652">
                  <c:v>10454.055783474778</c:v>
                </c:pt>
                <c:pt idx="8653">
                  <c:v>10683.809233993303</c:v>
                </c:pt>
                <c:pt idx="8654">
                  <c:v>10806.384854344309</c:v>
                </c:pt>
                <c:pt idx="8655">
                  <c:v>10889.144171320419</c:v>
                </c:pt>
                <c:pt idx="8656">
                  <c:v>10788.580037490161</c:v>
                </c:pt>
                <c:pt idx="8657">
                  <c:v>10822.686400289311</c:v>
                </c:pt>
                <c:pt idx="8658">
                  <c:v>11047.674575781992</c:v>
                </c:pt>
                <c:pt idx="8659">
                  <c:v>10856.655841980122</c:v>
                </c:pt>
                <c:pt idx="8660">
                  <c:v>10584.56808842761</c:v>
                </c:pt>
                <c:pt idx="8661">
                  <c:v>10140.090576520548</c:v>
                </c:pt>
                <c:pt idx="8662">
                  <c:v>9954.5343478765462</c:v>
                </c:pt>
                <c:pt idx="8663">
                  <c:v>9994.9211986431474</c:v>
                </c:pt>
                <c:pt idx="8664">
                  <c:v>9751.1843270530808</c:v>
                </c:pt>
                <c:pt idx="8665">
                  <c:v>9431.9278277566136</c:v>
                </c:pt>
                <c:pt idx="8666">
                  <c:v>9267.6666237508452</c:v>
                </c:pt>
                <c:pt idx="8667">
                  <c:v>9220.930313909339</c:v>
                </c:pt>
                <c:pt idx="8668">
                  <c:v>9374.3820182325035</c:v>
                </c:pt>
                <c:pt idx="8669">
                  <c:v>9393.5902013657615</c:v>
                </c:pt>
                <c:pt idx="8670">
                  <c:v>9241.2918178025411</c:v>
                </c:pt>
                <c:pt idx="8671">
                  <c:v>9058.9841004712998</c:v>
                </c:pt>
                <c:pt idx="8672">
                  <c:v>8833.8087130065578</c:v>
                </c:pt>
                <c:pt idx="8673">
                  <c:v>8267.0224717958408</c:v>
                </c:pt>
                <c:pt idx="8674">
                  <c:v>8115.3814078409796</c:v>
                </c:pt>
                <c:pt idx="8675">
                  <c:v>8140.9923878511881</c:v>
                </c:pt>
                <c:pt idx="8676">
                  <c:v>8261.6393508482633</c:v>
                </c:pt>
                <c:pt idx="8677">
                  <c:v>8454.1430575479517</c:v>
                </c:pt>
                <c:pt idx="8678">
                  <c:v>8511.1861986952244</c:v>
                </c:pt>
                <c:pt idx="8679">
                  <c:v>8393.9075768702314</c:v>
                </c:pt>
                <c:pt idx="8680">
                  <c:v>8329.7225215027374</c:v>
                </c:pt>
                <c:pt idx="8681">
                  <c:v>8474.8150379037288</c:v>
                </c:pt>
                <c:pt idx="8682">
                  <c:v>8227.5010825641257</c:v>
                </c:pt>
                <c:pt idx="8683">
                  <c:v>8019.788763419675</c:v>
                </c:pt>
                <c:pt idx="8684">
                  <c:v>7703.4056143293537</c:v>
                </c:pt>
                <c:pt idx="8685">
                  <c:v>7630.4706039299717</c:v>
                </c:pt>
                <c:pt idx="8686">
                  <c:v>7481.9384545526909</c:v>
                </c:pt>
                <c:pt idx="8687">
                  <c:v>7423.8212021209511</c:v>
                </c:pt>
                <c:pt idx="8688">
                  <c:v>7449.5047516836948</c:v>
                </c:pt>
                <c:pt idx="8689">
                  <c:v>7389.2218632666882</c:v>
                </c:pt>
                <c:pt idx="8690">
                  <c:v>7597.7156456445482</c:v>
                </c:pt>
                <c:pt idx="8691">
                  <c:v>7809.1585749146898</c:v>
                </c:pt>
                <c:pt idx="8692">
                  <c:v>8206.725304268235</c:v>
                </c:pt>
                <c:pt idx="8693">
                  <c:v>8645.9029727480884</c:v>
                </c:pt>
                <c:pt idx="8694">
                  <c:v>8733.7490058222083</c:v>
                </c:pt>
                <c:pt idx="8695">
                  <c:v>8558.4216876777482</c:v>
                </c:pt>
                <c:pt idx="8696">
                  <c:v>8590.1885369700831</c:v>
                </c:pt>
                <c:pt idx="8697">
                  <c:v>8675.2947991430756</c:v>
                </c:pt>
                <c:pt idx="8698">
                  <c:v>8860.8387144431381</c:v>
                </c:pt>
                <c:pt idx="8699">
                  <c:v>8802.8419252844214</c:v>
                </c:pt>
                <c:pt idx="8700">
                  <c:v>8865.2337536999421</c:v>
                </c:pt>
                <c:pt idx="8701">
                  <c:v>8765.5700010651035</c:v>
                </c:pt>
                <c:pt idx="8702">
                  <c:v>8605.8399165131832</c:v>
                </c:pt>
                <c:pt idx="8703">
                  <c:v>8660.8704238468981</c:v>
                </c:pt>
                <c:pt idx="8704">
                  <c:v>8519.0713201454637</c:v>
                </c:pt>
                <c:pt idx="8705">
                  <c:v>8413.8553742488893</c:v>
                </c:pt>
                <c:pt idx="8706">
                  <c:v>8311.8854496939748</c:v>
                </c:pt>
                <c:pt idx="8707">
                  <c:v>7925.3574994016208</c:v>
                </c:pt>
                <c:pt idx="8708">
                  <c:v>7906.9238228719796</c:v>
                </c:pt>
                <c:pt idx="8709">
                  <c:v>7519.9093562521757</c:v>
                </c:pt>
                <c:pt idx="8710">
                  <c:v>7656.7253725213632</c:v>
                </c:pt>
                <c:pt idx="8711">
                  <c:v>7467.6817536921562</c:v>
                </c:pt>
                <c:pt idx="8712">
                  <c:v>7439.849337225849</c:v>
                </c:pt>
                <c:pt idx="8713">
                  <c:v>7411.5306665343132</c:v>
                </c:pt>
                <c:pt idx="8714">
                  <c:v>7483.014018320303</c:v>
                </c:pt>
                <c:pt idx="8715">
                  <c:v>7493.9065661838313</c:v>
                </c:pt>
                <c:pt idx="8716">
                  <c:v>7684.1350290255632</c:v>
                </c:pt>
                <c:pt idx="8717">
                  <c:v>7917.7192290997227</c:v>
                </c:pt>
                <c:pt idx="8718">
                  <c:v>8117.2381618188538</c:v>
                </c:pt>
                <c:pt idx="8719">
                  <c:v>8364.2831565956494</c:v>
                </c:pt>
                <c:pt idx="8720">
                  <c:v>8446.1908160871953</c:v>
                </c:pt>
                <c:pt idx="8721">
                  <c:v>8456.3567183048199</c:v>
                </c:pt>
                <c:pt idx="8722">
                  <c:v>8312.4659897328693</c:v>
                </c:pt>
                <c:pt idx="8723">
                  <c:v>8297.3813024946376</c:v>
                </c:pt>
                <c:pt idx="8724">
                  <c:v>8224.7757655084133</c:v>
                </c:pt>
                <c:pt idx="8725">
                  <c:v>8168.4751927169964</c:v>
                </c:pt>
                <c:pt idx="8726">
                  <c:v>8111.2840621029973</c:v>
                </c:pt>
                <c:pt idx="8727">
                  <c:v>8014.2234049817798</c:v>
                </c:pt>
                <c:pt idx="8728">
                  <c:v>7945.4450409479605</c:v>
                </c:pt>
                <c:pt idx="8729">
                  <c:v>7862.7822212730107</c:v>
                </c:pt>
                <c:pt idx="8730">
                  <c:v>7655.1458899308973</c:v>
                </c:pt>
                <c:pt idx="8731">
                  <c:v>7487.213802343128</c:v>
                </c:pt>
                <c:pt idx="8732">
                  <c:v>7143.8390497916553</c:v>
                </c:pt>
                <c:pt idx="8733">
                  <c:v>6820.6728153430622</c:v>
                </c:pt>
                <c:pt idx="8734">
                  <c:v>6674.608571337817</c:v>
                </c:pt>
                <c:pt idx="8735">
                  <c:v>6496.072068134722</c:v>
                </c:pt>
                <c:pt idx="8736">
                  <c:v>6437.9443698373689</c:v>
                </c:pt>
                <c:pt idx="8737">
                  <c:v>6212.5001255586176</c:v>
                </c:pt>
                <c:pt idx="8738">
                  <c:v>6072.6726039103223</c:v>
                </c:pt>
                <c:pt idx="8739">
                  <c:v>6090.0357566796483</c:v>
                </c:pt>
                <c:pt idx="8740">
                  <c:v>6518.3532742226243</c:v>
                </c:pt>
                <c:pt idx="8741">
                  <c:v>6807.6596093275411</c:v>
                </c:pt>
                <c:pt idx="8742">
                  <c:v>7048.3604416784874</c:v>
                </c:pt>
                <c:pt idx="8743">
                  <c:v>7168.9839192244381</c:v>
                </c:pt>
                <c:pt idx="8744">
                  <c:v>7397.4547943646548</c:v>
                </c:pt>
                <c:pt idx="8745">
                  <c:v>7511.2308404569922</c:v>
                </c:pt>
                <c:pt idx="8746">
                  <c:v>7548.1490085844371</c:v>
                </c:pt>
                <c:pt idx="8747">
                  <c:v>7548.6201427877722</c:v>
                </c:pt>
                <c:pt idx="8748">
                  <c:v>7610.1907394182554</c:v>
                </c:pt>
                <c:pt idx="8749">
                  <c:v>7650.5233241041133</c:v>
                </c:pt>
                <c:pt idx="8750">
                  <c:v>7856.9154725828812</c:v>
                </c:pt>
                <c:pt idx="8751">
                  <c:v>7851.76889889007</c:v>
                </c:pt>
                <c:pt idx="8752">
                  <c:v>7665.6828852102444</c:v>
                </c:pt>
                <c:pt idx="8753">
                  <c:v>7427.4747323517122</c:v>
                </c:pt>
                <c:pt idx="8754">
                  <c:v>7238.3621096522729</c:v>
                </c:pt>
                <c:pt idx="8755">
                  <c:v>6966.8189772134028</c:v>
                </c:pt>
                <c:pt idx="8756">
                  <c:v>6933.3225590461043</c:v>
                </c:pt>
                <c:pt idx="8757">
                  <c:v>6785.5322790854207</c:v>
                </c:pt>
                <c:pt idx="8758">
                  <c:v>6822.138698462426</c:v>
                </c:pt>
                <c:pt idx="8759">
                  <c:v>6782.5418183305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965-408F-8E9C-192B9809D56B}"/>
            </c:ext>
          </c:extLst>
        </c:ser>
        <c:ser>
          <c:idx val="1"/>
          <c:order val="1"/>
          <c:tx>
            <c:v>Sähkön kysyntä</c:v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2021'!$E$2:$E$8761</c:f>
              <c:numCache>
                <c:formatCode>0</c:formatCode>
                <c:ptCount val="8760"/>
                <c:pt idx="0">
                  <c:v>10232.275105734718</c:v>
                </c:pt>
                <c:pt idx="1">
                  <c:v>9929.961099724349</c:v>
                </c:pt>
                <c:pt idx="2">
                  <c:v>9630.3981703553436</c:v>
                </c:pt>
                <c:pt idx="3">
                  <c:v>9470.66274496189</c:v>
                </c:pt>
                <c:pt idx="4">
                  <c:v>9440.3432642382959</c:v>
                </c:pt>
                <c:pt idx="5">
                  <c:v>9491.944100621944</c:v>
                </c:pt>
                <c:pt idx="6">
                  <c:v>9667.5518737459333</c:v>
                </c:pt>
                <c:pt idx="7">
                  <c:v>9673.0116242681688</c:v>
                </c:pt>
                <c:pt idx="8">
                  <c:v>9887.8759878017099</c:v>
                </c:pt>
                <c:pt idx="9">
                  <c:v>9985.3341952946885</c:v>
                </c:pt>
                <c:pt idx="10">
                  <c:v>10005.151327606363</c:v>
                </c:pt>
                <c:pt idx="11">
                  <c:v>10160.457231649627</c:v>
                </c:pt>
                <c:pt idx="12">
                  <c:v>10264.993068160788</c:v>
                </c:pt>
                <c:pt idx="13">
                  <c:v>10292.522688967329</c:v>
                </c:pt>
                <c:pt idx="14">
                  <c:v>10444.245497234604</c:v>
                </c:pt>
                <c:pt idx="15">
                  <c:v>10704.351063682796</c:v>
                </c:pt>
                <c:pt idx="16">
                  <c:v>10972.567201462829</c:v>
                </c:pt>
                <c:pt idx="17">
                  <c:v>11028.699017176321</c:v>
                </c:pt>
                <c:pt idx="18">
                  <c:v>11032.24210130161</c:v>
                </c:pt>
                <c:pt idx="19">
                  <c:v>11048.960647124619</c:v>
                </c:pt>
                <c:pt idx="20">
                  <c:v>10857.40800747496</c:v>
                </c:pt>
                <c:pt idx="21">
                  <c:v>10516.531149707807</c:v>
                </c:pt>
                <c:pt idx="22">
                  <c:v>10671.69900451276</c:v>
                </c:pt>
                <c:pt idx="23">
                  <c:v>10448.759958554194</c:v>
                </c:pt>
                <c:pt idx="24">
                  <c:v>10056.998917553154</c:v>
                </c:pt>
                <c:pt idx="25">
                  <c:v>9711.4949786761626</c:v>
                </c:pt>
                <c:pt idx="26">
                  <c:v>9472.9970026423944</c:v>
                </c:pt>
                <c:pt idx="27">
                  <c:v>9392.7451274865525</c:v>
                </c:pt>
                <c:pt idx="28">
                  <c:v>9397.524706905333</c:v>
                </c:pt>
                <c:pt idx="29">
                  <c:v>9502.4992817710863</c:v>
                </c:pt>
                <c:pt idx="30">
                  <c:v>9722.251810492744</c:v>
                </c:pt>
                <c:pt idx="31">
                  <c:v>9818.7640477178102</c:v>
                </c:pt>
                <c:pt idx="32">
                  <c:v>10139.389457169695</c:v>
                </c:pt>
                <c:pt idx="33">
                  <c:v>10277.412289674432</c:v>
                </c:pt>
                <c:pt idx="34">
                  <c:v>10399.978325228312</c:v>
                </c:pt>
                <c:pt idx="35">
                  <c:v>10526.867835766676</c:v>
                </c:pt>
                <c:pt idx="36">
                  <c:v>10593.665916273387</c:v>
                </c:pt>
                <c:pt idx="37">
                  <c:v>10622.938607987908</c:v>
                </c:pt>
                <c:pt idx="38">
                  <c:v>10774.081460739386</c:v>
                </c:pt>
                <c:pt idx="39">
                  <c:v>11092.721730643161</c:v>
                </c:pt>
                <c:pt idx="40">
                  <c:v>11385.401853170457</c:v>
                </c:pt>
                <c:pt idx="41">
                  <c:v>11509.1070245759</c:v>
                </c:pt>
                <c:pt idx="42">
                  <c:v>11586.009786064666</c:v>
                </c:pt>
                <c:pt idx="43">
                  <c:v>11492.70043183603</c:v>
                </c:pt>
                <c:pt idx="44">
                  <c:v>11238.41251949511</c:v>
                </c:pt>
                <c:pt idx="45">
                  <c:v>10806.587822408059</c:v>
                </c:pt>
                <c:pt idx="46">
                  <c:v>11010.442686033362</c:v>
                </c:pt>
                <c:pt idx="47">
                  <c:v>10830.425327780968</c:v>
                </c:pt>
                <c:pt idx="48">
                  <c:v>10389.179948552832</c:v>
                </c:pt>
                <c:pt idx="49">
                  <c:v>10003.679625115295</c:v>
                </c:pt>
                <c:pt idx="50">
                  <c:v>9766.9338024518438</c:v>
                </c:pt>
                <c:pt idx="51">
                  <c:v>9627.9239613491718</c:v>
                </c:pt>
                <c:pt idx="52">
                  <c:v>9642.2445939520621</c:v>
                </c:pt>
                <c:pt idx="53">
                  <c:v>9691.1295222158133</c:v>
                </c:pt>
                <c:pt idx="54">
                  <c:v>9872.1302776435896</c:v>
                </c:pt>
                <c:pt idx="55">
                  <c:v>9937.6540674070293</c:v>
                </c:pt>
                <c:pt idx="56">
                  <c:v>10247.538394440387</c:v>
                </c:pt>
                <c:pt idx="57">
                  <c:v>10355.127093446601</c:v>
                </c:pt>
                <c:pt idx="58">
                  <c:v>10540.724761779531</c:v>
                </c:pt>
                <c:pt idx="59">
                  <c:v>10701.298081569721</c:v>
                </c:pt>
                <c:pt idx="60">
                  <c:v>10766.512521265086</c:v>
                </c:pt>
                <c:pt idx="61">
                  <c:v>10853.434078372928</c:v>
                </c:pt>
                <c:pt idx="62">
                  <c:v>10822.772353712091</c:v>
                </c:pt>
                <c:pt idx="63">
                  <c:v>11017.086071568592</c:v>
                </c:pt>
                <c:pt idx="64">
                  <c:v>11323.553592529612</c:v>
                </c:pt>
                <c:pt idx="65">
                  <c:v>11407.603637085751</c:v>
                </c:pt>
                <c:pt idx="66">
                  <c:v>11418.519119100862</c:v>
                </c:pt>
                <c:pt idx="67">
                  <c:v>11456.050753489064</c:v>
                </c:pt>
                <c:pt idx="68">
                  <c:v>11238.930631867472</c:v>
                </c:pt>
                <c:pt idx="69">
                  <c:v>10810.318387495556</c:v>
                </c:pt>
                <c:pt idx="70">
                  <c:v>11030.306180820739</c:v>
                </c:pt>
                <c:pt idx="71">
                  <c:v>10903.711033989026</c:v>
                </c:pt>
                <c:pt idx="72">
                  <c:v>10498.287958708879</c:v>
                </c:pt>
                <c:pt idx="73">
                  <c:v>10125.886590155005</c:v>
                </c:pt>
                <c:pt idx="74">
                  <c:v>10002.804180040743</c:v>
                </c:pt>
                <c:pt idx="75">
                  <c:v>9907.1599317468772</c:v>
                </c:pt>
                <c:pt idx="76">
                  <c:v>9990.8816229680669</c:v>
                </c:pt>
                <c:pt idx="77">
                  <c:v>10397.204329123158</c:v>
                </c:pt>
                <c:pt idx="78">
                  <c:v>11108.744744718006</c:v>
                </c:pt>
                <c:pt idx="79">
                  <c:v>11543.937619843548</c:v>
                </c:pt>
                <c:pt idx="80">
                  <c:v>12068.672382540837</c:v>
                </c:pt>
                <c:pt idx="81">
                  <c:v>12121.398576961892</c:v>
                </c:pt>
                <c:pt idx="82">
                  <c:v>12094.219405455568</c:v>
                </c:pt>
                <c:pt idx="83">
                  <c:v>12151.129023201944</c:v>
                </c:pt>
                <c:pt idx="84">
                  <c:v>12113.017992427025</c:v>
                </c:pt>
                <c:pt idx="85">
                  <c:v>12072.534191231525</c:v>
                </c:pt>
                <c:pt idx="86">
                  <c:v>12129.929988376638</c:v>
                </c:pt>
                <c:pt idx="87">
                  <c:v>12231.817172514724</c:v>
                </c:pt>
                <c:pt idx="88">
                  <c:v>12448.445061374699</c:v>
                </c:pt>
                <c:pt idx="89">
                  <c:v>12331.316679107551</c:v>
                </c:pt>
                <c:pt idx="90">
                  <c:v>12315.741936902901</c:v>
                </c:pt>
                <c:pt idx="91">
                  <c:v>12265.272879124783</c:v>
                </c:pt>
                <c:pt idx="92">
                  <c:v>12121.181119578581</c:v>
                </c:pt>
                <c:pt idx="93">
                  <c:v>11729.349589008789</c:v>
                </c:pt>
                <c:pt idx="94">
                  <c:v>11858.113180676721</c:v>
                </c:pt>
                <c:pt idx="95">
                  <c:v>11599.839323005946</c:v>
                </c:pt>
                <c:pt idx="96">
                  <c:v>11123.66210487874</c:v>
                </c:pt>
                <c:pt idx="97">
                  <c:v>10819.179199591093</c:v>
                </c:pt>
                <c:pt idx="98">
                  <c:v>10700.061652000837</c:v>
                </c:pt>
                <c:pt idx="99">
                  <c:v>10645.07785480959</c:v>
                </c:pt>
                <c:pt idx="100">
                  <c:v>10727.220591746318</c:v>
                </c:pt>
                <c:pt idx="101">
                  <c:v>11068.434500001265</c:v>
                </c:pt>
                <c:pt idx="102">
                  <c:v>11706.403880334052</c:v>
                </c:pt>
                <c:pt idx="103">
                  <c:v>12130.550115488875</c:v>
                </c:pt>
                <c:pt idx="104">
                  <c:v>12398.57487875958</c:v>
                </c:pt>
                <c:pt idx="105">
                  <c:v>12372.836798192984</c:v>
                </c:pt>
                <c:pt idx="106">
                  <c:v>12401.585695207301</c:v>
                </c:pt>
                <c:pt idx="107">
                  <c:v>12524.837031196783</c:v>
                </c:pt>
                <c:pt idx="108">
                  <c:v>12562.050267141041</c:v>
                </c:pt>
                <c:pt idx="109">
                  <c:v>12447.143043869501</c:v>
                </c:pt>
                <c:pt idx="110">
                  <c:v>12522.286449374364</c:v>
                </c:pt>
                <c:pt idx="111">
                  <c:v>12651.791949320444</c:v>
                </c:pt>
                <c:pt idx="112">
                  <c:v>12795.034786151766</c:v>
                </c:pt>
                <c:pt idx="113">
                  <c:v>12803.446466375255</c:v>
                </c:pt>
                <c:pt idx="114">
                  <c:v>12812.998470621729</c:v>
                </c:pt>
                <c:pt idx="115">
                  <c:v>12789.166376385258</c:v>
                </c:pt>
                <c:pt idx="116">
                  <c:v>12561.19802520399</c:v>
                </c:pt>
                <c:pt idx="117">
                  <c:v>12112.947575099557</c:v>
                </c:pt>
                <c:pt idx="118">
                  <c:v>12135.067248089012</c:v>
                </c:pt>
                <c:pt idx="119">
                  <c:v>11906.932839310011</c:v>
                </c:pt>
                <c:pt idx="120">
                  <c:v>11453.858439756155</c:v>
                </c:pt>
                <c:pt idx="121">
                  <c:v>11101.51580133125</c:v>
                </c:pt>
                <c:pt idx="122">
                  <c:v>10899.696876412456</c:v>
                </c:pt>
                <c:pt idx="123">
                  <c:v>10836.491198353078</c:v>
                </c:pt>
                <c:pt idx="124">
                  <c:v>10861.753047693644</c:v>
                </c:pt>
                <c:pt idx="125">
                  <c:v>10970.088951702284</c:v>
                </c:pt>
                <c:pt idx="126">
                  <c:v>11324.804589621484</c:v>
                </c:pt>
                <c:pt idx="127">
                  <c:v>11471.766312544902</c:v>
                </c:pt>
                <c:pt idx="128">
                  <c:v>11713.967671899707</c:v>
                </c:pt>
                <c:pt idx="129">
                  <c:v>11821.056951202603</c:v>
                </c:pt>
                <c:pt idx="130">
                  <c:v>11900.546346731042</c:v>
                </c:pt>
                <c:pt idx="131">
                  <c:v>12017.90942088388</c:v>
                </c:pt>
                <c:pt idx="132">
                  <c:v>12084.58359664964</c:v>
                </c:pt>
                <c:pt idx="133">
                  <c:v>12077.959787133323</c:v>
                </c:pt>
                <c:pt idx="134">
                  <c:v>12086.770975234278</c:v>
                </c:pt>
                <c:pt idx="135">
                  <c:v>12299.138069300556</c:v>
                </c:pt>
                <c:pt idx="136">
                  <c:v>12556.378491312875</c:v>
                </c:pt>
                <c:pt idx="137">
                  <c:v>12632.286231491364</c:v>
                </c:pt>
                <c:pt idx="138">
                  <c:v>12579.804473174052</c:v>
                </c:pt>
                <c:pt idx="139">
                  <c:v>12617.072186338592</c:v>
                </c:pt>
                <c:pt idx="140">
                  <c:v>12318.948110900079</c:v>
                </c:pt>
                <c:pt idx="141">
                  <c:v>11811.986629140529</c:v>
                </c:pt>
                <c:pt idx="142">
                  <c:v>11889.592262281245</c:v>
                </c:pt>
                <c:pt idx="143">
                  <c:v>11714.156718816463</c:v>
                </c:pt>
                <c:pt idx="144">
                  <c:v>11308.013660920196</c:v>
                </c:pt>
                <c:pt idx="145">
                  <c:v>10977.622179548842</c:v>
                </c:pt>
                <c:pt idx="146">
                  <c:v>10724.442206060472</c:v>
                </c:pt>
                <c:pt idx="147">
                  <c:v>10677.009337749907</c:v>
                </c:pt>
                <c:pt idx="148">
                  <c:v>10755.862529540664</c:v>
                </c:pt>
                <c:pt idx="149">
                  <c:v>11114.678760916202</c:v>
                </c:pt>
                <c:pt idx="150">
                  <c:v>11875.768419631875</c:v>
                </c:pt>
                <c:pt idx="151">
                  <c:v>12334.07418487265</c:v>
                </c:pt>
                <c:pt idx="152">
                  <c:v>12546.337396543882</c:v>
                </c:pt>
                <c:pt idx="153">
                  <c:v>12427.841799256288</c:v>
                </c:pt>
                <c:pt idx="154">
                  <c:v>12422.070559145086</c:v>
                </c:pt>
                <c:pt idx="155">
                  <c:v>12370.307871318642</c:v>
                </c:pt>
                <c:pt idx="156">
                  <c:v>12415.129800692288</c:v>
                </c:pt>
                <c:pt idx="157">
                  <c:v>12367.530585271455</c:v>
                </c:pt>
                <c:pt idx="158">
                  <c:v>12351.620546469985</c:v>
                </c:pt>
                <c:pt idx="159">
                  <c:v>12532.494478966661</c:v>
                </c:pt>
                <c:pt idx="160">
                  <c:v>12650.662780927572</c:v>
                </c:pt>
                <c:pt idx="161">
                  <c:v>12621.489564159256</c:v>
                </c:pt>
                <c:pt idx="162">
                  <c:v>12496.401923383037</c:v>
                </c:pt>
                <c:pt idx="163">
                  <c:v>12443.08447605841</c:v>
                </c:pt>
                <c:pt idx="164">
                  <c:v>12259.167633021112</c:v>
                </c:pt>
                <c:pt idx="165">
                  <c:v>11801.89298556932</c:v>
                </c:pt>
                <c:pt idx="166">
                  <c:v>11850.3498394043</c:v>
                </c:pt>
                <c:pt idx="167">
                  <c:v>11557.526703725895</c:v>
                </c:pt>
                <c:pt idx="168">
                  <c:v>11133.01380400788</c:v>
                </c:pt>
                <c:pt idx="169">
                  <c:v>10878.572602055978</c:v>
                </c:pt>
                <c:pt idx="170">
                  <c:v>10745.60299419546</c:v>
                </c:pt>
                <c:pt idx="171">
                  <c:v>10687.738058784933</c:v>
                </c:pt>
                <c:pt idx="172">
                  <c:v>10735.744007419124</c:v>
                </c:pt>
                <c:pt idx="173">
                  <c:v>11035.419123152262</c:v>
                </c:pt>
                <c:pt idx="174">
                  <c:v>11746.559508419208</c:v>
                </c:pt>
                <c:pt idx="175">
                  <c:v>12206.31820392609</c:v>
                </c:pt>
                <c:pt idx="176">
                  <c:v>12563.462983074804</c:v>
                </c:pt>
                <c:pt idx="177">
                  <c:v>12422.473624204842</c:v>
                </c:pt>
                <c:pt idx="178">
                  <c:v>12356.957366544302</c:v>
                </c:pt>
                <c:pt idx="179">
                  <c:v>12438.050676703589</c:v>
                </c:pt>
                <c:pt idx="180">
                  <c:v>12400.595190260414</c:v>
                </c:pt>
                <c:pt idx="181">
                  <c:v>12318.657441140465</c:v>
                </c:pt>
                <c:pt idx="182">
                  <c:v>12286.993777725536</c:v>
                </c:pt>
                <c:pt idx="183">
                  <c:v>12404.459074438661</c:v>
                </c:pt>
                <c:pt idx="184">
                  <c:v>12631.754366082696</c:v>
                </c:pt>
                <c:pt idx="185">
                  <c:v>12640.359509757862</c:v>
                </c:pt>
                <c:pt idx="186">
                  <c:v>12550.791840742706</c:v>
                </c:pt>
                <c:pt idx="187">
                  <c:v>12544.868222323985</c:v>
                </c:pt>
                <c:pt idx="188">
                  <c:v>12321.797193228795</c:v>
                </c:pt>
                <c:pt idx="189">
                  <c:v>11922.262308901076</c:v>
                </c:pt>
                <c:pt idx="190">
                  <c:v>11966.214447307042</c:v>
                </c:pt>
                <c:pt idx="191">
                  <c:v>11728.160408200021</c:v>
                </c:pt>
                <c:pt idx="192">
                  <c:v>11294.458529927237</c:v>
                </c:pt>
                <c:pt idx="193">
                  <c:v>10946.392431171549</c:v>
                </c:pt>
                <c:pt idx="194">
                  <c:v>10801.335088672578</c:v>
                </c:pt>
                <c:pt idx="195">
                  <c:v>10700.928211051993</c:v>
                </c:pt>
                <c:pt idx="196">
                  <c:v>10693.805714181675</c:v>
                </c:pt>
                <c:pt idx="197">
                  <c:v>10852.821852611216</c:v>
                </c:pt>
                <c:pt idx="198">
                  <c:v>11123.21740567242</c:v>
                </c:pt>
                <c:pt idx="199">
                  <c:v>11225.146270295174</c:v>
                </c:pt>
                <c:pt idx="200">
                  <c:v>11488.326045954615</c:v>
                </c:pt>
                <c:pt idx="201">
                  <c:v>11617.033556422075</c:v>
                </c:pt>
                <c:pt idx="202">
                  <c:v>11738.993491917696</c:v>
                </c:pt>
                <c:pt idx="203">
                  <c:v>11904.900734744684</c:v>
                </c:pt>
                <c:pt idx="204">
                  <c:v>11951.072266000363</c:v>
                </c:pt>
                <c:pt idx="205">
                  <c:v>11944.646123387467</c:v>
                </c:pt>
                <c:pt idx="206">
                  <c:v>11971.114931223641</c:v>
                </c:pt>
                <c:pt idx="207">
                  <c:v>12234.454820963285</c:v>
                </c:pt>
                <c:pt idx="208">
                  <c:v>12688.407804329408</c:v>
                </c:pt>
                <c:pt idx="209">
                  <c:v>12985.883708994483</c:v>
                </c:pt>
                <c:pt idx="210">
                  <c:v>13018.009402013251</c:v>
                </c:pt>
                <c:pt idx="211">
                  <c:v>12903.934258639052</c:v>
                </c:pt>
                <c:pt idx="212">
                  <c:v>12609.935121194962</c:v>
                </c:pt>
                <c:pt idx="213">
                  <c:v>12134.920360803171</c:v>
                </c:pt>
                <c:pt idx="214">
                  <c:v>12263.590463732626</c:v>
                </c:pt>
                <c:pt idx="215">
                  <c:v>12094.768422210491</c:v>
                </c:pt>
                <c:pt idx="216">
                  <c:v>11680.937354107986</c:v>
                </c:pt>
                <c:pt idx="217">
                  <c:v>11321.729166527519</c:v>
                </c:pt>
                <c:pt idx="218">
                  <c:v>11098.525275327876</c:v>
                </c:pt>
                <c:pt idx="219">
                  <c:v>11041.495502438338</c:v>
                </c:pt>
                <c:pt idx="220">
                  <c:v>11056.360975282123</c:v>
                </c:pt>
                <c:pt idx="221">
                  <c:v>11095.198465225252</c:v>
                </c:pt>
                <c:pt idx="222">
                  <c:v>11263.35282062959</c:v>
                </c:pt>
                <c:pt idx="223">
                  <c:v>11258.637946477309</c:v>
                </c:pt>
                <c:pt idx="224">
                  <c:v>11497.079573880963</c:v>
                </c:pt>
                <c:pt idx="225">
                  <c:v>11577.858177538597</c:v>
                </c:pt>
                <c:pt idx="226">
                  <c:v>11760.224318064034</c:v>
                </c:pt>
                <c:pt idx="227">
                  <c:v>11886.821240399817</c:v>
                </c:pt>
                <c:pt idx="228">
                  <c:v>11912.70865141164</c:v>
                </c:pt>
                <c:pt idx="229">
                  <c:v>11935.826382439978</c:v>
                </c:pt>
                <c:pt idx="230">
                  <c:v>11865.453916295557</c:v>
                </c:pt>
                <c:pt idx="231">
                  <c:v>11931.546420188482</c:v>
                </c:pt>
                <c:pt idx="232">
                  <c:v>12209.871218305991</c:v>
                </c:pt>
                <c:pt idx="233">
                  <c:v>12288.07353891307</c:v>
                </c:pt>
                <c:pt idx="234">
                  <c:v>12298.115402570944</c:v>
                </c:pt>
                <c:pt idx="235">
                  <c:v>12304.984180156131</c:v>
                </c:pt>
                <c:pt idx="236">
                  <c:v>11968.777117323174</c:v>
                </c:pt>
                <c:pt idx="237">
                  <c:v>11532.364515491163</c:v>
                </c:pt>
                <c:pt idx="238">
                  <c:v>11725.416859820314</c:v>
                </c:pt>
                <c:pt idx="239">
                  <c:v>11522.802564107058</c:v>
                </c:pt>
                <c:pt idx="240">
                  <c:v>11176.886656799385</c:v>
                </c:pt>
                <c:pt idx="241">
                  <c:v>10858.258495664804</c:v>
                </c:pt>
                <c:pt idx="242">
                  <c:v>10688.497753400468</c:v>
                </c:pt>
                <c:pt idx="243">
                  <c:v>10665.782111889126</c:v>
                </c:pt>
                <c:pt idx="244">
                  <c:v>10772.276108793722</c:v>
                </c:pt>
                <c:pt idx="245">
                  <c:v>11119.809324273876</c:v>
                </c:pt>
                <c:pt idx="246">
                  <c:v>11944.705226813494</c:v>
                </c:pt>
                <c:pt idx="247">
                  <c:v>12463.008690539275</c:v>
                </c:pt>
                <c:pt idx="248">
                  <c:v>12785.758000233653</c:v>
                </c:pt>
                <c:pt idx="249">
                  <c:v>12717.605539123386</c:v>
                </c:pt>
                <c:pt idx="250">
                  <c:v>12658.600623456878</c:v>
                </c:pt>
                <c:pt idx="251">
                  <c:v>12649.451172337715</c:v>
                </c:pt>
                <c:pt idx="252">
                  <c:v>12593.081704374938</c:v>
                </c:pt>
                <c:pt idx="253">
                  <c:v>12517.802382113148</c:v>
                </c:pt>
                <c:pt idx="254">
                  <c:v>12381.871785097095</c:v>
                </c:pt>
                <c:pt idx="255">
                  <c:v>12473.492715809773</c:v>
                </c:pt>
                <c:pt idx="256">
                  <c:v>12670.249549435945</c:v>
                </c:pt>
                <c:pt idx="257">
                  <c:v>12666.665464176835</c:v>
                </c:pt>
                <c:pt idx="258">
                  <c:v>12586.32231274663</c:v>
                </c:pt>
                <c:pt idx="259">
                  <c:v>12561.622077279613</c:v>
                </c:pt>
                <c:pt idx="260">
                  <c:v>12322.58787451723</c:v>
                </c:pt>
                <c:pt idx="261">
                  <c:v>11913.922299393151</c:v>
                </c:pt>
                <c:pt idx="262">
                  <c:v>12045.627335870982</c:v>
                </c:pt>
                <c:pt idx="263">
                  <c:v>11770.841139076654</c:v>
                </c:pt>
                <c:pt idx="264">
                  <c:v>11293.307251069024</c:v>
                </c:pt>
                <c:pt idx="265">
                  <c:v>10940.56096417646</c:v>
                </c:pt>
                <c:pt idx="266">
                  <c:v>10759.272288218275</c:v>
                </c:pt>
                <c:pt idx="267">
                  <c:v>10743.186879664327</c:v>
                </c:pt>
                <c:pt idx="268">
                  <c:v>10864.269286416786</c:v>
                </c:pt>
                <c:pt idx="269">
                  <c:v>11198.632770165157</c:v>
                </c:pt>
                <c:pt idx="270">
                  <c:v>12060.624075005901</c:v>
                </c:pt>
                <c:pt idx="271">
                  <c:v>12556.800001319201</c:v>
                </c:pt>
                <c:pt idx="272">
                  <c:v>12801.82123985348</c:v>
                </c:pt>
                <c:pt idx="273">
                  <c:v>12765.841433451405</c:v>
                </c:pt>
                <c:pt idx="274">
                  <c:v>12677.875547970569</c:v>
                </c:pt>
                <c:pt idx="275">
                  <c:v>12721.839456072743</c:v>
                </c:pt>
                <c:pt idx="276">
                  <c:v>12770.205259274306</c:v>
                </c:pt>
                <c:pt idx="277">
                  <c:v>12678.445338165389</c:v>
                </c:pt>
                <c:pt idx="278">
                  <c:v>12659.888773950532</c:v>
                </c:pt>
                <c:pt idx="279">
                  <c:v>12744.766680838324</c:v>
                </c:pt>
                <c:pt idx="280">
                  <c:v>12927.378214593691</c:v>
                </c:pt>
                <c:pt idx="281">
                  <c:v>12918.527819792886</c:v>
                </c:pt>
                <c:pt idx="282">
                  <c:v>12923.410307478496</c:v>
                </c:pt>
                <c:pt idx="283">
                  <c:v>12947.196431246719</c:v>
                </c:pt>
                <c:pt idx="284">
                  <c:v>12724.649407708537</c:v>
                </c:pt>
                <c:pt idx="285">
                  <c:v>12234.528867759367</c:v>
                </c:pt>
                <c:pt idx="286">
                  <c:v>12331.728755237415</c:v>
                </c:pt>
                <c:pt idx="287">
                  <c:v>12045.550627954226</c:v>
                </c:pt>
                <c:pt idx="288">
                  <c:v>11630.312843204309</c:v>
                </c:pt>
                <c:pt idx="289">
                  <c:v>11404.03953725768</c:v>
                </c:pt>
                <c:pt idx="290">
                  <c:v>11234.202566402077</c:v>
                </c:pt>
                <c:pt idx="291">
                  <c:v>11171.580944988526</c:v>
                </c:pt>
                <c:pt idx="292">
                  <c:v>11313.270043640181</c:v>
                </c:pt>
                <c:pt idx="293">
                  <c:v>11673.682998707704</c:v>
                </c:pt>
                <c:pt idx="294">
                  <c:v>12524.822203709649</c:v>
                </c:pt>
                <c:pt idx="295">
                  <c:v>13034.325482038479</c:v>
                </c:pt>
                <c:pt idx="296">
                  <c:v>13374.915851248703</c:v>
                </c:pt>
                <c:pt idx="297">
                  <c:v>13302.963729363093</c:v>
                </c:pt>
                <c:pt idx="298">
                  <c:v>13311.887332320288</c:v>
                </c:pt>
                <c:pt idx="299">
                  <c:v>13343.821947467823</c:v>
                </c:pt>
                <c:pt idx="300">
                  <c:v>13364.546028318966</c:v>
                </c:pt>
                <c:pt idx="301">
                  <c:v>13365.578604435192</c:v>
                </c:pt>
                <c:pt idx="302">
                  <c:v>13325.544278690923</c:v>
                </c:pt>
                <c:pt idx="303">
                  <c:v>13420.970844666339</c:v>
                </c:pt>
                <c:pt idx="304">
                  <c:v>13665.319618827602</c:v>
                </c:pt>
                <c:pt idx="305">
                  <c:v>13714.412977381417</c:v>
                </c:pt>
                <c:pt idx="306">
                  <c:v>13748.12015604222</c:v>
                </c:pt>
                <c:pt idx="307">
                  <c:v>13774.834924088402</c:v>
                </c:pt>
                <c:pt idx="308">
                  <c:v>13557.915543293037</c:v>
                </c:pt>
                <c:pt idx="309">
                  <c:v>13030.541445037674</c:v>
                </c:pt>
                <c:pt idx="310">
                  <c:v>13060.842345902551</c:v>
                </c:pt>
                <c:pt idx="311">
                  <c:v>12804.643916728579</c:v>
                </c:pt>
                <c:pt idx="312">
                  <c:v>12378.794764138091</c:v>
                </c:pt>
                <c:pt idx="313">
                  <c:v>12113.524292031801</c:v>
                </c:pt>
                <c:pt idx="314">
                  <c:v>11992.086562628327</c:v>
                </c:pt>
                <c:pt idx="315">
                  <c:v>12003.575352531401</c:v>
                </c:pt>
                <c:pt idx="316">
                  <c:v>12155.973393748245</c:v>
                </c:pt>
                <c:pt idx="317">
                  <c:v>12538.236470321024</c:v>
                </c:pt>
                <c:pt idx="318">
                  <c:v>13297.841150509532</c:v>
                </c:pt>
                <c:pt idx="319">
                  <c:v>13619.165765399626</c:v>
                </c:pt>
                <c:pt idx="320">
                  <c:v>13945.446470441722</c:v>
                </c:pt>
                <c:pt idx="321">
                  <c:v>13898.805494233126</c:v>
                </c:pt>
                <c:pt idx="322">
                  <c:v>13935.371315327491</c:v>
                </c:pt>
                <c:pt idx="323">
                  <c:v>14005.556283966838</c:v>
                </c:pt>
                <c:pt idx="324">
                  <c:v>14077.204215605923</c:v>
                </c:pt>
                <c:pt idx="325">
                  <c:v>13976.728978875575</c:v>
                </c:pt>
                <c:pt idx="326">
                  <c:v>13958.172032292325</c:v>
                </c:pt>
                <c:pt idx="327">
                  <c:v>14027.736041432845</c:v>
                </c:pt>
                <c:pt idx="328">
                  <c:v>14265.937661432712</c:v>
                </c:pt>
                <c:pt idx="329">
                  <c:v>14373.611793656932</c:v>
                </c:pt>
                <c:pt idx="330">
                  <c:v>14409.456248989134</c:v>
                </c:pt>
                <c:pt idx="331">
                  <c:v>14427.988785398253</c:v>
                </c:pt>
                <c:pt idx="332">
                  <c:v>14296.763105665941</c:v>
                </c:pt>
                <c:pt idx="333">
                  <c:v>13872.254160657467</c:v>
                </c:pt>
                <c:pt idx="334">
                  <c:v>13959.834604185322</c:v>
                </c:pt>
                <c:pt idx="335">
                  <c:v>13791.697194579334</c:v>
                </c:pt>
                <c:pt idx="336">
                  <c:v>13297.23007724807</c:v>
                </c:pt>
                <c:pt idx="337">
                  <c:v>13091.501140029555</c:v>
                </c:pt>
                <c:pt idx="338">
                  <c:v>12955.557680342294</c:v>
                </c:pt>
                <c:pt idx="339">
                  <c:v>12924.556436063498</c:v>
                </c:pt>
                <c:pt idx="340">
                  <c:v>13029.7481362451</c:v>
                </c:pt>
                <c:pt idx="341">
                  <c:v>13365.162007570842</c:v>
                </c:pt>
                <c:pt idx="342">
                  <c:v>14144.549555427373</c:v>
                </c:pt>
                <c:pt idx="343">
                  <c:v>14510.345417987806</c:v>
                </c:pt>
                <c:pt idx="344">
                  <c:v>14764.572801774904</c:v>
                </c:pt>
                <c:pt idx="345">
                  <c:v>14702.678131131954</c:v>
                </c:pt>
                <c:pt idx="346">
                  <c:v>14667.3854461715</c:v>
                </c:pt>
                <c:pt idx="347">
                  <c:v>14646.191200606336</c:v>
                </c:pt>
                <c:pt idx="348">
                  <c:v>14602.85355030995</c:v>
                </c:pt>
                <c:pt idx="349">
                  <c:v>14454.255003393875</c:v>
                </c:pt>
                <c:pt idx="350">
                  <c:v>14296.799457935187</c:v>
                </c:pt>
                <c:pt idx="351">
                  <c:v>14207.39279411499</c:v>
                </c:pt>
                <c:pt idx="352">
                  <c:v>14379.335576747313</c:v>
                </c:pt>
                <c:pt idx="353">
                  <c:v>14366.014628204146</c:v>
                </c:pt>
                <c:pt idx="354">
                  <c:v>14336.351322667255</c:v>
                </c:pt>
                <c:pt idx="355">
                  <c:v>14224.802573259218</c:v>
                </c:pt>
                <c:pt idx="356">
                  <c:v>13879.434604321192</c:v>
                </c:pt>
                <c:pt idx="357">
                  <c:v>13300.528182543158</c:v>
                </c:pt>
                <c:pt idx="358">
                  <c:v>13271.801839240294</c:v>
                </c:pt>
                <c:pt idx="359">
                  <c:v>12937.95138488585</c:v>
                </c:pt>
                <c:pt idx="360">
                  <c:v>12500.058991907001</c:v>
                </c:pt>
                <c:pt idx="361">
                  <c:v>12110.370823571668</c:v>
                </c:pt>
                <c:pt idx="362">
                  <c:v>11813.714791423525</c:v>
                </c:pt>
                <c:pt idx="363">
                  <c:v>11721.849485265366</c:v>
                </c:pt>
                <c:pt idx="364">
                  <c:v>11721.174665888586</c:v>
                </c:pt>
                <c:pt idx="365">
                  <c:v>11860.149309439856</c:v>
                </c:pt>
                <c:pt idx="366">
                  <c:v>12096.330535836292</c:v>
                </c:pt>
                <c:pt idx="367">
                  <c:v>12155.215943272775</c:v>
                </c:pt>
                <c:pt idx="368">
                  <c:v>12535.934625849039</c:v>
                </c:pt>
                <c:pt idx="369">
                  <c:v>12658.39816252132</c:v>
                </c:pt>
                <c:pt idx="370">
                  <c:v>12849.634239716554</c:v>
                </c:pt>
                <c:pt idx="371">
                  <c:v>12913.742336556366</c:v>
                </c:pt>
                <c:pt idx="372">
                  <c:v>12875.435483092104</c:v>
                </c:pt>
                <c:pt idx="373">
                  <c:v>12780.762828964715</c:v>
                </c:pt>
                <c:pt idx="374">
                  <c:v>12718.354734808985</c:v>
                </c:pt>
                <c:pt idx="375">
                  <c:v>12852.411285446575</c:v>
                </c:pt>
                <c:pt idx="376">
                  <c:v>13334.709472354571</c:v>
                </c:pt>
                <c:pt idx="377">
                  <c:v>13715.110518751082</c:v>
                </c:pt>
                <c:pt idx="378">
                  <c:v>13865.660200845594</c:v>
                </c:pt>
                <c:pt idx="379">
                  <c:v>13704.014587016434</c:v>
                </c:pt>
                <c:pt idx="380">
                  <c:v>13296.178410929097</c:v>
                </c:pt>
                <c:pt idx="381">
                  <c:v>12752.177309872875</c:v>
                </c:pt>
                <c:pt idx="382">
                  <c:v>12890.080228170727</c:v>
                </c:pt>
                <c:pt idx="383">
                  <c:v>12756.369072638765</c:v>
                </c:pt>
                <c:pt idx="384">
                  <c:v>12269.810910579665</c:v>
                </c:pt>
                <c:pt idx="385">
                  <c:v>12002.641193745005</c:v>
                </c:pt>
                <c:pt idx="386">
                  <c:v>11754.989663842756</c:v>
                </c:pt>
                <c:pt idx="387">
                  <c:v>11585.460274797026</c:v>
                </c:pt>
                <c:pt idx="388">
                  <c:v>11567.139738830554</c:v>
                </c:pt>
                <c:pt idx="389">
                  <c:v>11628.446157700888</c:v>
                </c:pt>
                <c:pt idx="390">
                  <c:v>11758.021780415045</c:v>
                </c:pt>
                <c:pt idx="391">
                  <c:v>11701.75303757857</c:v>
                </c:pt>
                <c:pt idx="392">
                  <c:v>11946.828990923055</c:v>
                </c:pt>
                <c:pt idx="393">
                  <c:v>11981.689189839768</c:v>
                </c:pt>
                <c:pt idx="394">
                  <c:v>12178.490407249756</c:v>
                </c:pt>
                <c:pt idx="395">
                  <c:v>12259.169438735678</c:v>
                </c:pt>
                <c:pt idx="396">
                  <c:v>12262.2645430665</c:v>
                </c:pt>
                <c:pt idx="397">
                  <c:v>12173.894019578151</c:v>
                </c:pt>
                <c:pt idx="398">
                  <c:v>12069.088766726882</c:v>
                </c:pt>
                <c:pt idx="399">
                  <c:v>12105.340619831401</c:v>
                </c:pt>
                <c:pt idx="400">
                  <c:v>12363.164634948711</c:v>
                </c:pt>
                <c:pt idx="401">
                  <c:v>12598.470627874358</c:v>
                </c:pt>
                <c:pt idx="402">
                  <c:v>12612.694373059576</c:v>
                </c:pt>
                <c:pt idx="403">
                  <c:v>12589.523572677692</c:v>
                </c:pt>
                <c:pt idx="404">
                  <c:v>12337.730499994785</c:v>
                </c:pt>
                <c:pt idx="405">
                  <c:v>11908.804211384557</c:v>
                </c:pt>
                <c:pt idx="406">
                  <c:v>12094.796567660798</c:v>
                </c:pt>
                <c:pt idx="407">
                  <c:v>11960.401106095931</c:v>
                </c:pt>
                <c:pt idx="408">
                  <c:v>11589.792344250372</c:v>
                </c:pt>
                <c:pt idx="409">
                  <c:v>11314.503162933825</c:v>
                </c:pt>
                <c:pt idx="410">
                  <c:v>11128.400376643158</c:v>
                </c:pt>
                <c:pt idx="411">
                  <c:v>11115.794465844956</c:v>
                </c:pt>
                <c:pt idx="412">
                  <c:v>11229.429702316467</c:v>
                </c:pt>
                <c:pt idx="413">
                  <c:v>11597.488102716965</c:v>
                </c:pt>
                <c:pt idx="414">
                  <c:v>12433.288833379011</c:v>
                </c:pt>
                <c:pt idx="415">
                  <c:v>12878.427004210858</c:v>
                </c:pt>
                <c:pt idx="416">
                  <c:v>13142.571825275916</c:v>
                </c:pt>
                <c:pt idx="417">
                  <c:v>13046.763267017404</c:v>
                </c:pt>
                <c:pt idx="418">
                  <c:v>13003.232956821876</c:v>
                </c:pt>
                <c:pt idx="419">
                  <c:v>13032.992209907261</c:v>
                </c:pt>
                <c:pt idx="420">
                  <c:v>12961.298773047074</c:v>
                </c:pt>
                <c:pt idx="421">
                  <c:v>12906.39468363046</c:v>
                </c:pt>
                <c:pt idx="422">
                  <c:v>12804.282773152461</c:v>
                </c:pt>
                <c:pt idx="423">
                  <c:v>12702.676137118555</c:v>
                </c:pt>
                <c:pt idx="424">
                  <c:v>12764.070604563263</c:v>
                </c:pt>
                <c:pt idx="425">
                  <c:v>12772.999832682712</c:v>
                </c:pt>
                <c:pt idx="426">
                  <c:v>12640.720498563191</c:v>
                </c:pt>
                <c:pt idx="427">
                  <c:v>12603.902394456796</c:v>
                </c:pt>
                <c:pt idx="428">
                  <c:v>12272.261668388655</c:v>
                </c:pt>
                <c:pt idx="429">
                  <c:v>11927.999162295713</c:v>
                </c:pt>
                <c:pt idx="430">
                  <c:v>11984.055505294538</c:v>
                </c:pt>
                <c:pt idx="431">
                  <c:v>11714.576186580149</c:v>
                </c:pt>
                <c:pt idx="432">
                  <c:v>11222.672675621907</c:v>
                </c:pt>
                <c:pt idx="433">
                  <c:v>10876.375925836184</c:v>
                </c:pt>
                <c:pt idx="434">
                  <c:v>10709.039233251358</c:v>
                </c:pt>
                <c:pt idx="435">
                  <c:v>10667.260846893421</c:v>
                </c:pt>
                <c:pt idx="436">
                  <c:v>10756.908274254403</c:v>
                </c:pt>
                <c:pt idx="437">
                  <c:v>11029.625799754682</c:v>
                </c:pt>
                <c:pt idx="438">
                  <c:v>11831.405941037789</c:v>
                </c:pt>
                <c:pt idx="439">
                  <c:v>12237.384291946082</c:v>
                </c:pt>
                <c:pt idx="440">
                  <c:v>12454.035961074691</c:v>
                </c:pt>
                <c:pt idx="441">
                  <c:v>12285.811116970244</c:v>
                </c:pt>
                <c:pt idx="442">
                  <c:v>12269.746949228051</c:v>
                </c:pt>
                <c:pt idx="443">
                  <c:v>12291.120464924314</c:v>
                </c:pt>
                <c:pt idx="444">
                  <c:v>12235.73784032866</c:v>
                </c:pt>
                <c:pt idx="445">
                  <c:v>12210.444681946994</c:v>
                </c:pt>
                <c:pt idx="446">
                  <c:v>12231.935815616638</c:v>
                </c:pt>
                <c:pt idx="447">
                  <c:v>12227.567413602626</c:v>
                </c:pt>
                <c:pt idx="448">
                  <c:v>12414.204603498463</c:v>
                </c:pt>
                <c:pt idx="449">
                  <c:v>12417.728951588657</c:v>
                </c:pt>
                <c:pt idx="450">
                  <c:v>12400.88165482224</c:v>
                </c:pt>
                <c:pt idx="451">
                  <c:v>12376.329169235485</c:v>
                </c:pt>
                <c:pt idx="452">
                  <c:v>12205.813089690748</c:v>
                </c:pt>
                <c:pt idx="453">
                  <c:v>11758.567598339949</c:v>
                </c:pt>
                <c:pt idx="454">
                  <c:v>11790.141712877585</c:v>
                </c:pt>
                <c:pt idx="455">
                  <c:v>11560.091501880739</c:v>
                </c:pt>
                <c:pt idx="456">
                  <c:v>11111.940153773172</c:v>
                </c:pt>
                <c:pt idx="457">
                  <c:v>10721.846529358372</c:v>
                </c:pt>
                <c:pt idx="458">
                  <c:v>10575.501425271688</c:v>
                </c:pt>
                <c:pt idx="459">
                  <c:v>10551.470181749017</c:v>
                </c:pt>
                <c:pt idx="460">
                  <c:v>10675.094991579315</c:v>
                </c:pt>
                <c:pt idx="461">
                  <c:v>11041.092946521325</c:v>
                </c:pt>
                <c:pt idx="462">
                  <c:v>11861.289465703359</c:v>
                </c:pt>
                <c:pt idx="463">
                  <c:v>12305.62103846432</c:v>
                </c:pt>
                <c:pt idx="464">
                  <c:v>12583.285747664011</c:v>
                </c:pt>
                <c:pt idx="465">
                  <c:v>12424.504499154136</c:v>
                </c:pt>
                <c:pt idx="466">
                  <c:v>12483.889132119679</c:v>
                </c:pt>
                <c:pt idx="467">
                  <c:v>12486.124733902952</c:v>
                </c:pt>
                <c:pt idx="468">
                  <c:v>12464.395889307316</c:v>
                </c:pt>
                <c:pt idx="469">
                  <c:v>12358.974933352973</c:v>
                </c:pt>
                <c:pt idx="470">
                  <c:v>12336.002769325567</c:v>
                </c:pt>
                <c:pt idx="471">
                  <c:v>12286.812251927719</c:v>
                </c:pt>
                <c:pt idx="472">
                  <c:v>12552.222462577338</c:v>
                </c:pt>
                <c:pt idx="473">
                  <c:v>12663.51956423597</c:v>
                </c:pt>
                <c:pt idx="474">
                  <c:v>12670.691007822024</c:v>
                </c:pt>
                <c:pt idx="475">
                  <c:v>12710.355200063292</c:v>
                </c:pt>
                <c:pt idx="476">
                  <c:v>12488.101677719218</c:v>
                </c:pt>
                <c:pt idx="477">
                  <c:v>11989.766407319506</c:v>
                </c:pt>
                <c:pt idx="478">
                  <c:v>12017.637029808566</c:v>
                </c:pt>
                <c:pt idx="479">
                  <c:v>11771.053188369699</c:v>
                </c:pt>
                <c:pt idx="480">
                  <c:v>11349.885595573158</c:v>
                </c:pt>
                <c:pt idx="481">
                  <c:v>11038.601002205378</c:v>
                </c:pt>
                <c:pt idx="482">
                  <c:v>10906.516841984372</c:v>
                </c:pt>
                <c:pt idx="483">
                  <c:v>10883.321832210464</c:v>
                </c:pt>
                <c:pt idx="484">
                  <c:v>10998.112116079632</c:v>
                </c:pt>
                <c:pt idx="485">
                  <c:v>11318.37739666774</c:v>
                </c:pt>
                <c:pt idx="486">
                  <c:v>12131.810953033775</c:v>
                </c:pt>
                <c:pt idx="487">
                  <c:v>12568.696362311484</c:v>
                </c:pt>
                <c:pt idx="488">
                  <c:v>12779.146213547456</c:v>
                </c:pt>
                <c:pt idx="489">
                  <c:v>12780.132182463778</c:v>
                </c:pt>
                <c:pt idx="490">
                  <c:v>12771.026341244011</c:v>
                </c:pt>
                <c:pt idx="491">
                  <c:v>12911.726425706172</c:v>
                </c:pt>
                <c:pt idx="492">
                  <c:v>12941.855829488935</c:v>
                </c:pt>
                <c:pt idx="493">
                  <c:v>12883.590779631568</c:v>
                </c:pt>
                <c:pt idx="494">
                  <c:v>12875.424002605163</c:v>
                </c:pt>
                <c:pt idx="495">
                  <c:v>12955.351996657446</c:v>
                </c:pt>
                <c:pt idx="496">
                  <c:v>13113.596364008183</c:v>
                </c:pt>
                <c:pt idx="497">
                  <c:v>13198.459031517794</c:v>
                </c:pt>
                <c:pt idx="498">
                  <c:v>13157.177259953289</c:v>
                </c:pt>
                <c:pt idx="499">
                  <c:v>13102.054649552401</c:v>
                </c:pt>
                <c:pt idx="500">
                  <c:v>12929.294203176843</c:v>
                </c:pt>
                <c:pt idx="501">
                  <c:v>12413.999525055793</c:v>
                </c:pt>
                <c:pt idx="502">
                  <c:v>12358.373332367395</c:v>
                </c:pt>
                <c:pt idx="503">
                  <c:v>12042.768004075662</c:v>
                </c:pt>
                <c:pt idx="504">
                  <c:v>11414.802051073764</c:v>
                </c:pt>
                <c:pt idx="505">
                  <c:v>11108.694076688433</c:v>
                </c:pt>
                <c:pt idx="506">
                  <c:v>10965.725803432453</c:v>
                </c:pt>
                <c:pt idx="507">
                  <c:v>10838.674670172612</c:v>
                </c:pt>
                <c:pt idx="508">
                  <c:v>10907.908560329564</c:v>
                </c:pt>
                <c:pt idx="509">
                  <c:v>11179.497238218353</c:v>
                </c:pt>
                <c:pt idx="510">
                  <c:v>11978.702640402355</c:v>
                </c:pt>
                <c:pt idx="511">
                  <c:v>12400.279822402719</c:v>
                </c:pt>
                <c:pt idx="512">
                  <c:v>12674.077840378397</c:v>
                </c:pt>
                <c:pt idx="513">
                  <c:v>12587.594277416101</c:v>
                </c:pt>
                <c:pt idx="514">
                  <c:v>12604.271362358926</c:v>
                </c:pt>
                <c:pt idx="515">
                  <c:v>12634.063154530819</c:v>
                </c:pt>
                <c:pt idx="516">
                  <c:v>12593.914405611466</c:v>
                </c:pt>
                <c:pt idx="517">
                  <c:v>12442.781218570712</c:v>
                </c:pt>
                <c:pt idx="518">
                  <c:v>12372.875955648928</c:v>
                </c:pt>
                <c:pt idx="519">
                  <c:v>12360.540287624202</c:v>
                </c:pt>
                <c:pt idx="520">
                  <c:v>12614.004464184525</c:v>
                </c:pt>
                <c:pt idx="521">
                  <c:v>12765.420526523721</c:v>
                </c:pt>
                <c:pt idx="522">
                  <c:v>12718.78953354726</c:v>
                </c:pt>
                <c:pt idx="523">
                  <c:v>12637.139290278599</c:v>
                </c:pt>
                <c:pt idx="524">
                  <c:v>12290.678493745278</c:v>
                </c:pt>
                <c:pt idx="525">
                  <c:v>11706.275419681751</c:v>
                </c:pt>
                <c:pt idx="526">
                  <c:v>11678.385120234117</c:v>
                </c:pt>
                <c:pt idx="527">
                  <c:v>11359.950234317765</c:v>
                </c:pt>
                <c:pt idx="528">
                  <c:v>10924.432514630314</c:v>
                </c:pt>
                <c:pt idx="529">
                  <c:v>10546.83085039562</c:v>
                </c:pt>
                <c:pt idx="530">
                  <c:v>10353.702127283663</c:v>
                </c:pt>
                <c:pt idx="531">
                  <c:v>10200.757002646642</c:v>
                </c:pt>
                <c:pt idx="532">
                  <c:v>10156.943219474279</c:v>
                </c:pt>
                <c:pt idx="533">
                  <c:v>10241.707393778825</c:v>
                </c:pt>
                <c:pt idx="534">
                  <c:v>10524.585196532053</c:v>
                </c:pt>
                <c:pt idx="535">
                  <c:v>10644.674708396455</c:v>
                </c:pt>
                <c:pt idx="536">
                  <c:v>10943.782325355596</c:v>
                </c:pt>
                <c:pt idx="537">
                  <c:v>11022.771186024644</c:v>
                </c:pt>
                <c:pt idx="538">
                  <c:v>11145.476097855611</c:v>
                </c:pt>
                <c:pt idx="539">
                  <c:v>11277.424516444193</c:v>
                </c:pt>
                <c:pt idx="540">
                  <c:v>11227.001628796901</c:v>
                </c:pt>
                <c:pt idx="541">
                  <c:v>11166.544608290265</c:v>
                </c:pt>
                <c:pt idx="542">
                  <c:v>11055.122375925352</c:v>
                </c:pt>
                <c:pt idx="543">
                  <c:v>11132.728304552482</c:v>
                </c:pt>
                <c:pt idx="544">
                  <c:v>11515.375353914738</c:v>
                </c:pt>
                <c:pt idx="545">
                  <c:v>11899.107338113618</c:v>
                </c:pt>
                <c:pt idx="546">
                  <c:v>12031.937285965896</c:v>
                </c:pt>
                <c:pt idx="547">
                  <c:v>11818.958661738005</c:v>
                </c:pt>
                <c:pt idx="548">
                  <c:v>11325.619090938204</c:v>
                </c:pt>
                <c:pt idx="549">
                  <c:v>10895.13704595433</c:v>
                </c:pt>
                <c:pt idx="550">
                  <c:v>11004.05231763443</c:v>
                </c:pt>
                <c:pt idx="551">
                  <c:v>10842.461871567593</c:v>
                </c:pt>
                <c:pt idx="552">
                  <c:v>10189.231104930072</c:v>
                </c:pt>
                <c:pt idx="553">
                  <c:v>9821.7759167135955</c:v>
                </c:pt>
                <c:pt idx="554">
                  <c:v>9655.7079465390052</c:v>
                </c:pt>
                <c:pt idx="555">
                  <c:v>9494.0692542859288</c:v>
                </c:pt>
                <c:pt idx="556">
                  <c:v>9490.9871468368328</c:v>
                </c:pt>
                <c:pt idx="557">
                  <c:v>9585.3206202217079</c:v>
                </c:pt>
                <c:pt idx="558">
                  <c:v>9814.7020430345347</c:v>
                </c:pt>
                <c:pt idx="559">
                  <c:v>9872.5049576967594</c:v>
                </c:pt>
                <c:pt idx="560">
                  <c:v>10100.226750449219</c:v>
                </c:pt>
                <c:pt idx="561">
                  <c:v>10167.870463610772</c:v>
                </c:pt>
                <c:pt idx="562">
                  <c:v>10330.158561913098</c:v>
                </c:pt>
                <c:pt idx="563">
                  <c:v>10500.063186676525</c:v>
                </c:pt>
                <c:pt idx="564">
                  <c:v>10508.371557069078</c:v>
                </c:pt>
                <c:pt idx="565">
                  <c:v>10425.045757716036</c:v>
                </c:pt>
                <c:pt idx="566">
                  <c:v>10390.006595315213</c:v>
                </c:pt>
                <c:pt idx="567">
                  <c:v>10459.675518173186</c:v>
                </c:pt>
                <c:pt idx="568">
                  <c:v>10771.879321357104</c:v>
                </c:pt>
                <c:pt idx="569">
                  <c:v>11018.537654324897</c:v>
                </c:pt>
                <c:pt idx="570">
                  <c:v>11070.789532956393</c:v>
                </c:pt>
                <c:pt idx="571">
                  <c:v>11062.829139740612</c:v>
                </c:pt>
                <c:pt idx="572">
                  <c:v>10793.37055003483</c:v>
                </c:pt>
                <c:pt idx="573">
                  <c:v>10366.906952967411</c:v>
                </c:pt>
                <c:pt idx="574">
                  <c:v>10613.029707029691</c:v>
                </c:pt>
                <c:pt idx="575">
                  <c:v>10507.629087984529</c:v>
                </c:pt>
                <c:pt idx="576">
                  <c:v>10308.824445329939</c:v>
                </c:pt>
                <c:pt idx="577">
                  <c:v>10033.80079540129</c:v>
                </c:pt>
                <c:pt idx="578">
                  <c:v>9870.2398875417039</c:v>
                </c:pt>
                <c:pt idx="579">
                  <c:v>9788.3125352206698</c:v>
                </c:pt>
                <c:pt idx="580">
                  <c:v>9901.6575886215396</c:v>
                </c:pt>
                <c:pt idx="581">
                  <c:v>10301.391663646415</c:v>
                </c:pt>
                <c:pt idx="582">
                  <c:v>11050.730285417834</c:v>
                </c:pt>
                <c:pt idx="583">
                  <c:v>11638.34943332862</c:v>
                </c:pt>
                <c:pt idx="584">
                  <c:v>11900.480058300676</c:v>
                </c:pt>
                <c:pt idx="585">
                  <c:v>11772.574964096561</c:v>
                </c:pt>
                <c:pt idx="586">
                  <c:v>11808.243525713471</c:v>
                </c:pt>
                <c:pt idx="587">
                  <c:v>11820.705574201953</c:v>
                </c:pt>
                <c:pt idx="588">
                  <c:v>11774.166721084635</c:v>
                </c:pt>
                <c:pt idx="589">
                  <c:v>11658.459156410381</c:v>
                </c:pt>
                <c:pt idx="590">
                  <c:v>11623.137592785668</c:v>
                </c:pt>
                <c:pt idx="591">
                  <c:v>11574.332241074046</c:v>
                </c:pt>
                <c:pt idx="592">
                  <c:v>11761.323248479614</c:v>
                </c:pt>
                <c:pt idx="593">
                  <c:v>11890.356187402676</c:v>
                </c:pt>
                <c:pt idx="594">
                  <c:v>11806.632252941492</c:v>
                </c:pt>
                <c:pt idx="595">
                  <c:v>11783.1693766484</c:v>
                </c:pt>
                <c:pt idx="596">
                  <c:v>11542.674334269008</c:v>
                </c:pt>
                <c:pt idx="597">
                  <c:v>11082.597134373278</c:v>
                </c:pt>
                <c:pt idx="598">
                  <c:v>11154.174090799028</c:v>
                </c:pt>
                <c:pt idx="599">
                  <c:v>10866.902998918609</c:v>
                </c:pt>
                <c:pt idx="600">
                  <c:v>10445.563375729649</c:v>
                </c:pt>
                <c:pt idx="601">
                  <c:v>10122.907264303696</c:v>
                </c:pt>
                <c:pt idx="602">
                  <c:v>9968.8120377328905</c:v>
                </c:pt>
                <c:pt idx="603">
                  <c:v>9889.6579390379902</c:v>
                </c:pt>
                <c:pt idx="604">
                  <c:v>9986.8750186103589</c:v>
                </c:pt>
                <c:pt idx="605">
                  <c:v>10315.704196517752</c:v>
                </c:pt>
                <c:pt idx="606">
                  <c:v>11063.516782478477</c:v>
                </c:pt>
                <c:pt idx="607">
                  <c:v>11590.974788485608</c:v>
                </c:pt>
                <c:pt idx="608">
                  <c:v>11808.263302881061</c:v>
                </c:pt>
                <c:pt idx="609">
                  <c:v>11646.904712591499</c:v>
                </c:pt>
                <c:pt idx="610">
                  <c:v>11633.973697404253</c:v>
                </c:pt>
                <c:pt idx="611">
                  <c:v>11669.468410965588</c:v>
                </c:pt>
                <c:pt idx="612">
                  <c:v>11639.168972524307</c:v>
                </c:pt>
                <c:pt idx="613">
                  <c:v>11587.48962293614</c:v>
                </c:pt>
                <c:pt idx="614">
                  <c:v>11565.921251980901</c:v>
                </c:pt>
                <c:pt idx="615">
                  <c:v>11583.513872541074</c:v>
                </c:pt>
                <c:pt idx="616">
                  <c:v>11738.538362889003</c:v>
                </c:pt>
                <c:pt idx="617">
                  <c:v>11926.602304909411</c:v>
                </c:pt>
                <c:pt idx="618">
                  <c:v>11933.29484348527</c:v>
                </c:pt>
                <c:pt idx="619">
                  <c:v>11942.673911350264</c:v>
                </c:pt>
                <c:pt idx="620">
                  <c:v>11716.861662844225</c:v>
                </c:pt>
                <c:pt idx="621">
                  <c:v>11208.402628819176</c:v>
                </c:pt>
                <c:pt idx="622">
                  <c:v>11246.704606184954</c:v>
                </c:pt>
                <c:pt idx="623">
                  <c:v>10967.07753096216</c:v>
                </c:pt>
                <c:pt idx="624">
                  <c:v>10540.550388763579</c:v>
                </c:pt>
                <c:pt idx="625">
                  <c:v>10179.685540458435</c:v>
                </c:pt>
                <c:pt idx="626">
                  <c:v>10029.721821295232</c:v>
                </c:pt>
                <c:pt idx="627">
                  <c:v>9979.6377340687413</c:v>
                </c:pt>
                <c:pt idx="628">
                  <c:v>10070.816318164749</c:v>
                </c:pt>
                <c:pt idx="629">
                  <c:v>10444.844137911967</c:v>
                </c:pt>
                <c:pt idx="630">
                  <c:v>11251.850224026191</c:v>
                </c:pt>
                <c:pt idx="631">
                  <c:v>11754.037658085308</c:v>
                </c:pt>
                <c:pt idx="632">
                  <c:v>11995.595717693779</c:v>
                </c:pt>
                <c:pt idx="633">
                  <c:v>11863.292896834244</c:v>
                </c:pt>
                <c:pt idx="634">
                  <c:v>11818.262621847121</c:v>
                </c:pt>
                <c:pt idx="635">
                  <c:v>11938.293416209535</c:v>
                </c:pt>
                <c:pt idx="636">
                  <c:v>11898.744309203565</c:v>
                </c:pt>
                <c:pt idx="637">
                  <c:v>11854.699063445667</c:v>
                </c:pt>
                <c:pt idx="638">
                  <c:v>11829.179775633649</c:v>
                </c:pt>
                <c:pt idx="639">
                  <c:v>11788.301138500161</c:v>
                </c:pt>
                <c:pt idx="640">
                  <c:v>11988.911364641397</c:v>
                </c:pt>
                <c:pt idx="641">
                  <c:v>12169.37660874452</c:v>
                </c:pt>
                <c:pt idx="642">
                  <c:v>12231.190052630212</c:v>
                </c:pt>
                <c:pt idx="643">
                  <c:v>12213.349276740271</c:v>
                </c:pt>
                <c:pt idx="644">
                  <c:v>12045.979855339294</c:v>
                </c:pt>
                <c:pt idx="645">
                  <c:v>11541.371442595033</c:v>
                </c:pt>
                <c:pt idx="646">
                  <c:v>11547.019421257717</c:v>
                </c:pt>
                <c:pt idx="647">
                  <c:v>11285.241804936724</c:v>
                </c:pt>
                <c:pt idx="648">
                  <c:v>10801.286380309457</c:v>
                </c:pt>
                <c:pt idx="649">
                  <c:v>10514.291384468352</c:v>
                </c:pt>
                <c:pt idx="650">
                  <c:v>10315.79893943155</c:v>
                </c:pt>
                <c:pt idx="651">
                  <c:v>10271.415848689594</c:v>
                </c:pt>
                <c:pt idx="652">
                  <c:v>10326.705467027154</c:v>
                </c:pt>
                <c:pt idx="653">
                  <c:v>10706.761916414622</c:v>
                </c:pt>
                <c:pt idx="654">
                  <c:v>11544.806732876403</c:v>
                </c:pt>
                <c:pt idx="655">
                  <c:v>11979.976596483721</c:v>
                </c:pt>
                <c:pt idx="656">
                  <c:v>12206.493136873312</c:v>
                </c:pt>
                <c:pt idx="657">
                  <c:v>12144.228993432127</c:v>
                </c:pt>
                <c:pt idx="658">
                  <c:v>12218.898643706769</c:v>
                </c:pt>
                <c:pt idx="659">
                  <c:v>12218.084701883337</c:v>
                </c:pt>
                <c:pt idx="660">
                  <c:v>12173.74242159674</c:v>
                </c:pt>
                <c:pt idx="661">
                  <c:v>12072.747950114404</c:v>
                </c:pt>
                <c:pt idx="662">
                  <c:v>12002.293055379401</c:v>
                </c:pt>
                <c:pt idx="663">
                  <c:v>12030.199165449112</c:v>
                </c:pt>
                <c:pt idx="664">
                  <c:v>12191.73958685543</c:v>
                </c:pt>
                <c:pt idx="665">
                  <c:v>12447.992970732546</c:v>
                </c:pt>
                <c:pt idx="666">
                  <c:v>12425.290022511708</c:v>
                </c:pt>
                <c:pt idx="667">
                  <c:v>12437.73566900074</c:v>
                </c:pt>
                <c:pt idx="668">
                  <c:v>12302.599852035029</c:v>
                </c:pt>
                <c:pt idx="669">
                  <c:v>11823.852885233693</c:v>
                </c:pt>
                <c:pt idx="670">
                  <c:v>11898.594246682849</c:v>
                </c:pt>
                <c:pt idx="671">
                  <c:v>11592.296109875833</c:v>
                </c:pt>
                <c:pt idx="672">
                  <c:v>11115.452864164074</c:v>
                </c:pt>
                <c:pt idx="673">
                  <c:v>10859.999820570189</c:v>
                </c:pt>
                <c:pt idx="674">
                  <c:v>10776.295262246891</c:v>
                </c:pt>
                <c:pt idx="675">
                  <c:v>10760.597103205437</c:v>
                </c:pt>
                <c:pt idx="676">
                  <c:v>10868.290262509947</c:v>
                </c:pt>
                <c:pt idx="677">
                  <c:v>11257.495589774779</c:v>
                </c:pt>
                <c:pt idx="678">
                  <c:v>12020.908698269059</c:v>
                </c:pt>
                <c:pt idx="679">
                  <c:v>12541.299238687074</c:v>
                </c:pt>
                <c:pt idx="680">
                  <c:v>12771.119263624667</c:v>
                </c:pt>
                <c:pt idx="681">
                  <c:v>12631.521864721297</c:v>
                </c:pt>
                <c:pt idx="682">
                  <c:v>12647.897804578628</c:v>
                </c:pt>
                <c:pt idx="683">
                  <c:v>12633.219720033623</c:v>
                </c:pt>
                <c:pt idx="684">
                  <c:v>12597.629833969524</c:v>
                </c:pt>
                <c:pt idx="685">
                  <c:v>12514.897568854556</c:v>
                </c:pt>
                <c:pt idx="686">
                  <c:v>12351.547858949676</c:v>
                </c:pt>
                <c:pt idx="687">
                  <c:v>12363.983962841714</c:v>
                </c:pt>
                <c:pt idx="688">
                  <c:v>12511.281786257165</c:v>
                </c:pt>
                <c:pt idx="689">
                  <c:v>12781.89831529115</c:v>
                </c:pt>
                <c:pt idx="690">
                  <c:v>12792.14491379322</c:v>
                </c:pt>
                <c:pt idx="691">
                  <c:v>12701.077160422399</c:v>
                </c:pt>
                <c:pt idx="692">
                  <c:v>12412.741661477681</c:v>
                </c:pt>
                <c:pt idx="693">
                  <c:v>11924.28675706301</c:v>
                </c:pt>
                <c:pt idx="694">
                  <c:v>12007.515561045991</c:v>
                </c:pt>
                <c:pt idx="695">
                  <c:v>11745.185212183544</c:v>
                </c:pt>
                <c:pt idx="696">
                  <c:v>11262.593371886804</c:v>
                </c:pt>
                <c:pt idx="697">
                  <c:v>10982.839934582147</c:v>
                </c:pt>
                <c:pt idx="698">
                  <c:v>10816.383328599793</c:v>
                </c:pt>
                <c:pt idx="699">
                  <c:v>10688.688472748088</c:v>
                </c:pt>
                <c:pt idx="700">
                  <c:v>10726.481167561285</c:v>
                </c:pt>
                <c:pt idx="701">
                  <c:v>10794.149351587501</c:v>
                </c:pt>
                <c:pt idx="702">
                  <c:v>11070.56432486511</c:v>
                </c:pt>
                <c:pt idx="703">
                  <c:v>11212.377427535956</c:v>
                </c:pt>
                <c:pt idx="704">
                  <c:v>11349.201985252017</c:v>
                </c:pt>
                <c:pt idx="705">
                  <c:v>11439.07592860562</c:v>
                </c:pt>
                <c:pt idx="706">
                  <c:v>11715.599414937928</c:v>
                </c:pt>
                <c:pt idx="707">
                  <c:v>11858.433981715367</c:v>
                </c:pt>
                <c:pt idx="708">
                  <c:v>11823.10089233872</c:v>
                </c:pt>
                <c:pt idx="709">
                  <c:v>11795.279187461516</c:v>
                </c:pt>
                <c:pt idx="710">
                  <c:v>11780.634715393162</c:v>
                </c:pt>
                <c:pt idx="711">
                  <c:v>11863.123843102605</c:v>
                </c:pt>
                <c:pt idx="712">
                  <c:v>12097.412886399088</c:v>
                </c:pt>
                <c:pt idx="713">
                  <c:v>12664.206892637983</c:v>
                </c:pt>
                <c:pt idx="714">
                  <c:v>12856.420249212504</c:v>
                </c:pt>
                <c:pt idx="715">
                  <c:v>12695.014408354435</c:v>
                </c:pt>
                <c:pt idx="716">
                  <c:v>12267.159816726544</c:v>
                </c:pt>
                <c:pt idx="717">
                  <c:v>11758.690345234034</c:v>
                </c:pt>
                <c:pt idx="718">
                  <c:v>11867.522144889846</c:v>
                </c:pt>
                <c:pt idx="719">
                  <c:v>11740.972213948777</c:v>
                </c:pt>
                <c:pt idx="720">
                  <c:v>11348.39433431042</c:v>
                </c:pt>
                <c:pt idx="721">
                  <c:v>10992.770328049573</c:v>
                </c:pt>
                <c:pt idx="722">
                  <c:v>10783.23474046234</c:v>
                </c:pt>
                <c:pt idx="723">
                  <c:v>10682.644884727157</c:v>
                </c:pt>
                <c:pt idx="724">
                  <c:v>10718.276279167689</c:v>
                </c:pt>
                <c:pt idx="725">
                  <c:v>10761.763573335544</c:v>
                </c:pt>
                <c:pt idx="726">
                  <c:v>10946.343634830389</c:v>
                </c:pt>
                <c:pt idx="727">
                  <c:v>11005.25943690157</c:v>
                </c:pt>
                <c:pt idx="728">
                  <c:v>11170.181994135562</c:v>
                </c:pt>
                <c:pt idx="729">
                  <c:v>11349.083412187301</c:v>
                </c:pt>
                <c:pt idx="730">
                  <c:v>11552.454196152532</c:v>
                </c:pt>
                <c:pt idx="731">
                  <c:v>11677.505777585891</c:v>
                </c:pt>
                <c:pt idx="732">
                  <c:v>11682.528216697137</c:v>
                </c:pt>
                <c:pt idx="733">
                  <c:v>11533.954041520199</c:v>
                </c:pt>
                <c:pt idx="734">
                  <c:v>11492.355744873385</c:v>
                </c:pt>
                <c:pt idx="735">
                  <c:v>11534.984941187467</c:v>
                </c:pt>
                <c:pt idx="736">
                  <c:v>11779.296687671298</c:v>
                </c:pt>
                <c:pt idx="737">
                  <c:v>12287.344356214706</c:v>
                </c:pt>
                <c:pt idx="738">
                  <c:v>12373.482621505009</c:v>
                </c:pt>
                <c:pt idx="739">
                  <c:v>12357.574208542874</c:v>
                </c:pt>
                <c:pt idx="740">
                  <c:v>12056.354057955139</c:v>
                </c:pt>
                <c:pt idx="741">
                  <c:v>11678.302470837063</c:v>
                </c:pt>
                <c:pt idx="742">
                  <c:v>11950.256639758121</c:v>
                </c:pt>
                <c:pt idx="743">
                  <c:v>11803.041814030452</c:v>
                </c:pt>
                <c:pt idx="744">
                  <c:v>11462.843639287194</c:v>
                </c:pt>
                <c:pt idx="745">
                  <c:v>11264.278875388252</c:v>
                </c:pt>
                <c:pt idx="746">
                  <c:v>11147.518481503876</c:v>
                </c:pt>
                <c:pt idx="747">
                  <c:v>11149.354074330393</c:v>
                </c:pt>
                <c:pt idx="748">
                  <c:v>11294.765054306423</c:v>
                </c:pt>
                <c:pt idx="749">
                  <c:v>11686.36527391145</c:v>
                </c:pt>
                <c:pt idx="750">
                  <c:v>12522.864408900081</c:v>
                </c:pt>
                <c:pt idx="751">
                  <c:v>12939.432287129155</c:v>
                </c:pt>
                <c:pt idx="752">
                  <c:v>13073.705161055168</c:v>
                </c:pt>
                <c:pt idx="753">
                  <c:v>12906.533999279878</c:v>
                </c:pt>
                <c:pt idx="754">
                  <c:v>13013.390731107258</c:v>
                </c:pt>
                <c:pt idx="755">
                  <c:v>13055.708432068093</c:v>
                </c:pt>
                <c:pt idx="756">
                  <c:v>13048.603471582041</c:v>
                </c:pt>
                <c:pt idx="757">
                  <c:v>12894.941740345039</c:v>
                </c:pt>
                <c:pt idx="758">
                  <c:v>12835.738141347359</c:v>
                </c:pt>
                <c:pt idx="759">
                  <c:v>12810.106363118783</c:v>
                </c:pt>
                <c:pt idx="760">
                  <c:v>12894.414354618322</c:v>
                </c:pt>
                <c:pt idx="761">
                  <c:v>13205.335233877671</c:v>
                </c:pt>
                <c:pt idx="762">
                  <c:v>13185.012067803576</c:v>
                </c:pt>
                <c:pt idx="763">
                  <c:v>13161.380302068806</c:v>
                </c:pt>
                <c:pt idx="764">
                  <c:v>12940.978521144671</c:v>
                </c:pt>
                <c:pt idx="765">
                  <c:v>12542.499788418329</c:v>
                </c:pt>
                <c:pt idx="766">
                  <c:v>12707.00488082831</c:v>
                </c:pt>
                <c:pt idx="767">
                  <c:v>12431.859157668696</c:v>
                </c:pt>
                <c:pt idx="768">
                  <c:v>12080.373614182168</c:v>
                </c:pt>
                <c:pt idx="769">
                  <c:v>11749.381386506679</c:v>
                </c:pt>
                <c:pt idx="770">
                  <c:v>11565.093761923768</c:v>
                </c:pt>
                <c:pt idx="771">
                  <c:v>11593.596718560688</c:v>
                </c:pt>
                <c:pt idx="772">
                  <c:v>11722.698137565516</c:v>
                </c:pt>
                <c:pt idx="773">
                  <c:v>12014.645653547657</c:v>
                </c:pt>
                <c:pt idx="774">
                  <c:v>12839.314173237204</c:v>
                </c:pt>
                <c:pt idx="775">
                  <c:v>13283.514667785543</c:v>
                </c:pt>
                <c:pt idx="776">
                  <c:v>13388.235624720288</c:v>
                </c:pt>
                <c:pt idx="777">
                  <c:v>13351.180109386058</c:v>
                </c:pt>
                <c:pt idx="778">
                  <c:v>13407.307345912004</c:v>
                </c:pt>
                <c:pt idx="779">
                  <c:v>13397.335481664104</c:v>
                </c:pt>
                <c:pt idx="780">
                  <c:v>13308.955862394329</c:v>
                </c:pt>
                <c:pt idx="781">
                  <c:v>13181.581621379213</c:v>
                </c:pt>
                <c:pt idx="782">
                  <c:v>13105.052399109283</c:v>
                </c:pt>
                <c:pt idx="783">
                  <c:v>13049.043662332437</c:v>
                </c:pt>
                <c:pt idx="784">
                  <c:v>13118.11309188986</c:v>
                </c:pt>
                <c:pt idx="785">
                  <c:v>13535.164794645023</c:v>
                </c:pt>
                <c:pt idx="786">
                  <c:v>13517.540212077089</c:v>
                </c:pt>
                <c:pt idx="787">
                  <c:v>13516.115949037725</c:v>
                </c:pt>
                <c:pt idx="788">
                  <c:v>13306.365368891644</c:v>
                </c:pt>
                <c:pt idx="789">
                  <c:v>12776.702045544269</c:v>
                </c:pt>
                <c:pt idx="790">
                  <c:v>12917.659812703656</c:v>
                </c:pt>
                <c:pt idx="791">
                  <c:v>12649.242806475784</c:v>
                </c:pt>
                <c:pt idx="792">
                  <c:v>12199.933419483074</c:v>
                </c:pt>
                <c:pt idx="793">
                  <c:v>11926.155314935562</c:v>
                </c:pt>
                <c:pt idx="794">
                  <c:v>11705.539105910557</c:v>
                </c:pt>
                <c:pt idx="795">
                  <c:v>11672.069653122415</c:v>
                </c:pt>
                <c:pt idx="796">
                  <c:v>11797.446735704916</c:v>
                </c:pt>
                <c:pt idx="797">
                  <c:v>12137.286968057952</c:v>
                </c:pt>
                <c:pt idx="798">
                  <c:v>12956.967230821687</c:v>
                </c:pt>
                <c:pt idx="799">
                  <c:v>13361.239794160159</c:v>
                </c:pt>
                <c:pt idx="800">
                  <c:v>13421.889967283734</c:v>
                </c:pt>
                <c:pt idx="801">
                  <c:v>13407.3395089315</c:v>
                </c:pt>
                <c:pt idx="802">
                  <c:v>13429.911097825938</c:v>
                </c:pt>
                <c:pt idx="803">
                  <c:v>13344.742607341685</c:v>
                </c:pt>
                <c:pt idx="804">
                  <c:v>13322.419769153727</c:v>
                </c:pt>
                <c:pt idx="805">
                  <c:v>13209.927540105009</c:v>
                </c:pt>
                <c:pt idx="806">
                  <c:v>13076.395611849633</c:v>
                </c:pt>
                <c:pt idx="807">
                  <c:v>13067.370194549436</c:v>
                </c:pt>
                <c:pt idx="808">
                  <c:v>13159.143162024346</c:v>
                </c:pt>
                <c:pt idx="809">
                  <c:v>13605.80511819467</c:v>
                </c:pt>
                <c:pt idx="810">
                  <c:v>13703.126883412637</c:v>
                </c:pt>
                <c:pt idx="811">
                  <c:v>13787.776389899313</c:v>
                </c:pt>
                <c:pt idx="812">
                  <c:v>13509.948448662508</c:v>
                </c:pt>
                <c:pt idx="813">
                  <c:v>12958.276124161248</c:v>
                </c:pt>
                <c:pt idx="814">
                  <c:v>13048.432201351488</c:v>
                </c:pt>
                <c:pt idx="815">
                  <c:v>12752.360721621908</c:v>
                </c:pt>
                <c:pt idx="816">
                  <c:v>12366.751447698714</c:v>
                </c:pt>
                <c:pt idx="817">
                  <c:v>12113.968796344692</c:v>
                </c:pt>
                <c:pt idx="818">
                  <c:v>11987.691217470658</c:v>
                </c:pt>
                <c:pt idx="819">
                  <c:v>11962.670209932272</c:v>
                </c:pt>
                <c:pt idx="820">
                  <c:v>12106.888997014292</c:v>
                </c:pt>
                <c:pt idx="821">
                  <c:v>12449.740242082396</c:v>
                </c:pt>
                <c:pt idx="822">
                  <c:v>13251.780721421643</c:v>
                </c:pt>
                <c:pt idx="823">
                  <c:v>13547.589820338699</c:v>
                </c:pt>
                <c:pt idx="824">
                  <c:v>13545.806920707964</c:v>
                </c:pt>
                <c:pt idx="825">
                  <c:v>13506.664578927288</c:v>
                </c:pt>
                <c:pt idx="826">
                  <c:v>13406.284387477575</c:v>
                </c:pt>
                <c:pt idx="827">
                  <c:v>13332.526011587841</c:v>
                </c:pt>
                <c:pt idx="828">
                  <c:v>13312.895485685263</c:v>
                </c:pt>
                <c:pt idx="829">
                  <c:v>13186.526807104736</c:v>
                </c:pt>
                <c:pt idx="830">
                  <c:v>13126.23422653048</c:v>
                </c:pt>
                <c:pt idx="831">
                  <c:v>13034.574265811103</c:v>
                </c:pt>
                <c:pt idx="832">
                  <c:v>13079.3931685679</c:v>
                </c:pt>
                <c:pt idx="833">
                  <c:v>13475.809960900107</c:v>
                </c:pt>
                <c:pt idx="834">
                  <c:v>13550.385232465431</c:v>
                </c:pt>
                <c:pt idx="835">
                  <c:v>13624.965947811719</c:v>
                </c:pt>
                <c:pt idx="836">
                  <c:v>13524.587230583104</c:v>
                </c:pt>
                <c:pt idx="837">
                  <c:v>13078.529702643154</c:v>
                </c:pt>
                <c:pt idx="838">
                  <c:v>13153.129472239252</c:v>
                </c:pt>
                <c:pt idx="839">
                  <c:v>12889.126324223264</c:v>
                </c:pt>
                <c:pt idx="840">
                  <c:v>12544.878918654407</c:v>
                </c:pt>
                <c:pt idx="841">
                  <c:v>12307.928678920483</c:v>
                </c:pt>
                <c:pt idx="842">
                  <c:v>12200.802207267023</c:v>
                </c:pt>
                <c:pt idx="843">
                  <c:v>12205.909390168639</c:v>
                </c:pt>
                <c:pt idx="844">
                  <c:v>12441.762845725438</c:v>
                </c:pt>
                <c:pt idx="845">
                  <c:v>12836.011453970661</c:v>
                </c:pt>
                <c:pt idx="846">
                  <c:v>13630.348527371512</c:v>
                </c:pt>
                <c:pt idx="847">
                  <c:v>14047.727564021105</c:v>
                </c:pt>
                <c:pt idx="848">
                  <c:v>14113.58052906567</c:v>
                </c:pt>
                <c:pt idx="849">
                  <c:v>14059.032518765325</c:v>
                </c:pt>
                <c:pt idx="850">
                  <c:v>14133.655657058076</c:v>
                </c:pt>
                <c:pt idx="851">
                  <c:v>14032.403716596073</c:v>
                </c:pt>
                <c:pt idx="852">
                  <c:v>13943.503435071894</c:v>
                </c:pt>
                <c:pt idx="853">
                  <c:v>13741.041517749274</c:v>
                </c:pt>
                <c:pt idx="854">
                  <c:v>13568.905966502987</c:v>
                </c:pt>
                <c:pt idx="855">
                  <c:v>13445.009652848836</c:v>
                </c:pt>
                <c:pt idx="856">
                  <c:v>13492.668183829628</c:v>
                </c:pt>
                <c:pt idx="857">
                  <c:v>13989.371779027928</c:v>
                </c:pt>
                <c:pt idx="858">
                  <c:v>14158.669161321057</c:v>
                </c:pt>
                <c:pt idx="859">
                  <c:v>14118.363161210953</c:v>
                </c:pt>
                <c:pt idx="860">
                  <c:v>13785.006560293255</c:v>
                </c:pt>
                <c:pt idx="861">
                  <c:v>13329.042162883679</c:v>
                </c:pt>
                <c:pt idx="862">
                  <c:v>13371.5309129244</c:v>
                </c:pt>
                <c:pt idx="863">
                  <c:v>13062.490460540259</c:v>
                </c:pt>
                <c:pt idx="864">
                  <c:v>12645.121040912145</c:v>
                </c:pt>
                <c:pt idx="865">
                  <c:v>12335.126497166078</c:v>
                </c:pt>
                <c:pt idx="866">
                  <c:v>12079.546256008935</c:v>
                </c:pt>
                <c:pt idx="867">
                  <c:v>12008.736532860614</c:v>
                </c:pt>
                <c:pt idx="868">
                  <c:v>12013.343133910663</c:v>
                </c:pt>
                <c:pt idx="869">
                  <c:v>12092.906880853696</c:v>
                </c:pt>
                <c:pt idx="870">
                  <c:v>12390.039851561769</c:v>
                </c:pt>
                <c:pt idx="871">
                  <c:v>12480.620574872024</c:v>
                </c:pt>
                <c:pt idx="872">
                  <c:v>12579.97390934244</c:v>
                </c:pt>
                <c:pt idx="873">
                  <c:v>12784.94769832444</c:v>
                </c:pt>
                <c:pt idx="874">
                  <c:v>12953.165786166883</c:v>
                </c:pt>
                <c:pt idx="875">
                  <c:v>12933.762662227882</c:v>
                </c:pt>
                <c:pt idx="876">
                  <c:v>12737.785307875682</c:v>
                </c:pt>
                <c:pt idx="877">
                  <c:v>12643.704583493931</c:v>
                </c:pt>
                <c:pt idx="878">
                  <c:v>12580.836390082968</c:v>
                </c:pt>
                <c:pt idx="879">
                  <c:v>12635.726723516884</c:v>
                </c:pt>
                <c:pt idx="880">
                  <c:v>12859.492001581975</c:v>
                </c:pt>
                <c:pt idx="881">
                  <c:v>13547.731673010279</c:v>
                </c:pt>
                <c:pt idx="882">
                  <c:v>13886.010072527628</c:v>
                </c:pt>
                <c:pt idx="883">
                  <c:v>13715.855709380805</c:v>
                </c:pt>
                <c:pt idx="884">
                  <c:v>13295.4129837034</c:v>
                </c:pt>
                <c:pt idx="885">
                  <c:v>12806.495463500221</c:v>
                </c:pt>
                <c:pt idx="886">
                  <c:v>12901.905202121601</c:v>
                </c:pt>
                <c:pt idx="887">
                  <c:v>12770.907662866053</c:v>
                </c:pt>
                <c:pt idx="888">
                  <c:v>12322.911585860644</c:v>
                </c:pt>
                <c:pt idx="889">
                  <c:v>11952.000925416642</c:v>
                </c:pt>
                <c:pt idx="890">
                  <c:v>11728.488604647233</c:v>
                </c:pt>
                <c:pt idx="891">
                  <c:v>11552.961190707883</c:v>
                </c:pt>
                <c:pt idx="892">
                  <c:v>11539.080833997154</c:v>
                </c:pt>
                <c:pt idx="893">
                  <c:v>11520.206234567784</c:v>
                </c:pt>
                <c:pt idx="894">
                  <c:v>11635.519929908442</c:v>
                </c:pt>
                <c:pt idx="895">
                  <c:v>11692.626809087973</c:v>
                </c:pt>
                <c:pt idx="896">
                  <c:v>11733.36277962231</c:v>
                </c:pt>
                <c:pt idx="897">
                  <c:v>11895.887949360702</c:v>
                </c:pt>
                <c:pt idx="898">
                  <c:v>12163.991825373731</c:v>
                </c:pt>
                <c:pt idx="899">
                  <c:v>12237.634359631087</c:v>
                </c:pt>
                <c:pt idx="900">
                  <c:v>12230.580475663652</c:v>
                </c:pt>
                <c:pt idx="901">
                  <c:v>12069.00645649071</c:v>
                </c:pt>
                <c:pt idx="902">
                  <c:v>12001.306321010365</c:v>
                </c:pt>
                <c:pt idx="903">
                  <c:v>11973.356448213804</c:v>
                </c:pt>
                <c:pt idx="904">
                  <c:v>12040.385310403624</c:v>
                </c:pt>
                <c:pt idx="905">
                  <c:v>12551.657890172817</c:v>
                </c:pt>
                <c:pt idx="906">
                  <c:v>12752.924034560574</c:v>
                </c:pt>
                <c:pt idx="907">
                  <c:v>12721.258422701281</c:v>
                </c:pt>
                <c:pt idx="908">
                  <c:v>12460.175952219695</c:v>
                </c:pt>
                <c:pt idx="909">
                  <c:v>12006.641649335395</c:v>
                </c:pt>
                <c:pt idx="910">
                  <c:v>12248.873395111681</c:v>
                </c:pt>
                <c:pt idx="911">
                  <c:v>12109.8563141658</c:v>
                </c:pt>
                <c:pt idx="912">
                  <c:v>11766.44263966039</c:v>
                </c:pt>
                <c:pt idx="913">
                  <c:v>11473.238807796068</c:v>
                </c:pt>
                <c:pt idx="914">
                  <c:v>11303.448421696672</c:v>
                </c:pt>
                <c:pt idx="915">
                  <c:v>11175.414834636755</c:v>
                </c:pt>
                <c:pt idx="916">
                  <c:v>11420.163217552754</c:v>
                </c:pt>
                <c:pt idx="917">
                  <c:v>11872.931675977914</c:v>
                </c:pt>
                <c:pt idx="918">
                  <c:v>12757.629756910334</c:v>
                </c:pt>
                <c:pt idx="919">
                  <c:v>13157.008233872912</c:v>
                </c:pt>
                <c:pt idx="920">
                  <c:v>13169.336086811194</c:v>
                </c:pt>
                <c:pt idx="921">
                  <c:v>13188.917116310902</c:v>
                </c:pt>
                <c:pt idx="922">
                  <c:v>13196.128978241048</c:v>
                </c:pt>
                <c:pt idx="923">
                  <c:v>13187.171284292073</c:v>
                </c:pt>
                <c:pt idx="924">
                  <c:v>13036.751084125908</c:v>
                </c:pt>
                <c:pt idx="925">
                  <c:v>12950.92793885715</c:v>
                </c:pt>
                <c:pt idx="926">
                  <c:v>12897.015089924542</c:v>
                </c:pt>
                <c:pt idx="927">
                  <c:v>12774.106755403558</c:v>
                </c:pt>
                <c:pt idx="928">
                  <c:v>12749.768552705425</c:v>
                </c:pt>
                <c:pt idx="929">
                  <c:v>13162.588110946859</c:v>
                </c:pt>
                <c:pt idx="930">
                  <c:v>13258.824142570282</c:v>
                </c:pt>
                <c:pt idx="931">
                  <c:v>13330.445419279691</c:v>
                </c:pt>
                <c:pt idx="932">
                  <c:v>13103.429728010165</c:v>
                </c:pt>
                <c:pt idx="933">
                  <c:v>12716.58561916528</c:v>
                </c:pt>
                <c:pt idx="934">
                  <c:v>12773.964587902125</c:v>
                </c:pt>
                <c:pt idx="935">
                  <c:v>12612.810267888091</c:v>
                </c:pt>
                <c:pt idx="936">
                  <c:v>12335.676214432549</c:v>
                </c:pt>
                <c:pt idx="937">
                  <c:v>12048.977338030405</c:v>
                </c:pt>
                <c:pt idx="938">
                  <c:v>11862.668744739965</c:v>
                </c:pt>
                <c:pt idx="939">
                  <c:v>11884.609495390408</c:v>
                </c:pt>
                <c:pt idx="940">
                  <c:v>12042.358212457983</c:v>
                </c:pt>
                <c:pt idx="941">
                  <c:v>12435.47367954039</c:v>
                </c:pt>
                <c:pt idx="942">
                  <c:v>13192.843726974033</c:v>
                </c:pt>
                <c:pt idx="943">
                  <c:v>13628.293670645679</c:v>
                </c:pt>
                <c:pt idx="944">
                  <c:v>13681.502320808568</c:v>
                </c:pt>
                <c:pt idx="945">
                  <c:v>13718.844876286936</c:v>
                </c:pt>
                <c:pt idx="946">
                  <c:v>13682.726225584713</c:v>
                </c:pt>
                <c:pt idx="947">
                  <c:v>13565.009253040851</c:v>
                </c:pt>
                <c:pt idx="948">
                  <c:v>13391.835515539902</c:v>
                </c:pt>
                <c:pt idx="949">
                  <c:v>13254.819212024528</c:v>
                </c:pt>
                <c:pt idx="950">
                  <c:v>13212.529650759432</c:v>
                </c:pt>
                <c:pt idx="951">
                  <c:v>13185.661500618717</c:v>
                </c:pt>
                <c:pt idx="952">
                  <c:v>13210.592568185622</c:v>
                </c:pt>
                <c:pt idx="953">
                  <c:v>13711.477079947974</c:v>
                </c:pt>
                <c:pt idx="954">
                  <c:v>13827.359329203473</c:v>
                </c:pt>
                <c:pt idx="955">
                  <c:v>13908.756050990442</c:v>
                </c:pt>
                <c:pt idx="956">
                  <c:v>13655.847766530258</c:v>
                </c:pt>
                <c:pt idx="957">
                  <c:v>13211.29523464317</c:v>
                </c:pt>
                <c:pt idx="958">
                  <c:v>13264.125498623041</c:v>
                </c:pt>
                <c:pt idx="959">
                  <c:v>13030.092080930641</c:v>
                </c:pt>
                <c:pt idx="960">
                  <c:v>12435.860782804299</c:v>
                </c:pt>
                <c:pt idx="961">
                  <c:v>12191.790288836706</c:v>
                </c:pt>
                <c:pt idx="962">
                  <c:v>12053.487442707006</c:v>
                </c:pt>
                <c:pt idx="963">
                  <c:v>12051.604486743045</c:v>
                </c:pt>
                <c:pt idx="964">
                  <c:v>12228.337631935172</c:v>
                </c:pt>
                <c:pt idx="965">
                  <c:v>12584.713351834731</c:v>
                </c:pt>
                <c:pt idx="966">
                  <c:v>13336.661641332415</c:v>
                </c:pt>
                <c:pt idx="967">
                  <c:v>13744.598618718739</c:v>
                </c:pt>
                <c:pt idx="968">
                  <c:v>13763.151603396806</c:v>
                </c:pt>
                <c:pt idx="969">
                  <c:v>13688.578544476164</c:v>
                </c:pt>
                <c:pt idx="970">
                  <c:v>13641.116400795663</c:v>
                </c:pt>
                <c:pt idx="971">
                  <c:v>13565.728778883009</c:v>
                </c:pt>
                <c:pt idx="972">
                  <c:v>13562.079435507203</c:v>
                </c:pt>
                <c:pt idx="973">
                  <c:v>13418.603976221373</c:v>
                </c:pt>
                <c:pt idx="974">
                  <c:v>13229.701253136622</c:v>
                </c:pt>
                <c:pt idx="975">
                  <c:v>13150.470096511546</c:v>
                </c:pt>
                <c:pt idx="976">
                  <c:v>13167.362099682179</c:v>
                </c:pt>
                <c:pt idx="977">
                  <c:v>13663.937874752715</c:v>
                </c:pt>
                <c:pt idx="978">
                  <c:v>13895.986405758527</c:v>
                </c:pt>
                <c:pt idx="979">
                  <c:v>13951.259501596502</c:v>
                </c:pt>
                <c:pt idx="980">
                  <c:v>13732.939278992551</c:v>
                </c:pt>
                <c:pt idx="981">
                  <c:v>13204.908334779337</c:v>
                </c:pt>
                <c:pt idx="982">
                  <c:v>13219.400814087692</c:v>
                </c:pt>
                <c:pt idx="983">
                  <c:v>13052.333796857454</c:v>
                </c:pt>
                <c:pt idx="984">
                  <c:v>12933.23270839804</c:v>
                </c:pt>
                <c:pt idx="985">
                  <c:v>12680.100445700777</c:v>
                </c:pt>
                <c:pt idx="986">
                  <c:v>12574.085493081731</c:v>
                </c:pt>
                <c:pt idx="987">
                  <c:v>12563.155837334472</c:v>
                </c:pt>
                <c:pt idx="988">
                  <c:v>12751.886542881726</c:v>
                </c:pt>
                <c:pt idx="989">
                  <c:v>13133.519582433426</c:v>
                </c:pt>
                <c:pt idx="990">
                  <c:v>13903.748320836203</c:v>
                </c:pt>
                <c:pt idx="991">
                  <c:v>14258.12657119008</c:v>
                </c:pt>
                <c:pt idx="992">
                  <c:v>14297.802306138012</c:v>
                </c:pt>
                <c:pt idx="993">
                  <c:v>14226.734232206401</c:v>
                </c:pt>
                <c:pt idx="994">
                  <c:v>14330.379790374851</c:v>
                </c:pt>
                <c:pt idx="995">
                  <c:v>14259.240976438821</c:v>
                </c:pt>
                <c:pt idx="996">
                  <c:v>14133.127167939718</c:v>
                </c:pt>
                <c:pt idx="997">
                  <c:v>13958.904511701397</c:v>
                </c:pt>
                <c:pt idx="998">
                  <c:v>13820.00971985475</c:v>
                </c:pt>
                <c:pt idx="999">
                  <c:v>13707.140849830224</c:v>
                </c:pt>
                <c:pt idx="1000">
                  <c:v>13665.615630667951</c:v>
                </c:pt>
                <c:pt idx="1001">
                  <c:v>14070.155449412217</c:v>
                </c:pt>
                <c:pt idx="1002">
                  <c:v>14219.511937258023</c:v>
                </c:pt>
                <c:pt idx="1003">
                  <c:v>14222.987729886372</c:v>
                </c:pt>
                <c:pt idx="1004">
                  <c:v>14040.7367649713</c:v>
                </c:pt>
                <c:pt idx="1005">
                  <c:v>13486.95964439098</c:v>
                </c:pt>
                <c:pt idx="1006">
                  <c:v>13560.818390025044</c:v>
                </c:pt>
                <c:pt idx="1007">
                  <c:v>13397.951758528543</c:v>
                </c:pt>
                <c:pt idx="1008">
                  <c:v>13014.463435648884</c:v>
                </c:pt>
                <c:pt idx="1009">
                  <c:v>12770.670640986438</c:v>
                </c:pt>
                <c:pt idx="1010">
                  <c:v>12651.197050357288</c:v>
                </c:pt>
                <c:pt idx="1011">
                  <c:v>12621.603608323016</c:v>
                </c:pt>
                <c:pt idx="1012">
                  <c:v>12741.655973098814</c:v>
                </c:pt>
                <c:pt idx="1013">
                  <c:v>13081.522810070584</c:v>
                </c:pt>
                <c:pt idx="1014">
                  <c:v>13760.588154703011</c:v>
                </c:pt>
                <c:pt idx="1015">
                  <c:v>14061.884940221737</c:v>
                </c:pt>
                <c:pt idx="1016">
                  <c:v>14055.279239062114</c:v>
                </c:pt>
                <c:pt idx="1017">
                  <c:v>14045.312183174377</c:v>
                </c:pt>
                <c:pt idx="1018">
                  <c:v>13984.984006706678</c:v>
                </c:pt>
                <c:pt idx="1019">
                  <c:v>13923.390227921804</c:v>
                </c:pt>
                <c:pt idx="1020">
                  <c:v>13676.889751562734</c:v>
                </c:pt>
                <c:pt idx="1021">
                  <c:v>13553.843736908822</c:v>
                </c:pt>
                <c:pt idx="1022">
                  <c:v>13383.723464152825</c:v>
                </c:pt>
                <c:pt idx="1023">
                  <c:v>13321.791200598649</c:v>
                </c:pt>
                <c:pt idx="1024">
                  <c:v>13274.889876504934</c:v>
                </c:pt>
                <c:pt idx="1025">
                  <c:v>13596.692638635393</c:v>
                </c:pt>
                <c:pt idx="1026">
                  <c:v>13753.446332733851</c:v>
                </c:pt>
                <c:pt idx="1027">
                  <c:v>13637.36471191563</c:v>
                </c:pt>
                <c:pt idx="1028">
                  <c:v>13319.899883608572</c:v>
                </c:pt>
                <c:pt idx="1029">
                  <c:v>12815.005976499126</c:v>
                </c:pt>
                <c:pt idx="1030">
                  <c:v>12892.391199238951</c:v>
                </c:pt>
                <c:pt idx="1031">
                  <c:v>12584.167599180013</c:v>
                </c:pt>
                <c:pt idx="1032">
                  <c:v>12093.969649124418</c:v>
                </c:pt>
                <c:pt idx="1033">
                  <c:v>11785.244417946704</c:v>
                </c:pt>
                <c:pt idx="1034">
                  <c:v>11522.355997631534</c:v>
                </c:pt>
                <c:pt idx="1035">
                  <c:v>11427.521973360781</c:v>
                </c:pt>
                <c:pt idx="1036">
                  <c:v>11408.618242136705</c:v>
                </c:pt>
                <c:pt idx="1037">
                  <c:v>11484.021612359236</c:v>
                </c:pt>
                <c:pt idx="1038">
                  <c:v>11726.573830187641</c:v>
                </c:pt>
                <c:pt idx="1039">
                  <c:v>11811.146547326918</c:v>
                </c:pt>
                <c:pt idx="1040">
                  <c:v>11867.6849210171</c:v>
                </c:pt>
                <c:pt idx="1041">
                  <c:v>12034.533794373969</c:v>
                </c:pt>
                <c:pt idx="1042">
                  <c:v>12174.284891287098</c:v>
                </c:pt>
                <c:pt idx="1043">
                  <c:v>12053.960276679611</c:v>
                </c:pt>
                <c:pt idx="1044">
                  <c:v>11983.16710464306</c:v>
                </c:pt>
                <c:pt idx="1045">
                  <c:v>11844.03132780618</c:v>
                </c:pt>
                <c:pt idx="1046">
                  <c:v>11804.677465627681</c:v>
                </c:pt>
                <c:pt idx="1047">
                  <c:v>11854.954772423669</c:v>
                </c:pt>
                <c:pt idx="1048">
                  <c:v>12069.778504681299</c:v>
                </c:pt>
                <c:pt idx="1049">
                  <c:v>12675.461653298309</c:v>
                </c:pt>
                <c:pt idx="1050">
                  <c:v>12963.739391672569</c:v>
                </c:pt>
                <c:pt idx="1051">
                  <c:v>12786.321153359271</c:v>
                </c:pt>
                <c:pt idx="1052">
                  <c:v>12318.180356954743</c:v>
                </c:pt>
                <c:pt idx="1053">
                  <c:v>11843.839963574745</c:v>
                </c:pt>
                <c:pt idx="1054">
                  <c:v>11972.447174228721</c:v>
                </c:pt>
                <c:pt idx="1055">
                  <c:v>11838.712530656627</c:v>
                </c:pt>
                <c:pt idx="1056">
                  <c:v>11525.108364108657</c:v>
                </c:pt>
                <c:pt idx="1057">
                  <c:v>11186.797123943275</c:v>
                </c:pt>
                <c:pt idx="1058">
                  <c:v>10936.310837227014</c:v>
                </c:pt>
                <c:pt idx="1059">
                  <c:v>10882.50390450864</c:v>
                </c:pt>
                <c:pt idx="1060">
                  <c:v>10940.605243507314</c:v>
                </c:pt>
                <c:pt idx="1061">
                  <c:v>11051.578337628825</c:v>
                </c:pt>
                <c:pt idx="1062">
                  <c:v>11247.959442472922</c:v>
                </c:pt>
                <c:pt idx="1063">
                  <c:v>11270.150649913357</c:v>
                </c:pt>
                <c:pt idx="1064">
                  <c:v>11438.592472697663</c:v>
                </c:pt>
                <c:pt idx="1065">
                  <c:v>11729.702691729643</c:v>
                </c:pt>
                <c:pt idx="1066">
                  <c:v>11938.241437804611</c:v>
                </c:pt>
                <c:pt idx="1067">
                  <c:v>11906.41629193771</c:v>
                </c:pt>
                <c:pt idx="1068">
                  <c:v>11863.324510175178</c:v>
                </c:pt>
                <c:pt idx="1069">
                  <c:v>11779.767988603136</c:v>
                </c:pt>
                <c:pt idx="1070">
                  <c:v>11668.224751683169</c:v>
                </c:pt>
                <c:pt idx="1071">
                  <c:v>11706.227786783482</c:v>
                </c:pt>
                <c:pt idx="1072">
                  <c:v>11836.941174014777</c:v>
                </c:pt>
                <c:pt idx="1073">
                  <c:v>12328.636539564692</c:v>
                </c:pt>
                <c:pt idx="1074">
                  <c:v>12681.047104097628</c:v>
                </c:pt>
                <c:pt idx="1075">
                  <c:v>12709.349844558259</c:v>
                </c:pt>
                <c:pt idx="1076">
                  <c:v>12485.199259116411</c:v>
                </c:pt>
                <c:pt idx="1077">
                  <c:v>12115.575182707462</c:v>
                </c:pt>
                <c:pt idx="1078">
                  <c:v>12368.788657974619</c:v>
                </c:pt>
                <c:pt idx="1079">
                  <c:v>12275.953252920241</c:v>
                </c:pt>
                <c:pt idx="1080">
                  <c:v>11957.884662214665</c:v>
                </c:pt>
                <c:pt idx="1081">
                  <c:v>11727.867169255655</c:v>
                </c:pt>
                <c:pt idx="1082">
                  <c:v>11631.873148787177</c:v>
                </c:pt>
                <c:pt idx="1083">
                  <c:v>11645.831581911956</c:v>
                </c:pt>
                <c:pt idx="1084">
                  <c:v>11859.954324318673</c:v>
                </c:pt>
                <c:pt idx="1085">
                  <c:v>12245.279573739497</c:v>
                </c:pt>
                <c:pt idx="1086">
                  <c:v>13073.232075991667</c:v>
                </c:pt>
                <c:pt idx="1087">
                  <c:v>13448.261347742831</c:v>
                </c:pt>
                <c:pt idx="1088">
                  <c:v>13523.442011814492</c:v>
                </c:pt>
                <c:pt idx="1089">
                  <c:v>13552.776388974531</c:v>
                </c:pt>
                <c:pt idx="1090">
                  <c:v>13455.630843598865</c:v>
                </c:pt>
                <c:pt idx="1091">
                  <c:v>13291.014663431635</c:v>
                </c:pt>
                <c:pt idx="1092">
                  <c:v>13092.190840575902</c:v>
                </c:pt>
                <c:pt idx="1093">
                  <c:v>12929.354739818291</c:v>
                </c:pt>
                <c:pt idx="1094">
                  <c:v>12798.067050449792</c:v>
                </c:pt>
                <c:pt idx="1095">
                  <c:v>12710.147822854167</c:v>
                </c:pt>
                <c:pt idx="1096">
                  <c:v>12660.037740370382</c:v>
                </c:pt>
                <c:pt idx="1097">
                  <c:v>12903.005381958448</c:v>
                </c:pt>
                <c:pt idx="1098">
                  <c:v>13122.722165107769</c:v>
                </c:pt>
                <c:pt idx="1099">
                  <c:v>13036.502792561885</c:v>
                </c:pt>
                <c:pt idx="1100">
                  <c:v>12771.319464960879</c:v>
                </c:pt>
                <c:pt idx="1101">
                  <c:v>12303.528479069464</c:v>
                </c:pt>
                <c:pt idx="1102">
                  <c:v>12303.434382689555</c:v>
                </c:pt>
                <c:pt idx="1103">
                  <c:v>12109.431762663469</c:v>
                </c:pt>
                <c:pt idx="1104">
                  <c:v>11633.476840539613</c:v>
                </c:pt>
                <c:pt idx="1105">
                  <c:v>11420.285318089052</c:v>
                </c:pt>
                <c:pt idx="1106">
                  <c:v>11258.404077504021</c:v>
                </c:pt>
                <c:pt idx="1107">
                  <c:v>11210.128839666953</c:v>
                </c:pt>
                <c:pt idx="1108">
                  <c:v>11288.061027156295</c:v>
                </c:pt>
                <c:pt idx="1109">
                  <c:v>11627.996923974692</c:v>
                </c:pt>
                <c:pt idx="1110">
                  <c:v>12501.183554989353</c:v>
                </c:pt>
                <c:pt idx="1111">
                  <c:v>12887.270603158489</c:v>
                </c:pt>
                <c:pt idx="1112">
                  <c:v>12809.747110079008</c:v>
                </c:pt>
                <c:pt idx="1113">
                  <c:v>12853.17279036839</c:v>
                </c:pt>
                <c:pt idx="1114">
                  <c:v>12876.699932226493</c:v>
                </c:pt>
                <c:pt idx="1115">
                  <c:v>12843.025292518678</c:v>
                </c:pt>
                <c:pt idx="1116">
                  <c:v>12752.059046993279</c:v>
                </c:pt>
                <c:pt idx="1117">
                  <c:v>12597.016232786278</c:v>
                </c:pt>
                <c:pt idx="1118">
                  <c:v>12541.398921567577</c:v>
                </c:pt>
                <c:pt idx="1119">
                  <c:v>12482.756127757326</c:v>
                </c:pt>
                <c:pt idx="1120">
                  <c:v>12479.712929366096</c:v>
                </c:pt>
                <c:pt idx="1121">
                  <c:v>12932.02775567724</c:v>
                </c:pt>
                <c:pt idx="1122">
                  <c:v>13230.905966510778</c:v>
                </c:pt>
                <c:pt idx="1123">
                  <c:v>13307.044678710943</c:v>
                </c:pt>
                <c:pt idx="1124">
                  <c:v>13214.290137602304</c:v>
                </c:pt>
                <c:pt idx="1125">
                  <c:v>12747.159013902978</c:v>
                </c:pt>
                <c:pt idx="1126">
                  <c:v>12887.823717558649</c:v>
                </c:pt>
                <c:pt idx="1127">
                  <c:v>12736.880082817021</c:v>
                </c:pt>
                <c:pt idx="1128">
                  <c:v>12465.781019401595</c:v>
                </c:pt>
                <c:pt idx="1129">
                  <c:v>12282.802359708128</c:v>
                </c:pt>
                <c:pt idx="1130">
                  <c:v>12203.199727950841</c:v>
                </c:pt>
                <c:pt idx="1131">
                  <c:v>12225.277938372416</c:v>
                </c:pt>
                <c:pt idx="1132">
                  <c:v>12450.645068337624</c:v>
                </c:pt>
                <c:pt idx="1133">
                  <c:v>12860.201275812653</c:v>
                </c:pt>
                <c:pt idx="1134">
                  <c:v>13637.784119823134</c:v>
                </c:pt>
                <c:pt idx="1135">
                  <c:v>13916.197472344413</c:v>
                </c:pt>
                <c:pt idx="1136">
                  <c:v>14144.400861230801</c:v>
                </c:pt>
                <c:pt idx="1137">
                  <c:v>14206.004978763212</c:v>
                </c:pt>
                <c:pt idx="1138">
                  <c:v>14076.760872338527</c:v>
                </c:pt>
                <c:pt idx="1139">
                  <c:v>13891.779947703215</c:v>
                </c:pt>
                <c:pt idx="1140">
                  <c:v>13746.29698580398</c:v>
                </c:pt>
                <c:pt idx="1141">
                  <c:v>13513.890441447596</c:v>
                </c:pt>
                <c:pt idx="1142">
                  <c:v>13371.594851216671</c:v>
                </c:pt>
                <c:pt idx="1143">
                  <c:v>13346.569256187871</c:v>
                </c:pt>
                <c:pt idx="1144">
                  <c:v>13400.8776322965</c:v>
                </c:pt>
                <c:pt idx="1145">
                  <c:v>13735.21207166702</c:v>
                </c:pt>
                <c:pt idx="1146">
                  <c:v>14227.536453786917</c:v>
                </c:pt>
                <c:pt idx="1147">
                  <c:v>14391.593003764541</c:v>
                </c:pt>
                <c:pt idx="1148">
                  <c:v>14175.832697662681</c:v>
                </c:pt>
                <c:pt idx="1149">
                  <c:v>13713.732694863596</c:v>
                </c:pt>
                <c:pt idx="1150">
                  <c:v>13741.513506677495</c:v>
                </c:pt>
                <c:pt idx="1151">
                  <c:v>13578.237970321754</c:v>
                </c:pt>
                <c:pt idx="1152">
                  <c:v>13284.596368847389</c:v>
                </c:pt>
                <c:pt idx="1153">
                  <c:v>13022.466734443333</c:v>
                </c:pt>
                <c:pt idx="1154">
                  <c:v>12947.800902079283</c:v>
                </c:pt>
                <c:pt idx="1155">
                  <c:v>13008.42156173518</c:v>
                </c:pt>
                <c:pt idx="1156">
                  <c:v>13203.961336594204</c:v>
                </c:pt>
                <c:pt idx="1157">
                  <c:v>13558.719150423047</c:v>
                </c:pt>
                <c:pt idx="1158">
                  <c:v>14287.497990068399</c:v>
                </c:pt>
                <c:pt idx="1159">
                  <c:v>14552.993100956737</c:v>
                </c:pt>
                <c:pt idx="1160">
                  <c:v>14624.479338005378</c:v>
                </c:pt>
                <c:pt idx="1161">
                  <c:v>14658.3293663083</c:v>
                </c:pt>
                <c:pt idx="1162">
                  <c:v>14514.990292818629</c:v>
                </c:pt>
                <c:pt idx="1163">
                  <c:v>14361.854731263902</c:v>
                </c:pt>
                <c:pt idx="1164">
                  <c:v>14131.800214930017</c:v>
                </c:pt>
                <c:pt idx="1165">
                  <c:v>13856.863217360298</c:v>
                </c:pt>
                <c:pt idx="1166">
                  <c:v>13687.884298206705</c:v>
                </c:pt>
                <c:pt idx="1167">
                  <c:v>13594.42663609728</c:v>
                </c:pt>
                <c:pt idx="1168">
                  <c:v>13541.801368129449</c:v>
                </c:pt>
                <c:pt idx="1169">
                  <c:v>13766.954102669772</c:v>
                </c:pt>
                <c:pt idx="1170">
                  <c:v>13983.918401538676</c:v>
                </c:pt>
                <c:pt idx="1171">
                  <c:v>13975.500669769293</c:v>
                </c:pt>
                <c:pt idx="1172">
                  <c:v>13641.494660657012</c:v>
                </c:pt>
                <c:pt idx="1173">
                  <c:v>13164.540769060177</c:v>
                </c:pt>
                <c:pt idx="1174">
                  <c:v>13168.164545852167</c:v>
                </c:pt>
                <c:pt idx="1175">
                  <c:v>12883.175371030933</c:v>
                </c:pt>
                <c:pt idx="1176">
                  <c:v>12459.82840315732</c:v>
                </c:pt>
                <c:pt idx="1177">
                  <c:v>12152.191728376267</c:v>
                </c:pt>
                <c:pt idx="1178">
                  <c:v>11945.813567240852</c:v>
                </c:pt>
                <c:pt idx="1179">
                  <c:v>11904.78481845766</c:v>
                </c:pt>
                <c:pt idx="1180">
                  <c:v>12035.166703163017</c:v>
                </c:pt>
                <c:pt idx="1181">
                  <c:v>12333.858550257339</c:v>
                </c:pt>
                <c:pt idx="1182">
                  <c:v>13004.426416774912</c:v>
                </c:pt>
                <c:pt idx="1183">
                  <c:v>13251.796507170478</c:v>
                </c:pt>
                <c:pt idx="1184">
                  <c:v>13268.992789291236</c:v>
                </c:pt>
                <c:pt idx="1185">
                  <c:v>13383.003239199121</c:v>
                </c:pt>
                <c:pt idx="1186">
                  <c:v>13324.872673996875</c:v>
                </c:pt>
                <c:pt idx="1187">
                  <c:v>13290.798257196906</c:v>
                </c:pt>
                <c:pt idx="1188">
                  <c:v>13269.233423417161</c:v>
                </c:pt>
                <c:pt idx="1189">
                  <c:v>13170.833795057826</c:v>
                </c:pt>
                <c:pt idx="1190">
                  <c:v>13032.035157926482</c:v>
                </c:pt>
                <c:pt idx="1191">
                  <c:v>12985.262511472005</c:v>
                </c:pt>
                <c:pt idx="1192">
                  <c:v>12933.171586863933</c:v>
                </c:pt>
                <c:pt idx="1193">
                  <c:v>13166.730970127783</c:v>
                </c:pt>
                <c:pt idx="1194">
                  <c:v>13421.223657559789</c:v>
                </c:pt>
                <c:pt idx="1195">
                  <c:v>13337.321769786604</c:v>
                </c:pt>
                <c:pt idx="1196">
                  <c:v>13024.40294600933</c:v>
                </c:pt>
                <c:pt idx="1197">
                  <c:v>12539.517515518884</c:v>
                </c:pt>
                <c:pt idx="1198">
                  <c:v>12541.314575853748</c:v>
                </c:pt>
                <c:pt idx="1199">
                  <c:v>12322.093118118357</c:v>
                </c:pt>
                <c:pt idx="1200">
                  <c:v>11925.538653896669</c:v>
                </c:pt>
                <c:pt idx="1201">
                  <c:v>11561.267097793234</c:v>
                </c:pt>
                <c:pt idx="1202">
                  <c:v>11338.219460329969</c:v>
                </c:pt>
                <c:pt idx="1203">
                  <c:v>11269.432143337295</c:v>
                </c:pt>
                <c:pt idx="1204">
                  <c:v>11240.145440318518</c:v>
                </c:pt>
                <c:pt idx="1205">
                  <c:v>11370.682609792499</c:v>
                </c:pt>
                <c:pt idx="1206">
                  <c:v>11623.317171389217</c:v>
                </c:pt>
                <c:pt idx="1207">
                  <c:v>11630.694061113714</c:v>
                </c:pt>
                <c:pt idx="1208">
                  <c:v>11740.531995093101</c:v>
                </c:pt>
                <c:pt idx="1209">
                  <c:v>12022.765762411107</c:v>
                </c:pt>
                <c:pt idx="1210">
                  <c:v>12206.474560217963</c:v>
                </c:pt>
                <c:pt idx="1211">
                  <c:v>12283.60520133605</c:v>
                </c:pt>
                <c:pt idx="1212">
                  <c:v>12244.657417510725</c:v>
                </c:pt>
                <c:pt idx="1213">
                  <c:v>12235.713453343473</c:v>
                </c:pt>
                <c:pt idx="1214">
                  <c:v>12174.613952705715</c:v>
                </c:pt>
                <c:pt idx="1215">
                  <c:v>12222.25497498977</c:v>
                </c:pt>
                <c:pt idx="1216">
                  <c:v>12367.255043338884</c:v>
                </c:pt>
                <c:pt idx="1217">
                  <c:v>12801.816106496233</c:v>
                </c:pt>
                <c:pt idx="1218">
                  <c:v>13159.500767651587</c:v>
                </c:pt>
                <c:pt idx="1219">
                  <c:v>13043.759913778022</c:v>
                </c:pt>
                <c:pt idx="1220">
                  <c:v>12576.846396281146</c:v>
                </c:pt>
                <c:pt idx="1221">
                  <c:v>11966.483147033083</c:v>
                </c:pt>
                <c:pt idx="1222">
                  <c:v>12025.689359549684</c:v>
                </c:pt>
                <c:pt idx="1223">
                  <c:v>11787.469947463724</c:v>
                </c:pt>
                <c:pt idx="1224">
                  <c:v>11276.380479575075</c:v>
                </c:pt>
                <c:pt idx="1225">
                  <c:v>10909.347282588809</c:v>
                </c:pt>
                <c:pt idx="1226">
                  <c:v>10699.952440086372</c:v>
                </c:pt>
                <c:pt idx="1227">
                  <c:v>10555.067871423242</c:v>
                </c:pt>
                <c:pt idx="1228">
                  <c:v>10499.671418418508</c:v>
                </c:pt>
                <c:pt idx="1229">
                  <c:v>10555.258401932975</c:v>
                </c:pt>
                <c:pt idx="1230">
                  <c:v>10712.487716660356</c:v>
                </c:pt>
                <c:pt idx="1231">
                  <c:v>10671.736106612469</c:v>
                </c:pt>
                <c:pt idx="1232">
                  <c:v>10839.37231319109</c:v>
                </c:pt>
                <c:pt idx="1233">
                  <c:v>11110.452418298475</c:v>
                </c:pt>
                <c:pt idx="1234">
                  <c:v>11294.057472764329</c:v>
                </c:pt>
                <c:pt idx="1235">
                  <c:v>11422.823977328322</c:v>
                </c:pt>
                <c:pt idx="1236">
                  <c:v>11412.955746188441</c:v>
                </c:pt>
                <c:pt idx="1237">
                  <c:v>11469.509557381802</c:v>
                </c:pt>
                <c:pt idx="1238">
                  <c:v>11430.610568626145</c:v>
                </c:pt>
                <c:pt idx="1239">
                  <c:v>11510.145723058466</c:v>
                </c:pt>
                <c:pt idx="1240">
                  <c:v>11684.082779123984</c:v>
                </c:pt>
                <c:pt idx="1241">
                  <c:v>12080.522696556254</c:v>
                </c:pt>
                <c:pt idx="1242">
                  <c:v>12418.2079377186</c:v>
                </c:pt>
                <c:pt idx="1243">
                  <c:v>12400.781558098653</c:v>
                </c:pt>
                <c:pt idx="1244">
                  <c:v>12166.131053443578</c:v>
                </c:pt>
                <c:pt idx="1245">
                  <c:v>11699.128624118406</c:v>
                </c:pt>
                <c:pt idx="1246">
                  <c:v>11868.022965166125</c:v>
                </c:pt>
                <c:pt idx="1247">
                  <c:v>11803.69488314547</c:v>
                </c:pt>
                <c:pt idx="1248">
                  <c:v>11424.962481592604</c:v>
                </c:pt>
                <c:pt idx="1249">
                  <c:v>11155.616486748948</c:v>
                </c:pt>
                <c:pt idx="1250">
                  <c:v>10974.427238675567</c:v>
                </c:pt>
                <c:pt idx="1251">
                  <c:v>10950.077308003365</c:v>
                </c:pt>
                <c:pt idx="1252">
                  <c:v>11061.003463681458</c:v>
                </c:pt>
                <c:pt idx="1253">
                  <c:v>11458.727477426399</c:v>
                </c:pt>
                <c:pt idx="1254">
                  <c:v>12330.04021492657</c:v>
                </c:pt>
                <c:pt idx="1255">
                  <c:v>12712.247277242956</c:v>
                </c:pt>
                <c:pt idx="1256">
                  <c:v>12848.850087425264</c:v>
                </c:pt>
                <c:pt idx="1257">
                  <c:v>13032.540363161999</c:v>
                </c:pt>
                <c:pt idx="1258">
                  <c:v>13084.611331309903</c:v>
                </c:pt>
                <c:pt idx="1259">
                  <c:v>13060.865674805143</c:v>
                </c:pt>
                <c:pt idx="1260">
                  <c:v>13012.43875632333</c:v>
                </c:pt>
                <c:pt idx="1261">
                  <c:v>13020.141344216669</c:v>
                </c:pt>
                <c:pt idx="1262">
                  <c:v>12927.117378754989</c:v>
                </c:pt>
                <c:pt idx="1263">
                  <c:v>12862.779288571841</c:v>
                </c:pt>
                <c:pt idx="1264">
                  <c:v>12800.103828576775</c:v>
                </c:pt>
                <c:pt idx="1265">
                  <c:v>12972.857429529195</c:v>
                </c:pt>
                <c:pt idx="1266">
                  <c:v>13301.14198872702</c:v>
                </c:pt>
                <c:pt idx="1267">
                  <c:v>13257.154911872298</c:v>
                </c:pt>
                <c:pt idx="1268">
                  <c:v>13037.1502301539</c:v>
                </c:pt>
                <c:pt idx="1269">
                  <c:v>12541.322030973992</c:v>
                </c:pt>
                <c:pt idx="1270">
                  <c:v>12681.287258194732</c:v>
                </c:pt>
                <c:pt idx="1271">
                  <c:v>12441.465439663265</c:v>
                </c:pt>
                <c:pt idx="1272">
                  <c:v>12054.006398680853</c:v>
                </c:pt>
                <c:pt idx="1273">
                  <c:v>11818.844760859092</c:v>
                </c:pt>
                <c:pt idx="1274">
                  <c:v>11664.549801987279</c:v>
                </c:pt>
                <c:pt idx="1275">
                  <c:v>11610.311815990839</c:v>
                </c:pt>
                <c:pt idx="1276">
                  <c:v>11697.212065888696</c:v>
                </c:pt>
                <c:pt idx="1277">
                  <c:v>12076.204960789639</c:v>
                </c:pt>
                <c:pt idx="1278">
                  <c:v>12762.295490935003</c:v>
                </c:pt>
                <c:pt idx="1279">
                  <c:v>13016.441302638497</c:v>
                </c:pt>
                <c:pt idx="1280">
                  <c:v>13077.05719319363</c:v>
                </c:pt>
                <c:pt idx="1281">
                  <c:v>13201.478196026357</c:v>
                </c:pt>
                <c:pt idx="1282">
                  <c:v>13279.436891692021</c:v>
                </c:pt>
                <c:pt idx="1283">
                  <c:v>13329.352634672767</c:v>
                </c:pt>
                <c:pt idx="1284">
                  <c:v>13296.866788110614</c:v>
                </c:pt>
                <c:pt idx="1285">
                  <c:v>13194.713540922607</c:v>
                </c:pt>
                <c:pt idx="1286">
                  <c:v>13106.364973642771</c:v>
                </c:pt>
                <c:pt idx="1287">
                  <c:v>12972.910739948984</c:v>
                </c:pt>
                <c:pt idx="1288">
                  <c:v>12952.925274033543</c:v>
                </c:pt>
                <c:pt idx="1289">
                  <c:v>13078.648545195305</c:v>
                </c:pt>
                <c:pt idx="1290">
                  <c:v>13321.347546262214</c:v>
                </c:pt>
                <c:pt idx="1291">
                  <c:v>13320.989744778144</c:v>
                </c:pt>
                <c:pt idx="1292">
                  <c:v>13020.562775487433</c:v>
                </c:pt>
                <c:pt idx="1293">
                  <c:v>12485.610328214498</c:v>
                </c:pt>
                <c:pt idx="1294">
                  <c:v>12407.971731427191</c:v>
                </c:pt>
                <c:pt idx="1295">
                  <c:v>12123.777123913127</c:v>
                </c:pt>
                <c:pt idx="1296">
                  <c:v>11715.298313487077</c:v>
                </c:pt>
                <c:pt idx="1297">
                  <c:v>11396.0856497477</c:v>
                </c:pt>
                <c:pt idx="1298">
                  <c:v>11180.750873262743</c:v>
                </c:pt>
                <c:pt idx="1299">
                  <c:v>11162.491673202461</c:v>
                </c:pt>
                <c:pt idx="1300">
                  <c:v>11267.115751362422</c:v>
                </c:pt>
                <c:pt idx="1301">
                  <c:v>11626.091272348835</c:v>
                </c:pt>
                <c:pt idx="1302">
                  <c:v>12303.422393928224</c:v>
                </c:pt>
                <c:pt idx="1303">
                  <c:v>12432.510848511265</c:v>
                </c:pt>
                <c:pt idx="1304">
                  <c:v>12509.718691382968</c:v>
                </c:pt>
                <c:pt idx="1305">
                  <c:v>12631.031436535439</c:v>
                </c:pt>
                <c:pt idx="1306">
                  <c:v>12635.023351880222</c:v>
                </c:pt>
                <c:pt idx="1307">
                  <c:v>12773.130773594316</c:v>
                </c:pt>
                <c:pt idx="1308">
                  <c:v>12750.246024788128</c:v>
                </c:pt>
                <c:pt idx="1309">
                  <c:v>12591.328145948544</c:v>
                </c:pt>
                <c:pt idx="1310">
                  <c:v>12461.470466296554</c:v>
                </c:pt>
                <c:pt idx="1311">
                  <c:v>12430.875032962571</c:v>
                </c:pt>
                <c:pt idx="1312">
                  <c:v>12315.4477713208</c:v>
                </c:pt>
                <c:pt idx="1313">
                  <c:v>12471.369447691381</c:v>
                </c:pt>
                <c:pt idx="1314">
                  <c:v>12728.8732950062</c:v>
                </c:pt>
                <c:pt idx="1315">
                  <c:v>12632.923993604159</c:v>
                </c:pt>
                <c:pt idx="1316">
                  <c:v>12307.184737976608</c:v>
                </c:pt>
                <c:pt idx="1317">
                  <c:v>11676.290800805706</c:v>
                </c:pt>
                <c:pt idx="1318">
                  <c:v>11605.650132315905</c:v>
                </c:pt>
                <c:pt idx="1319">
                  <c:v>11282.593830323654</c:v>
                </c:pt>
                <c:pt idx="1320">
                  <c:v>10821.732271398816</c:v>
                </c:pt>
                <c:pt idx="1321">
                  <c:v>10485.287021072676</c:v>
                </c:pt>
                <c:pt idx="1322">
                  <c:v>10264.632655014822</c:v>
                </c:pt>
                <c:pt idx="1323">
                  <c:v>10177.733127761301</c:v>
                </c:pt>
                <c:pt idx="1324">
                  <c:v>10299.518709838861</c:v>
                </c:pt>
                <c:pt idx="1325">
                  <c:v>10594.325531293027</c:v>
                </c:pt>
                <c:pt idx="1326">
                  <c:v>11302.765148704439</c:v>
                </c:pt>
                <c:pt idx="1327">
                  <c:v>11508.788986041927</c:v>
                </c:pt>
                <c:pt idx="1328">
                  <c:v>11584.658246655754</c:v>
                </c:pt>
                <c:pt idx="1329">
                  <c:v>11633.411332222748</c:v>
                </c:pt>
                <c:pt idx="1330">
                  <c:v>11611.606492527131</c:v>
                </c:pt>
                <c:pt idx="1331">
                  <c:v>11608.793476049219</c:v>
                </c:pt>
                <c:pt idx="1332">
                  <c:v>11520.00199386926</c:v>
                </c:pt>
                <c:pt idx="1333">
                  <c:v>11432.089868335104</c:v>
                </c:pt>
                <c:pt idx="1334">
                  <c:v>11342.264353225608</c:v>
                </c:pt>
                <c:pt idx="1335">
                  <c:v>11345.577515844681</c:v>
                </c:pt>
                <c:pt idx="1336">
                  <c:v>11323.461923131565</c:v>
                </c:pt>
                <c:pt idx="1337">
                  <c:v>11485.376621635696</c:v>
                </c:pt>
                <c:pt idx="1338">
                  <c:v>11796.067437630221</c:v>
                </c:pt>
                <c:pt idx="1339">
                  <c:v>11844.958773137405</c:v>
                </c:pt>
                <c:pt idx="1340">
                  <c:v>11467.943879762772</c:v>
                </c:pt>
                <c:pt idx="1341">
                  <c:v>10966.361334071597</c:v>
                </c:pt>
                <c:pt idx="1342">
                  <c:v>11049.460231053146</c:v>
                </c:pt>
                <c:pt idx="1343">
                  <c:v>10791.245050712359</c:v>
                </c:pt>
                <c:pt idx="1344">
                  <c:v>10325.578005435695</c:v>
                </c:pt>
                <c:pt idx="1345">
                  <c:v>10045.683287011367</c:v>
                </c:pt>
                <c:pt idx="1346">
                  <c:v>9875.4021092226358</c:v>
                </c:pt>
                <c:pt idx="1347">
                  <c:v>9849.6733357775138</c:v>
                </c:pt>
                <c:pt idx="1348">
                  <c:v>9942.5125393926901</c:v>
                </c:pt>
                <c:pt idx="1349">
                  <c:v>10291.212940647358</c:v>
                </c:pt>
                <c:pt idx="1350">
                  <c:v>11016.351068394724</c:v>
                </c:pt>
                <c:pt idx="1351">
                  <c:v>11209.544216688051</c:v>
                </c:pt>
                <c:pt idx="1352">
                  <c:v>11351.625708676585</c:v>
                </c:pt>
                <c:pt idx="1353">
                  <c:v>11427.146892398941</c:v>
                </c:pt>
                <c:pt idx="1354">
                  <c:v>11392.493470006806</c:v>
                </c:pt>
                <c:pt idx="1355">
                  <c:v>11293.298886095794</c:v>
                </c:pt>
                <c:pt idx="1356">
                  <c:v>11259.557414813018</c:v>
                </c:pt>
                <c:pt idx="1357">
                  <c:v>11042.554037506723</c:v>
                </c:pt>
                <c:pt idx="1358">
                  <c:v>10981.846948569993</c:v>
                </c:pt>
                <c:pt idx="1359">
                  <c:v>10975.808509857447</c:v>
                </c:pt>
                <c:pt idx="1360">
                  <c:v>11025.891548977237</c:v>
                </c:pt>
                <c:pt idx="1361">
                  <c:v>11204.122796624546</c:v>
                </c:pt>
                <c:pt idx="1362">
                  <c:v>11692.231625799357</c:v>
                </c:pt>
                <c:pt idx="1363">
                  <c:v>11746.68031984202</c:v>
                </c:pt>
                <c:pt idx="1364">
                  <c:v>11458.102572382333</c:v>
                </c:pt>
                <c:pt idx="1365">
                  <c:v>11012.263030628437</c:v>
                </c:pt>
                <c:pt idx="1366">
                  <c:v>11055.900891098314</c:v>
                </c:pt>
                <c:pt idx="1367">
                  <c:v>10797.842031272176</c:v>
                </c:pt>
                <c:pt idx="1368">
                  <c:v>10324.93811116942</c:v>
                </c:pt>
                <c:pt idx="1369">
                  <c:v>10033.960426071615</c:v>
                </c:pt>
                <c:pt idx="1370">
                  <c:v>9828.9692586783985</c:v>
                </c:pt>
                <c:pt idx="1371">
                  <c:v>9748.1412185627341</c:v>
                </c:pt>
                <c:pt idx="1372">
                  <c:v>9769.8788596371469</c:v>
                </c:pt>
                <c:pt idx="1373">
                  <c:v>9863.4474763842427</c:v>
                </c:pt>
                <c:pt idx="1374">
                  <c:v>10215.341661528557</c:v>
                </c:pt>
                <c:pt idx="1375">
                  <c:v>10159.141155670586</c:v>
                </c:pt>
                <c:pt idx="1376">
                  <c:v>10391.611186723496</c:v>
                </c:pt>
                <c:pt idx="1377">
                  <c:v>10613.267924250747</c:v>
                </c:pt>
                <c:pt idx="1378">
                  <c:v>10621.542735539955</c:v>
                </c:pt>
                <c:pt idx="1379">
                  <c:v>10540.202737304313</c:v>
                </c:pt>
                <c:pt idx="1380">
                  <c:v>10439.859716809189</c:v>
                </c:pt>
                <c:pt idx="1381">
                  <c:v>10406.438789822369</c:v>
                </c:pt>
                <c:pt idx="1382">
                  <c:v>10334.530089636821</c:v>
                </c:pt>
                <c:pt idx="1383">
                  <c:v>10355.181886015833</c:v>
                </c:pt>
                <c:pt idx="1384">
                  <c:v>10589.067230117782</c:v>
                </c:pt>
                <c:pt idx="1385">
                  <c:v>10968.073512682931</c:v>
                </c:pt>
                <c:pt idx="1386">
                  <c:v>11620.828065039417</c:v>
                </c:pt>
                <c:pt idx="1387">
                  <c:v>11590.55712806349</c:v>
                </c:pt>
                <c:pt idx="1388">
                  <c:v>11186.291045261161</c:v>
                </c:pt>
                <c:pt idx="1389">
                  <c:v>10727.41679690568</c:v>
                </c:pt>
                <c:pt idx="1390">
                  <c:v>10855.515075018046</c:v>
                </c:pt>
                <c:pt idx="1391">
                  <c:v>10678.129449951926</c:v>
                </c:pt>
                <c:pt idx="1392">
                  <c:v>10251.602785982763</c:v>
                </c:pt>
                <c:pt idx="1393">
                  <c:v>9876.6165600701952</c:v>
                </c:pt>
                <c:pt idx="1394">
                  <c:v>9706.6312713754814</c:v>
                </c:pt>
                <c:pt idx="1395">
                  <c:v>9583.8063486959327</c:v>
                </c:pt>
                <c:pt idx="1396">
                  <c:v>9607.5082368603107</c:v>
                </c:pt>
                <c:pt idx="1397">
                  <c:v>9642.9811393361451</c:v>
                </c:pt>
                <c:pt idx="1398">
                  <c:v>9836.0200741204299</c:v>
                </c:pt>
                <c:pt idx="1399">
                  <c:v>9699.0590917328427</c:v>
                </c:pt>
                <c:pt idx="1400">
                  <c:v>9929.1684539217204</c:v>
                </c:pt>
                <c:pt idx="1401">
                  <c:v>10114.929243321549</c:v>
                </c:pt>
                <c:pt idx="1402">
                  <c:v>10059.483502819043</c:v>
                </c:pt>
                <c:pt idx="1403">
                  <c:v>10078.978570352841</c:v>
                </c:pt>
                <c:pt idx="1404">
                  <c:v>9992.6201068951559</c:v>
                </c:pt>
                <c:pt idx="1405">
                  <c:v>9820.2679430570242</c:v>
                </c:pt>
                <c:pt idx="1406">
                  <c:v>9725.9908892404528</c:v>
                </c:pt>
                <c:pt idx="1407">
                  <c:v>9763.2735256885753</c:v>
                </c:pt>
                <c:pt idx="1408">
                  <c:v>9890.3429223628991</c:v>
                </c:pt>
                <c:pt idx="1409">
                  <c:v>10180.937040717952</c:v>
                </c:pt>
                <c:pt idx="1410">
                  <c:v>10841.616993010179</c:v>
                </c:pt>
                <c:pt idx="1411">
                  <c:v>10970.10312773871</c:v>
                </c:pt>
                <c:pt idx="1412">
                  <c:v>10681.552746625337</c:v>
                </c:pt>
                <c:pt idx="1413">
                  <c:v>10226.758762293792</c:v>
                </c:pt>
                <c:pt idx="1414">
                  <c:v>10449.403179265144</c:v>
                </c:pt>
                <c:pt idx="1415">
                  <c:v>10298.171690683841</c:v>
                </c:pt>
                <c:pt idx="1416">
                  <c:v>9985.4354699471405</c:v>
                </c:pt>
                <c:pt idx="1417">
                  <c:v>9689.1977691901975</c:v>
                </c:pt>
                <c:pt idx="1418">
                  <c:v>9524.7626552200818</c:v>
                </c:pt>
                <c:pt idx="1419">
                  <c:v>9425.4584905200809</c:v>
                </c:pt>
                <c:pt idx="1420">
                  <c:v>9534.7841690405839</c:v>
                </c:pt>
                <c:pt idx="1421">
                  <c:v>9967.7384430290258</c:v>
                </c:pt>
                <c:pt idx="1422">
                  <c:v>10794.084626755193</c:v>
                </c:pt>
                <c:pt idx="1423">
                  <c:v>11066.158466251278</c:v>
                </c:pt>
                <c:pt idx="1424">
                  <c:v>11298.579209008421</c:v>
                </c:pt>
                <c:pt idx="1425">
                  <c:v>11376.700152686355</c:v>
                </c:pt>
                <c:pt idx="1426">
                  <c:v>11317.625673847891</c:v>
                </c:pt>
                <c:pt idx="1427">
                  <c:v>11205.834138367312</c:v>
                </c:pt>
                <c:pt idx="1428">
                  <c:v>11127.832053758106</c:v>
                </c:pt>
                <c:pt idx="1429">
                  <c:v>10969.171671590168</c:v>
                </c:pt>
                <c:pt idx="1430">
                  <c:v>10859.677212223123</c:v>
                </c:pt>
                <c:pt idx="1431">
                  <c:v>10763.383609181055</c:v>
                </c:pt>
                <c:pt idx="1432">
                  <c:v>10727.955593659839</c:v>
                </c:pt>
                <c:pt idx="1433">
                  <c:v>10868.23386167195</c:v>
                </c:pt>
                <c:pt idx="1434">
                  <c:v>11322.751681368354</c:v>
                </c:pt>
                <c:pt idx="1435">
                  <c:v>11399.575496883845</c:v>
                </c:pt>
                <c:pt idx="1436">
                  <c:v>11166.802175027518</c:v>
                </c:pt>
                <c:pt idx="1437">
                  <c:v>10649.45051421549</c:v>
                </c:pt>
                <c:pt idx="1438">
                  <c:v>10721.604108696074</c:v>
                </c:pt>
                <c:pt idx="1439">
                  <c:v>10501.230115440181</c:v>
                </c:pt>
                <c:pt idx="1440">
                  <c:v>10063.831591751145</c:v>
                </c:pt>
                <c:pt idx="1441">
                  <c:v>9731.1530345939191</c:v>
                </c:pt>
                <c:pt idx="1442">
                  <c:v>9587.1903111964621</c:v>
                </c:pt>
                <c:pt idx="1443">
                  <c:v>9575.8928650064081</c:v>
                </c:pt>
                <c:pt idx="1444">
                  <c:v>9647.4592433030029</c:v>
                </c:pt>
                <c:pt idx="1445">
                  <c:v>9969.41301491589</c:v>
                </c:pt>
                <c:pt idx="1446">
                  <c:v>10760.839848785212</c:v>
                </c:pt>
                <c:pt idx="1447">
                  <c:v>10992.608296538478</c:v>
                </c:pt>
                <c:pt idx="1448">
                  <c:v>11153.220914798505</c:v>
                </c:pt>
                <c:pt idx="1449">
                  <c:v>11125.657005766245</c:v>
                </c:pt>
                <c:pt idx="1450">
                  <c:v>11039.5485611484</c:v>
                </c:pt>
                <c:pt idx="1451">
                  <c:v>10981.330156497757</c:v>
                </c:pt>
                <c:pt idx="1452">
                  <c:v>10855.122579262952</c:v>
                </c:pt>
                <c:pt idx="1453">
                  <c:v>10734.939210570146</c:v>
                </c:pt>
                <c:pt idx="1454">
                  <c:v>10632.544082302733</c:v>
                </c:pt>
                <c:pt idx="1455">
                  <c:v>10560.235411318376</c:v>
                </c:pt>
                <c:pt idx="1456">
                  <c:v>10567.772741973817</c:v>
                </c:pt>
                <c:pt idx="1457">
                  <c:v>10700.806179453328</c:v>
                </c:pt>
                <c:pt idx="1458">
                  <c:v>11263.643631747851</c:v>
                </c:pt>
                <c:pt idx="1459">
                  <c:v>11421.85430658137</c:v>
                </c:pt>
                <c:pt idx="1460">
                  <c:v>11254.040555044125</c:v>
                </c:pt>
                <c:pt idx="1461">
                  <c:v>10760.070527511185</c:v>
                </c:pt>
                <c:pt idx="1462">
                  <c:v>10847.487749663685</c:v>
                </c:pt>
                <c:pt idx="1463">
                  <c:v>10595.412133186112</c:v>
                </c:pt>
                <c:pt idx="1464">
                  <c:v>10132.969409061863</c:v>
                </c:pt>
                <c:pt idx="1465">
                  <c:v>9922.0175085206811</c:v>
                </c:pt>
                <c:pt idx="1466">
                  <c:v>9808.8064204075999</c:v>
                </c:pt>
                <c:pt idx="1467">
                  <c:v>9825.712546801642</c:v>
                </c:pt>
                <c:pt idx="1468">
                  <c:v>9925.8225735834021</c:v>
                </c:pt>
                <c:pt idx="1469">
                  <c:v>10247.364211315817</c:v>
                </c:pt>
                <c:pt idx="1470">
                  <c:v>10972.540784048655</c:v>
                </c:pt>
                <c:pt idx="1471">
                  <c:v>11194.393588994153</c:v>
                </c:pt>
                <c:pt idx="1472">
                  <c:v>11315.771077494735</c:v>
                </c:pt>
                <c:pt idx="1473">
                  <c:v>11273.289927173153</c:v>
                </c:pt>
                <c:pt idx="1474">
                  <c:v>11208.07649193916</c:v>
                </c:pt>
                <c:pt idx="1475">
                  <c:v>11198.37223410671</c:v>
                </c:pt>
                <c:pt idx="1476">
                  <c:v>11112.674922716382</c:v>
                </c:pt>
                <c:pt idx="1477">
                  <c:v>11043.211387956708</c:v>
                </c:pt>
                <c:pt idx="1478">
                  <c:v>10966.872247460567</c:v>
                </c:pt>
                <c:pt idx="1479">
                  <c:v>10921.018152977671</c:v>
                </c:pt>
                <c:pt idx="1480">
                  <c:v>10927.859179528201</c:v>
                </c:pt>
                <c:pt idx="1481">
                  <c:v>11076.801811370464</c:v>
                </c:pt>
                <c:pt idx="1482">
                  <c:v>11566.597019109033</c:v>
                </c:pt>
                <c:pt idx="1483">
                  <c:v>11739.99057050482</c:v>
                </c:pt>
                <c:pt idx="1484">
                  <c:v>11490.983693718365</c:v>
                </c:pt>
                <c:pt idx="1485">
                  <c:v>10984.779876860541</c:v>
                </c:pt>
                <c:pt idx="1486">
                  <c:v>11006.026978759643</c:v>
                </c:pt>
                <c:pt idx="1487">
                  <c:v>10852.900061135964</c:v>
                </c:pt>
                <c:pt idx="1488">
                  <c:v>10466.269151882452</c:v>
                </c:pt>
                <c:pt idx="1489">
                  <c:v>10250.779965617763</c:v>
                </c:pt>
                <c:pt idx="1490">
                  <c:v>10150.222241242982</c:v>
                </c:pt>
                <c:pt idx="1491">
                  <c:v>10133.574966888451</c:v>
                </c:pt>
                <c:pt idx="1492">
                  <c:v>10258.228318760444</c:v>
                </c:pt>
                <c:pt idx="1493">
                  <c:v>10636.893991992587</c:v>
                </c:pt>
                <c:pt idx="1494">
                  <c:v>11294.065648693662</c:v>
                </c:pt>
                <c:pt idx="1495">
                  <c:v>11474.570684939352</c:v>
                </c:pt>
                <c:pt idx="1496">
                  <c:v>11647.949598753252</c:v>
                </c:pt>
                <c:pt idx="1497">
                  <c:v>11719.358693019753</c:v>
                </c:pt>
                <c:pt idx="1498">
                  <c:v>11632.729955320799</c:v>
                </c:pt>
                <c:pt idx="1499">
                  <c:v>11599.25082478904</c:v>
                </c:pt>
                <c:pt idx="1500">
                  <c:v>11466.091876051605</c:v>
                </c:pt>
                <c:pt idx="1501">
                  <c:v>11381.356054859159</c:v>
                </c:pt>
                <c:pt idx="1502">
                  <c:v>11324.38795628409</c:v>
                </c:pt>
                <c:pt idx="1503">
                  <c:v>11293.487664144166</c:v>
                </c:pt>
                <c:pt idx="1504">
                  <c:v>11342.610910852158</c:v>
                </c:pt>
                <c:pt idx="1505">
                  <c:v>11546.270738780004</c:v>
                </c:pt>
                <c:pt idx="1506">
                  <c:v>11955.649505754172</c:v>
                </c:pt>
                <c:pt idx="1507">
                  <c:v>12161.978593989037</c:v>
                </c:pt>
                <c:pt idx="1508">
                  <c:v>11973.455024856472</c:v>
                </c:pt>
                <c:pt idx="1509">
                  <c:v>11506.863617583238</c:v>
                </c:pt>
                <c:pt idx="1510">
                  <c:v>11634.171246247324</c:v>
                </c:pt>
                <c:pt idx="1511">
                  <c:v>11493.840663249302</c:v>
                </c:pt>
                <c:pt idx="1512">
                  <c:v>11083.159339240803</c:v>
                </c:pt>
                <c:pt idx="1513">
                  <c:v>10879.527250924864</c:v>
                </c:pt>
                <c:pt idx="1514">
                  <c:v>10747.225656810659</c:v>
                </c:pt>
                <c:pt idx="1515">
                  <c:v>10720.774947206572</c:v>
                </c:pt>
                <c:pt idx="1516">
                  <c:v>10877.998712195802</c:v>
                </c:pt>
                <c:pt idx="1517">
                  <c:v>11222.621881865582</c:v>
                </c:pt>
                <c:pt idx="1518">
                  <c:v>11880.298423559208</c:v>
                </c:pt>
                <c:pt idx="1519">
                  <c:v>12120.692973456011</c:v>
                </c:pt>
                <c:pt idx="1520">
                  <c:v>12292.205000881144</c:v>
                </c:pt>
                <c:pt idx="1521">
                  <c:v>12253.207982308004</c:v>
                </c:pt>
                <c:pt idx="1522">
                  <c:v>12083.520250127629</c:v>
                </c:pt>
                <c:pt idx="1523">
                  <c:v>12003.73042781937</c:v>
                </c:pt>
                <c:pt idx="1524">
                  <c:v>11819.695353101632</c:v>
                </c:pt>
                <c:pt idx="1525">
                  <c:v>11604.638568938801</c:v>
                </c:pt>
                <c:pt idx="1526">
                  <c:v>11463.097502093249</c:v>
                </c:pt>
                <c:pt idx="1527">
                  <c:v>11344.201836702543</c:v>
                </c:pt>
                <c:pt idx="1528">
                  <c:v>11437.228027237499</c:v>
                </c:pt>
                <c:pt idx="1529">
                  <c:v>11622.905299196007</c:v>
                </c:pt>
                <c:pt idx="1530">
                  <c:v>12154.11797495905</c:v>
                </c:pt>
                <c:pt idx="1531">
                  <c:v>12367.672145434803</c:v>
                </c:pt>
                <c:pt idx="1532">
                  <c:v>12177.142731081645</c:v>
                </c:pt>
                <c:pt idx="1533">
                  <c:v>11774.580838875227</c:v>
                </c:pt>
                <c:pt idx="1534">
                  <c:v>11831.453594882931</c:v>
                </c:pt>
                <c:pt idx="1535">
                  <c:v>11639.62237475931</c:v>
                </c:pt>
                <c:pt idx="1536">
                  <c:v>11289.520061163832</c:v>
                </c:pt>
                <c:pt idx="1537">
                  <c:v>11013.186909365515</c:v>
                </c:pt>
                <c:pt idx="1538">
                  <c:v>10844.236160389795</c:v>
                </c:pt>
                <c:pt idx="1539">
                  <c:v>10786.550577235877</c:v>
                </c:pt>
                <c:pt idx="1540">
                  <c:v>10795.854647469687</c:v>
                </c:pt>
                <c:pt idx="1541">
                  <c:v>10891.264081923633</c:v>
                </c:pt>
                <c:pt idx="1542">
                  <c:v>11128.950920864529</c:v>
                </c:pt>
                <c:pt idx="1543">
                  <c:v>11001.126237512915</c:v>
                </c:pt>
                <c:pt idx="1544">
                  <c:v>11231.730539155853</c:v>
                </c:pt>
                <c:pt idx="1545">
                  <c:v>11385.99444198884</c:v>
                </c:pt>
                <c:pt idx="1546">
                  <c:v>11510.507965109195</c:v>
                </c:pt>
                <c:pt idx="1547">
                  <c:v>11550.758375077525</c:v>
                </c:pt>
                <c:pt idx="1548">
                  <c:v>11453.608830192416</c:v>
                </c:pt>
                <c:pt idx="1549">
                  <c:v>11382.50450025646</c:v>
                </c:pt>
                <c:pt idx="1550">
                  <c:v>11284.363852457042</c:v>
                </c:pt>
                <c:pt idx="1551">
                  <c:v>11281.157500047639</c:v>
                </c:pt>
                <c:pt idx="1552">
                  <c:v>11378.12817617218</c:v>
                </c:pt>
                <c:pt idx="1553">
                  <c:v>11642.925877743024</c:v>
                </c:pt>
                <c:pt idx="1554">
                  <c:v>12142.707879478705</c:v>
                </c:pt>
                <c:pt idx="1555">
                  <c:v>12100.499180951267</c:v>
                </c:pt>
                <c:pt idx="1556">
                  <c:v>11644.629163802692</c:v>
                </c:pt>
                <c:pt idx="1557">
                  <c:v>11126.127704070557</c:v>
                </c:pt>
                <c:pt idx="1558">
                  <c:v>11257.995757019993</c:v>
                </c:pt>
                <c:pt idx="1559">
                  <c:v>11124.994887180444</c:v>
                </c:pt>
                <c:pt idx="1560">
                  <c:v>10859.78257647749</c:v>
                </c:pt>
                <c:pt idx="1561">
                  <c:v>10622.43923719317</c:v>
                </c:pt>
                <c:pt idx="1562">
                  <c:v>10408.069080340141</c:v>
                </c:pt>
                <c:pt idx="1563">
                  <c:v>10328.188387736449</c:v>
                </c:pt>
                <c:pt idx="1564">
                  <c:v>10389.197715050477</c:v>
                </c:pt>
                <c:pt idx="1565">
                  <c:v>10505.279976666485</c:v>
                </c:pt>
                <c:pt idx="1566">
                  <c:v>10678.23865819479</c:v>
                </c:pt>
                <c:pt idx="1567">
                  <c:v>10555.154385834192</c:v>
                </c:pt>
                <c:pt idx="1568">
                  <c:v>10759.736759368425</c:v>
                </c:pt>
                <c:pt idx="1569">
                  <c:v>11010.429106155279</c:v>
                </c:pt>
                <c:pt idx="1570">
                  <c:v>11234.548154956083</c:v>
                </c:pt>
                <c:pt idx="1571">
                  <c:v>11338.12015784872</c:v>
                </c:pt>
                <c:pt idx="1572">
                  <c:v>11265.620140682262</c:v>
                </c:pt>
                <c:pt idx="1573">
                  <c:v>11208.688109170862</c:v>
                </c:pt>
                <c:pt idx="1574">
                  <c:v>11135.986357721311</c:v>
                </c:pt>
                <c:pt idx="1575">
                  <c:v>11089.992414122873</c:v>
                </c:pt>
                <c:pt idx="1576">
                  <c:v>11171.016464211592</c:v>
                </c:pt>
                <c:pt idx="1577">
                  <c:v>11356.418890218143</c:v>
                </c:pt>
                <c:pt idx="1578">
                  <c:v>11915.795651219463</c:v>
                </c:pt>
                <c:pt idx="1579">
                  <c:v>12081.248859198633</c:v>
                </c:pt>
                <c:pt idx="1580">
                  <c:v>11815.46437835615</c:v>
                </c:pt>
                <c:pt idx="1581">
                  <c:v>11473.958252513759</c:v>
                </c:pt>
                <c:pt idx="1582">
                  <c:v>11573.635162985962</c:v>
                </c:pt>
                <c:pt idx="1583">
                  <c:v>11455.469645368603</c:v>
                </c:pt>
                <c:pt idx="1584">
                  <c:v>10992.173356801874</c:v>
                </c:pt>
                <c:pt idx="1585">
                  <c:v>10759.911245716909</c:v>
                </c:pt>
                <c:pt idx="1586">
                  <c:v>10702.340525810247</c:v>
                </c:pt>
                <c:pt idx="1587">
                  <c:v>10698.111003644315</c:v>
                </c:pt>
                <c:pt idx="1588">
                  <c:v>10844.072671457405</c:v>
                </c:pt>
                <c:pt idx="1589">
                  <c:v>11202.943991373415</c:v>
                </c:pt>
                <c:pt idx="1590">
                  <c:v>11945.70923952367</c:v>
                </c:pt>
                <c:pt idx="1591">
                  <c:v>12201.24664459043</c:v>
                </c:pt>
                <c:pt idx="1592">
                  <c:v>12471.976365336108</c:v>
                </c:pt>
                <c:pt idx="1593">
                  <c:v>12463.106703380179</c:v>
                </c:pt>
                <c:pt idx="1594">
                  <c:v>12168.677715800915</c:v>
                </c:pt>
                <c:pt idx="1595">
                  <c:v>12067.977690588312</c:v>
                </c:pt>
                <c:pt idx="1596">
                  <c:v>11888.389128565108</c:v>
                </c:pt>
                <c:pt idx="1597">
                  <c:v>11659.310257293017</c:v>
                </c:pt>
                <c:pt idx="1598">
                  <c:v>11508.580578592477</c:v>
                </c:pt>
                <c:pt idx="1599">
                  <c:v>11459.820810306168</c:v>
                </c:pt>
                <c:pt idx="1600">
                  <c:v>11452.000077297354</c:v>
                </c:pt>
                <c:pt idx="1601">
                  <c:v>11598.800318476491</c:v>
                </c:pt>
                <c:pt idx="1602">
                  <c:v>12085.652314300907</c:v>
                </c:pt>
                <c:pt idx="1603">
                  <c:v>12320.125024591822</c:v>
                </c:pt>
                <c:pt idx="1604">
                  <c:v>12240.288436928131</c:v>
                </c:pt>
                <c:pt idx="1605">
                  <c:v>11911.082864876871</c:v>
                </c:pt>
                <c:pt idx="1606">
                  <c:v>12091.687576278084</c:v>
                </c:pt>
                <c:pt idx="1607">
                  <c:v>11942.154963058394</c:v>
                </c:pt>
                <c:pt idx="1608">
                  <c:v>11719.971699376107</c:v>
                </c:pt>
                <c:pt idx="1609">
                  <c:v>11437.787647852962</c:v>
                </c:pt>
                <c:pt idx="1610">
                  <c:v>11307.780382848383</c:v>
                </c:pt>
                <c:pt idx="1611">
                  <c:v>11280.113419824866</c:v>
                </c:pt>
                <c:pt idx="1612">
                  <c:v>11348.050951687826</c:v>
                </c:pt>
                <c:pt idx="1613">
                  <c:v>11693.717108117671</c:v>
                </c:pt>
                <c:pt idx="1614">
                  <c:v>12403.879691334785</c:v>
                </c:pt>
                <c:pt idx="1615">
                  <c:v>12512.65062652081</c:v>
                </c:pt>
                <c:pt idx="1616">
                  <c:v>12675.171529071953</c:v>
                </c:pt>
                <c:pt idx="1617">
                  <c:v>12718.370245198648</c:v>
                </c:pt>
                <c:pt idx="1618">
                  <c:v>12644.168244738617</c:v>
                </c:pt>
                <c:pt idx="1619">
                  <c:v>12587.948462283166</c:v>
                </c:pt>
                <c:pt idx="1620">
                  <c:v>12474.858583875741</c:v>
                </c:pt>
                <c:pt idx="1621">
                  <c:v>12338.905675447513</c:v>
                </c:pt>
                <c:pt idx="1622">
                  <c:v>12275.151405141238</c:v>
                </c:pt>
                <c:pt idx="1623">
                  <c:v>12248.407435194398</c:v>
                </c:pt>
                <c:pt idx="1624">
                  <c:v>12235.520921928755</c:v>
                </c:pt>
                <c:pt idx="1625">
                  <c:v>12357.066383437235</c:v>
                </c:pt>
                <c:pt idx="1626">
                  <c:v>12777.769928243655</c:v>
                </c:pt>
                <c:pt idx="1627">
                  <c:v>13193.575812955462</c:v>
                </c:pt>
                <c:pt idx="1628">
                  <c:v>13107.266822578422</c:v>
                </c:pt>
                <c:pt idx="1629">
                  <c:v>12730.48809480208</c:v>
                </c:pt>
                <c:pt idx="1630">
                  <c:v>12818.190110680674</c:v>
                </c:pt>
                <c:pt idx="1631">
                  <c:v>12745.097473259901</c:v>
                </c:pt>
                <c:pt idx="1632">
                  <c:v>12426.289644076654</c:v>
                </c:pt>
                <c:pt idx="1633">
                  <c:v>12264.948387788625</c:v>
                </c:pt>
                <c:pt idx="1634">
                  <c:v>12140.12540035804</c:v>
                </c:pt>
                <c:pt idx="1635">
                  <c:v>12216.304726214616</c:v>
                </c:pt>
                <c:pt idx="1636">
                  <c:v>12399.136759645629</c:v>
                </c:pt>
                <c:pt idx="1637">
                  <c:v>12700.841405361054</c:v>
                </c:pt>
                <c:pt idx="1638">
                  <c:v>13336.792871601527</c:v>
                </c:pt>
                <c:pt idx="1639">
                  <c:v>13547.706103155044</c:v>
                </c:pt>
                <c:pt idx="1640">
                  <c:v>13783.399924036323</c:v>
                </c:pt>
                <c:pt idx="1641">
                  <c:v>13682.304916495894</c:v>
                </c:pt>
                <c:pt idx="1642">
                  <c:v>13409.384044889992</c:v>
                </c:pt>
                <c:pt idx="1643">
                  <c:v>13225.549985013955</c:v>
                </c:pt>
                <c:pt idx="1644">
                  <c:v>12970.382790831463</c:v>
                </c:pt>
                <c:pt idx="1645">
                  <c:v>12783.528436677372</c:v>
                </c:pt>
                <c:pt idx="1646">
                  <c:v>12572.586079462779</c:v>
                </c:pt>
                <c:pt idx="1647">
                  <c:v>12571.616885316413</c:v>
                </c:pt>
                <c:pt idx="1648">
                  <c:v>12565.874071305898</c:v>
                </c:pt>
                <c:pt idx="1649">
                  <c:v>12631.940965988937</c:v>
                </c:pt>
                <c:pt idx="1650">
                  <c:v>13170.267756019002</c:v>
                </c:pt>
                <c:pt idx="1651">
                  <c:v>13624.414876803588</c:v>
                </c:pt>
                <c:pt idx="1652">
                  <c:v>13452.444897539473</c:v>
                </c:pt>
                <c:pt idx="1653">
                  <c:v>12957.111705742667</c:v>
                </c:pt>
                <c:pt idx="1654">
                  <c:v>13001.18699640613</c:v>
                </c:pt>
                <c:pt idx="1655">
                  <c:v>12816.156840841084</c:v>
                </c:pt>
                <c:pt idx="1656">
                  <c:v>12515.483349442955</c:v>
                </c:pt>
                <c:pt idx="1657">
                  <c:v>12190.386404963983</c:v>
                </c:pt>
                <c:pt idx="1658">
                  <c:v>12046.573088919526</c:v>
                </c:pt>
                <c:pt idx="1659">
                  <c:v>12078.840259747631</c:v>
                </c:pt>
                <c:pt idx="1660">
                  <c:v>12148.95139675664</c:v>
                </c:pt>
                <c:pt idx="1661">
                  <c:v>12520.75827862967</c:v>
                </c:pt>
                <c:pt idx="1662">
                  <c:v>13102.033632600467</c:v>
                </c:pt>
                <c:pt idx="1663">
                  <c:v>13190.995570967745</c:v>
                </c:pt>
                <c:pt idx="1664">
                  <c:v>13339.967407669119</c:v>
                </c:pt>
                <c:pt idx="1665">
                  <c:v>13347.321009051167</c:v>
                </c:pt>
                <c:pt idx="1666">
                  <c:v>13203.661843282871</c:v>
                </c:pt>
                <c:pt idx="1667">
                  <c:v>13203.827904826496</c:v>
                </c:pt>
                <c:pt idx="1668">
                  <c:v>13054.571041958632</c:v>
                </c:pt>
                <c:pt idx="1669">
                  <c:v>12845.16785060513</c:v>
                </c:pt>
                <c:pt idx="1670">
                  <c:v>12697.293365516658</c:v>
                </c:pt>
                <c:pt idx="1671">
                  <c:v>12571.424880526862</c:v>
                </c:pt>
                <c:pt idx="1672">
                  <c:v>12530.138517543373</c:v>
                </c:pt>
                <c:pt idx="1673">
                  <c:v>12513.402128709657</c:v>
                </c:pt>
                <c:pt idx="1674">
                  <c:v>12718.322213021513</c:v>
                </c:pt>
                <c:pt idx="1675">
                  <c:v>13049.52832333331</c:v>
                </c:pt>
                <c:pt idx="1676">
                  <c:v>12866.797755519498</c:v>
                </c:pt>
                <c:pt idx="1677">
                  <c:v>12291.103567445076</c:v>
                </c:pt>
                <c:pt idx="1678">
                  <c:v>12361.623311024199</c:v>
                </c:pt>
                <c:pt idx="1679">
                  <c:v>12051.453576572212</c:v>
                </c:pt>
                <c:pt idx="1680">
                  <c:v>11661.357411430388</c:v>
                </c:pt>
                <c:pt idx="1681">
                  <c:v>11409.983453041794</c:v>
                </c:pt>
                <c:pt idx="1682">
                  <c:v>11215.51958646793</c:v>
                </c:pt>
                <c:pt idx="1683">
                  <c:v>11150.315997617106</c:v>
                </c:pt>
                <c:pt idx="1684">
                  <c:v>11199.767693496622</c:v>
                </c:pt>
                <c:pt idx="1685">
                  <c:v>11611.858772827829</c:v>
                </c:pt>
                <c:pt idx="1686">
                  <c:v>12220.749380258301</c:v>
                </c:pt>
                <c:pt idx="1687">
                  <c:v>12417.988327403284</c:v>
                </c:pt>
                <c:pt idx="1688">
                  <c:v>12472.34183523357</c:v>
                </c:pt>
                <c:pt idx="1689">
                  <c:v>12571.601005947161</c:v>
                </c:pt>
                <c:pt idx="1690">
                  <c:v>12428.663739898075</c:v>
                </c:pt>
                <c:pt idx="1691">
                  <c:v>12565.416305825425</c:v>
                </c:pt>
                <c:pt idx="1692">
                  <c:v>12540.715312782057</c:v>
                </c:pt>
                <c:pt idx="1693">
                  <c:v>12365.886364561951</c:v>
                </c:pt>
                <c:pt idx="1694">
                  <c:v>12292.28255909705</c:v>
                </c:pt>
                <c:pt idx="1695">
                  <c:v>12237.425203119479</c:v>
                </c:pt>
                <c:pt idx="1696">
                  <c:v>12206.99135861094</c:v>
                </c:pt>
                <c:pt idx="1697">
                  <c:v>12234.372180290729</c:v>
                </c:pt>
                <c:pt idx="1698">
                  <c:v>12432.716914094392</c:v>
                </c:pt>
                <c:pt idx="1699">
                  <c:v>12657.024773634825</c:v>
                </c:pt>
                <c:pt idx="1700">
                  <c:v>12377.519826133112</c:v>
                </c:pt>
                <c:pt idx="1701">
                  <c:v>11857.236164566719</c:v>
                </c:pt>
                <c:pt idx="1702">
                  <c:v>11851.740224364161</c:v>
                </c:pt>
                <c:pt idx="1703">
                  <c:v>11508.197912873326</c:v>
                </c:pt>
                <c:pt idx="1704">
                  <c:v>11067.507193222433</c:v>
                </c:pt>
                <c:pt idx="1705">
                  <c:v>10814.930474805295</c:v>
                </c:pt>
                <c:pt idx="1706">
                  <c:v>10590.419527224216</c:v>
                </c:pt>
                <c:pt idx="1707">
                  <c:v>10470.594563170644</c:v>
                </c:pt>
                <c:pt idx="1708">
                  <c:v>10438.739827020816</c:v>
                </c:pt>
                <c:pt idx="1709">
                  <c:v>10525.111444596929</c:v>
                </c:pt>
                <c:pt idx="1710">
                  <c:v>10615.759905542433</c:v>
                </c:pt>
                <c:pt idx="1711">
                  <c:v>10536.397559860796</c:v>
                </c:pt>
                <c:pt idx="1712">
                  <c:v>10793.542586444739</c:v>
                </c:pt>
                <c:pt idx="1713">
                  <c:v>10986.709517864114</c:v>
                </c:pt>
                <c:pt idx="1714">
                  <c:v>11100.162724202262</c:v>
                </c:pt>
                <c:pt idx="1715">
                  <c:v>11076.898071079964</c:v>
                </c:pt>
                <c:pt idx="1716">
                  <c:v>11031.672747515868</c:v>
                </c:pt>
                <c:pt idx="1717">
                  <c:v>10939.971450030414</c:v>
                </c:pt>
                <c:pt idx="1718">
                  <c:v>10862.011294038739</c:v>
                </c:pt>
                <c:pt idx="1719">
                  <c:v>10885.664198891789</c:v>
                </c:pt>
                <c:pt idx="1720">
                  <c:v>11070.349040696907</c:v>
                </c:pt>
                <c:pt idx="1721">
                  <c:v>11380.842045619373</c:v>
                </c:pt>
                <c:pt idx="1722">
                  <c:v>11781.634106377169</c:v>
                </c:pt>
                <c:pt idx="1723">
                  <c:v>11950.490798004366</c:v>
                </c:pt>
                <c:pt idx="1724">
                  <c:v>11533.226219057864</c:v>
                </c:pt>
                <c:pt idx="1725">
                  <c:v>11003.03901411472</c:v>
                </c:pt>
                <c:pt idx="1726">
                  <c:v>11042.200079864282</c:v>
                </c:pt>
                <c:pt idx="1727">
                  <c:v>10818.905806031045</c:v>
                </c:pt>
                <c:pt idx="1728">
                  <c:v>10435.618195791338</c:v>
                </c:pt>
                <c:pt idx="1729">
                  <c:v>10118.764639637542</c:v>
                </c:pt>
                <c:pt idx="1730">
                  <c:v>9884.5095024076636</c:v>
                </c:pt>
                <c:pt idx="1731">
                  <c:v>9852.0117072012872</c:v>
                </c:pt>
                <c:pt idx="1732">
                  <c:v>9850.8359642720825</c:v>
                </c:pt>
                <c:pt idx="1733">
                  <c:v>9947.1160841476812</c:v>
                </c:pt>
                <c:pt idx="1734">
                  <c:v>9989.834807105517</c:v>
                </c:pt>
                <c:pt idx="1735">
                  <c:v>9895.3477514995284</c:v>
                </c:pt>
                <c:pt idx="1736">
                  <c:v>10101.490375086589</c:v>
                </c:pt>
                <c:pt idx="1737">
                  <c:v>10354.337035783821</c:v>
                </c:pt>
                <c:pt idx="1738">
                  <c:v>10483.362081780373</c:v>
                </c:pt>
                <c:pt idx="1739">
                  <c:v>10571.929025992224</c:v>
                </c:pt>
                <c:pt idx="1740">
                  <c:v>10569.59929089891</c:v>
                </c:pt>
                <c:pt idx="1741">
                  <c:v>10472.880067736869</c:v>
                </c:pt>
                <c:pt idx="1742">
                  <c:v>10416.367912837402</c:v>
                </c:pt>
                <c:pt idx="1743">
                  <c:v>10442.732102757802</c:v>
                </c:pt>
                <c:pt idx="1744">
                  <c:v>10501.584025446609</c:v>
                </c:pt>
                <c:pt idx="1745">
                  <c:v>10651.788116493961</c:v>
                </c:pt>
                <c:pt idx="1746">
                  <c:v>10984.78020110794</c:v>
                </c:pt>
                <c:pt idx="1747">
                  <c:v>11214.089427025101</c:v>
                </c:pt>
                <c:pt idx="1748">
                  <c:v>10979.852207260294</c:v>
                </c:pt>
                <c:pt idx="1749">
                  <c:v>10508.027179691788</c:v>
                </c:pt>
                <c:pt idx="1750">
                  <c:v>10726.846180208295</c:v>
                </c:pt>
                <c:pt idx="1751">
                  <c:v>10615.42119518083</c:v>
                </c:pt>
                <c:pt idx="1752">
                  <c:v>10279.082575856506</c:v>
                </c:pt>
                <c:pt idx="1753">
                  <c:v>10049.218800825807</c:v>
                </c:pt>
                <c:pt idx="1754">
                  <c:v>9936.0658391002507</c:v>
                </c:pt>
                <c:pt idx="1755">
                  <c:v>9900.0327170965338</c:v>
                </c:pt>
                <c:pt idx="1756">
                  <c:v>9977.4138650649074</c:v>
                </c:pt>
                <c:pt idx="1757">
                  <c:v>10294.360869889095</c:v>
                </c:pt>
                <c:pt idx="1758">
                  <c:v>10878.004276475594</c:v>
                </c:pt>
                <c:pt idx="1759">
                  <c:v>11168.382275377888</c:v>
                </c:pt>
                <c:pt idx="1760">
                  <c:v>11413.72053636674</c:v>
                </c:pt>
                <c:pt idx="1761">
                  <c:v>11457.176778277042</c:v>
                </c:pt>
                <c:pt idx="1762">
                  <c:v>11500.159020668383</c:v>
                </c:pt>
                <c:pt idx="1763">
                  <c:v>11435.419654406474</c:v>
                </c:pt>
                <c:pt idx="1764">
                  <c:v>11456.166378140788</c:v>
                </c:pt>
                <c:pt idx="1765">
                  <c:v>11318.951121720034</c:v>
                </c:pt>
                <c:pt idx="1766">
                  <c:v>11266.887535575033</c:v>
                </c:pt>
                <c:pt idx="1767">
                  <c:v>11214.689599473009</c:v>
                </c:pt>
                <c:pt idx="1768">
                  <c:v>11201.279083260662</c:v>
                </c:pt>
                <c:pt idx="1769">
                  <c:v>11200.327265565056</c:v>
                </c:pt>
                <c:pt idx="1770">
                  <c:v>11324.396654206943</c:v>
                </c:pt>
                <c:pt idx="1771">
                  <c:v>11654.513591312718</c:v>
                </c:pt>
                <c:pt idx="1772">
                  <c:v>11483.976926172734</c:v>
                </c:pt>
                <c:pt idx="1773">
                  <c:v>11071.81524734427</c:v>
                </c:pt>
                <c:pt idx="1774">
                  <c:v>11139.765264983842</c:v>
                </c:pt>
                <c:pt idx="1775">
                  <c:v>10942.50981068404</c:v>
                </c:pt>
                <c:pt idx="1776">
                  <c:v>10552.481843842595</c:v>
                </c:pt>
                <c:pt idx="1777">
                  <c:v>10233.426677449377</c:v>
                </c:pt>
                <c:pt idx="1778">
                  <c:v>10024.415317503022</c:v>
                </c:pt>
                <c:pt idx="1779">
                  <c:v>9959.0119120796062</c:v>
                </c:pt>
                <c:pt idx="1780">
                  <c:v>10138.414874459693</c:v>
                </c:pt>
                <c:pt idx="1781">
                  <c:v>10458.518594321529</c:v>
                </c:pt>
                <c:pt idx="1782">
                  <c:v>11025.474625154689</c:v>
                </c:pt>
                <c:pt idx="1783">
                  <c:v>11354.516932655113</c:v>
                </c:pt>
                <c:pt idx="1784">
                  <c:v>11511.824805481821</c:v>
                </c:pt>
                <c:pt idx="1785">
                  <c:v>11529.602263505554</c:v>
                </c:pt>
                <c:pt idx="1786">
                  <c:v>11479.161028964543</c:v>
                </c:pt>
                <c:pt idx="1787">
                  <c:v>11480.79958940476</c:v>
                </c:pt>
                <c:pt idx="1788">
                  <c:v>11364.238521678097</c:v>
                </c:pt>
                <c:pt idx="1789">
                  <c:v>11204.92558475809</c:v>
                </c:pt>
                <c:pt idx="1790">
                  <c:v>11102.674563100883</c:v>
                </c:pt>
                <c:pt idx="1791">
                  <c:v>11018.397019253867</c:v>
                </c:pt>
                <c:pt idx="1792">
                  <c:v>11054.230111149431</c:v>
                </c:pt>
                <c:pt idx="1793">
                  <c:v>11136.056282596039</c:v>
                </c:pt>
                <c:pt idx="1794">
                  <c:v>11327.075713013599</c:v>
                </c:pt>
                <c:pt idx="1795">
                  <c:v>11782.320832159108</c:v>
                </c:pt>
                <c:pt idx="1796">
                  <c:v>11609.074421111163</c:v>
                </c:pt>
                <c:pt idx="1797">
                  <c:v>11114.437512772665</c:v>
                </c:pt>
                <c:pt idx="1798">
                  <c:v>11112.40677024224</c:v>
                </c:pt>
                <c:pt idx="1799">
                  <c:v>10926.649527184667</c:v>
                </c:pt>
                <c:pt idx="1800">
                  <c:v>10533.896359705042</c:v>
                </c:pt>
                <c:pt idx="1801">
                  <c:v>10248.860458003317</c:v>
                </c:pt>
                <c:pt idx="1802">
                  <c:v>10079.665456613224</c:v>
                </c:pt>
                <c:pt idx="1803">
                  <c:v>10059.315648410939</c:v>
                </c:pt>
                <c:pt idx="1804">
                  <c:v>10143.098114576704</c:v>
                </c:pt>
                <c:pt idx="1805">
                  <c:v>10425.680812882423</c:v>
                </c:pt>
                <c:pt idx="1806">
                  <c:v>11018.378055685002</c:v>
                </c:pt>
                <c:pt idx="1807">
                  <c:v>11273.059762843308</c:v>
                </c:pt>
                <c:pt idx="1808">
                  <c:v>11406.856928403231</c:v>
                </c:pt>
                <c:pt idx="1809">
                  <c:v>11413.961028035395</c:v>
                </c:pt>
                <c:pt idx="1810">
                  <c:v>11429.420698429685</c:v>
                </c:pt>
                <c:pt idx="1811">
                  <c:v>11393.637170487214</c:v>
                </c:pt>
                <c:pt idx="1812">
                  <c:v>11357.324025779344</c:v>
                </c:pt>
                <c:pt idx="1813">
                  <c:v>11209.671585201855</c:v>
                </c:pt>
                <c:pt idx="1814">
                  <c:v>11180.776738673685</c:v>
                </c:pt>
                <c:pt idx="1815">
                  <c:v>11150.078689313596</c:v>
                </c:pt>
                <c:pt idx="1816">
                  <c:v>11227.289778096074</c:v>
                </c:pt>
                <c:pt idx="1817">
                  <c:v>11302.479498505678</c:v>
                </c:pt>
                <c:pt idx="1818">
                  <c:v>11619.450444739423</c:v>
                </c:pt>
                <c:pt idx="1819">
                  <c:v>12005.625056778194</c:v>
                </c:pt>
                <c:pt idx="1820">
                  <c:v>11773.169158913184</c:v>
                </c:pt>
                <c:pt idx="1821">
                  <c:v>11276.085364619301</c:v>
                </c:pt>
                <c:pt idx="1822">
                  <c:v>11351.73047122565</c:v>
                </c:pt>
                <c:pt idx="1823">
                  <c:v>11143.803747677088</c:v>
                </c:pt>
                <c:pt idx="1824">
                  <c:v>10786.986694696792</c:v>
                </c:pt>
                <c:pt idx="1825">
                  <c:v>10567.696277229159</c:v>
                </c:pt>
                <c:pt idx="1826">
                  <c:v>10499.08590229197</c:v>
                </c:pt>
                <c:pt idx="1827">
                  <c:v>10418.144717729956</c:v>
                </c:pt>
                <c:pt idx="1828">
                  <c:v>10569.049583602544</c:v>
                </c:pt>
                <c:pt idx="1829">
                  <c:v>10898.09363172389</c:v>
                </c:pt>
                <c:pt idx="1830">
                  <c:v>11381.172024590896</c:v>
                </c:pt>
                <c:pt idx="1831">
                  <c:v>11673.975869914804</c:v>
                </c:pt>
                <c:pt idx="1832">
                  <c:v>11803.5847234511</c:v>
                </c:pt>
                <c:pt idx="1833">
                  <c:v>11858.522504130633</c:v>
                </c:pt>
                <c:pt idx="1834">
                  <c:v>11760.029088425721</c:v>
                </c:pt>
                <c:pt idx="1835">
                  <c:v>11627.08582635683</c:v>
                </c:pt>
                <c:pt idx="1836">
                  <c:v>11501.497782381448</c:v>
                </c:pt>
                <c:pt idx="1837">
                  <c:v>11379.530090288144</c:v>
                </c:pt>
                <c:pt idx="1838">
                  <c:v>11231.09134440058</c:v>
                </c:pt>
                <c:pt idx="1839">
                  <c:v>11194.587515843938</c:v>
                </c:pt>
                <c:pt idx="1840">
                  <c:v>11251.899912632856</c:v>
                </c:pt>
                <c:pt idx="1841">
                  <c:v>11385.718688836467</c:v>
                </c:pt>
                <c:pt idx="1842">
                  <c:v>11617.00365603012</c:v>
                </c:pt>
                <c:pt idx="1843">
                  <c:v>12141.33233351031</c:v>
                </c:pt>
                <c:pt idx="1844">
                  <c:v>12019.87680621789</c:v>
                </c:pt>
                <c:pt idx="1845">
                  <c:v>11568.925780172582</c:v>
                </c:pt>
                <c:pt idx="1846">
                  <c:v>11615.72614398453</c:v>
                </c:pt>
                <c:pt idx="1847">
                  <c:v>11450.645262238784</c:v>
                </c:pt>
                <c:pt idx="1848">
                  <c:v>11075.16319932831</c:v>
                </c:pt>
                <c:pt idx="1849">
                  <c:v>10834.575018857129</c:v>
                </c:pt>
                <c:pt idx="1850">
                  <c:v>10784.650668512155</c:v>
                </c:pt>
                <c:pt idx="1851">
                  <c:v>10819.339379223582</c:v>
                </c:pt>
                <c:pt idx="1852">
                  <c:v>10961.055894160947</c:v>
                </c:pt>
                <c:pt idx="1853">
                  <c:v>11325.951167315199</c:v>
                </c:pt>
                <c:pt idx="1854">
                  <c:v>11860.934299686292</c:v>
                </c:pt>
                <c:pt idx="1855">
                  <c:v>12200.439495814213</c:v>
                </c:pt>
                <c:pt idx="1856">
                  <c:v>12320.604610727833</c:v>
                </c:pt>
                <c:pt idx="1857">
                  <c:v>12207.964181789759</c:v>
                </c:pt>
                <c:pt idx="1858">
                  <c:v>11966.881529230179</c:v>
                </c:pt>
                <c:pt idx="1859">
                  <c:v>11834.525980399947</c:v>
                </c:pt>
                <c:pt idx="1860">
                  <c:v>11640.457695503646</c:v>
                </c:pt>
                <c:pt idx="1861">
                  <c:v>11514.752710019975</c:v>
                </c:pt>
                <c:pt idx="1862">
                  <c:v>11404.56260254036</c:v>
                </c:pt>
                <c:pt idx="1863">
                  <c:v>11416.236145112554</c:v>
                </c:pt>
                <c:pt idx="1864">
                  <c:v>11489.481267352057</c:v>
                </c:pt>
                <c:pt idx="1865">
                  <c:v>11605.158482004503</c:v>
                </c:pt>
                <c:pt idx="1866">
                  <c:v>11773.470702311512</c:v>
                </c:pt>
                <c:pt idx="1867">
                  <c:v>12315.171689642131</c:v>
                </c:pt>
                <c:pt idx="1868">
                  <c:v>12114.089105732637</c:v>
                </c:pt>
                <c:pt idx="1869">
                  <c:v>11698.551948449318</c:v>
                </c:pt>
                <c:pt idx="1870">
                  <c:v>11802.103864000768</c:v>
                </c:pt>
                <c:pt idx="1871">
                  <c:v>11586.794523439643</c:v>
                </c:pt>
                <c:pt idx="1872">
                  <c:v>11218.778060502671</c:v>
                </c:pt>
                <c:pt idx="1873">
                  <c:v>10921.110104136043</c:v>
                </c:pt>
                <c:pt idx="1874">
                  <c:v>10724.38090499282</c:v>
                </c:pt>
                <c:pt idx="1875">
                  <c:v>10661.464457016582</c:v>
                </c:pt>
                <c:pt idx="1876">
                  <c:v>10598.747277361585</c:v>
                </c:pt>
                <c:pt idx="1877">
                  <c:v>10666.960866430098</c:v>
                </c:pt>
                <c:pt idx="1878">
                  <c:v>10660.428022422047</c:v>
                </c:pt>
                <c:pt idx="1879">
                  <c:v>10724.673072880025</c:v>
                </c:pt>
                <c:pt idx="1880">
                  <c:v>11001.721451493031</c:v>
                </c:pt>
                <c:pt idx="1881">
                  <c:v>11168.848139516942</c:v>
                </c:pt>
                <c:pt idx="1882">
                  <c:v>11237.552919612774</c:v>
                </c:pt>
                <c:pt idx="1883">
                  <c:v>11261.372156464855</c:v>
                </c:pt>
                <c:pt idx="1884">
                  <c:v>11178.089626334053</c:v>
                </c:pt>
                <c:pt idx="1885">
                  <c:v>11094.200534130021</c:v>
                </c:pt>
                <c:pt idx="1886">
                  <c:v>11049.101443828291</c:v>
                </c:pt>
                <c:pt idx="1887">
                  <c:v>11013.699170021773</c:v>
                </c:pt>
                <c:pt idx="1888">
                  <c:v>11120.027948741801</c:v>
                </c:pt>
                <c:pt idx="1889">
                  <c:v>11392.06234451411</c:v>
                </c:pt>
                <c:pt idx="1890">
                  <c:v>11683.036528133392</c:v>
                </c:pt>
                <c:pt idx="1891">
                  <c:v>11837.224882620694</c:v>
                </c:pt>
                <c:pt idx="1892">
                  <c:v>11432.557689870056</c:v>
                </c:pt>
                <c:pt idx="1893">
                  <c:v>10803.058412445287</c:v>
                </c:pt>
                <c:pt idx="1894">
                  <c:v>10878.148601291172</c:v>
                </c:pt>
                <c:pt idx="1895">
                  <c:v>10597.289568371656</c:v>
                </c:pt>
                <c:pt idx="1896">
                  <c:v>10180.914185627336</c:v>
                </c:pt>
                <c:pt idx="1897">
                  <c:v>9859.1973557986021</c:v>
                </c:pt>
                <c:pt idx="1898">
                  <c:v>9674.2543734759693</c:v>
                </c:pt>
                <c:pt idx="1899">
                  <c:v>9592.4882730595891</c:v>
                </c:pt>
                <c:pt idx="1900">
                  <c:v>9596.5353150127958</c:v>
                </c:pt>
                <c:pt idx="1901">
                  <c:v>9643.9033090417543</c:v>
                </c:pt>
                <c:pt idx="1902">
                  <c:v>9587.3983288814252</c:v>
                </c:pt>
                <c:pt idx="1903">
                  <c:v>9643.2198632138752</c:v>
                </c:pt>
                <c:pt idx="1904">
                  <c:v>9824.6345141199745</c:v>
                </c:pt>
                <c:pt idx="1905">
                  <c:v>10015.113615487633</c:v>
                </c:pt>
                <c:pt idx="1906">
                  <c:v>10176.693351338101</c:v>
                </c:pt>
                <c:pt idx="1907">
                  <c:v>10216.396246391569</c:v>
                </c:pt>
                <c:pt idx="1908">
                  <c:v>10219.182067324122</c:v>
                </c:pt>
                <c:pt idx="1909">
                  <c:v>10101.859452263798</c:v>
                </c:pt>
                <c:pt idx="1910">
                  <c:v>10079.367604305266</c:v>
                </c:pt>
                <c:pt idx="1911">
                  <c:v>10122.996119527181</c:v>
                </c:pt>
                <c:pt idx="1912">
                  <c:v>10285.675769942092</c:v>
                </c:pt>
                <c:pt idx="1913">
                  <c:v>10452.733428822581</c:v>
                </c:pt>
                <c:pt idx="1914">
                  <c:v>10703.725333097016</c:v>
                </c:pt>
                <c:pt idx="1915">
                  <c:v>11244.181530456299</c:v>
                </c:pt>
                <c:pt idx="1916">
                  <c:v>11082.39811299139</c:v>
                </c:pt>
                <c:pt idx="1917">
                  <c:v>10667.2607598141</c:v>
                </c:pt>
                <c:pt idx="1918">
                  <c:v>10903.960872079613</c:v>
                </c:pt>
                <c:pt idx="1919">
                  <c:v>10770.673721473611</c:v>
                </c:pt>
                <c:pt idx="1920">
                  <c:v>10410.351817068926</c:v>
                </c:pt>
                <c:pt idx="1921">
                  <c:v>10195.526183343643</c:v>
                </c:pt>
                <c:pt idx="1922">
                  <c:v>10079.311283186635</c:v>
                </c:pt>
                <c:pt idx="1923">
                  <c:v>10066.372841656657</c:v>
                </c:pt>
                <c:pt idx="1924">
                  <c:v>10233.347045591341</c:v>
                </c:pt>
                <c:pt idx="1925">
                  <c:v>10609.847502547429</c:v>
                </c:pt>
                <c:pt idx="1926">
                  <c:v>11149.684882756908</c:v>
                </c:pt>
                <c:pt idx="1927">
                  <c:v>11508.567576616746</c:v>
                </c:pt>
                <c:pt idx="1928">
                  <c:v>11671.066627760312</c:v>
                </c:pt>
                <c:pt idx="1929">
                  <c:v>11500.414781435033</c:v>
                </c:pt>
                <c:pt idx="1930">
                  <c:v>11261.865531426743</c:v>
                </c:pt>
                <c:pt idx="1931">
                  <c:v>11151.278062287671</c:v>
                </c:pt>
                <c:pt idx="1932">
                  <c:v>11005.462089612547</c:v>
                </c:pt>
                <c:pt idx="1933">
                  <c:v>10783.868648816069</c:v>
                </c:pt>
                <c:pt idx="1934">
                  <c:v>10675.187054745174</c:v>
                </c:pt>
                <c:pt idx="1935">
                  <c:v>10626.832871106508</c:v>
                </c:pt>
                <c:pt idx="1936">
                  <c:v>10580.838457346868</c:v>
                </c:pt>
                <c:pt idx="1937">
                  <c:v>10645.36297816876</c:v>
                </c:pt>
                <c:pt idx="1938">
                  <c:v>10877.782497507238</c:v>
                </c:pt>
                <c:pt idx="1939">
                  <c:v>11375.833904468638</c:v>
                </c:pt>
                <c:pt idx="1940">
                  <c:v>11340.418705016813</c:v>
                </c:pt>
                <c:pt idx="1941">
                  <c:v>10945.807803106205</c:v>
                </c:pt>
                <c:pt idx="1942">
                  <c:v>11120.298981073107</c:v>
                </c:pt>
                <c:pt idx="1943">
                  <c:v>10948.688150730264</c:v>
                </c:pt>
                <c:pt idx="1944">
                  <c:v>10578.855748511211</c:v>
                </c:pt>
                <c:pt idx="1945">
                  <c:v>10322.507826150748</c:v>
                </c:pt>
                <c:pt idx="1946">
                  <c:v>10179.723406255871</c:v>
                </c:pt>
                <c:pt idx="1947">
                  <c:v>10058.650376612239</c:v>
                </c:pt>
                <c:pt idx="1948">
                  <c:v>10102.772655775469</c:v>
                </c:pt>
                <c:pt idx="1949">
                  <c:v>10386.9454841598</c:v>
                </c:pt>
                <c:pt idx="1950">
                  <c:v>10911.328390618186</c:v>
                </c:pt>
                <c:pt idx="1951">
                  <c:v>11152.312548070327</c:v>
                </c:pt>
                <c:pt idx="1952">
                  <c:v>11308.085197339125</c:v>
                </c:pt>
                <c:pt idx="1953">
                  <c:v>11171.672799622898</c:v>
                </c:pt>
                <c:pt idx="1954">
                  <c:v>11037.018038854992</c:v>
                </c:pt>
                <c:pt idx="1955">
                  <c:v>10886.324085178585</c:v>
                </c:pt>
                <c:pt idx="1956">
                  <c:v>10703.223752423724</c:v>
                </c:pt>
                <c:pt idx="1957">
                  <c:v>10498.098880149175</c:v>
                </c:pt>
                <c:pt idx="1958">
                  <c:v>10341.221313538292</c:v>
                </c:pt>
                <c:pt idx="1959">
                  <c:v>10332.130264882897</c:v>
                </c:pt>
                <c:pt idx="1960">
                  <c:v>10335.791339605337</c:v>
                </c:pt>
                <c:pt idx="1961">
                  <c:v>10369.948477840102</c:v>
                </c:pt>
                <c:pt idx="1962">
                  <c:v>10493.665071877027</c:v>
                </c:pt>
                <c:pt idx="1963">
                  <c:v>11073.536233245854</c:v>
                </c:pt>
                <c:pt idx="1964">
                  <c:v>10928.054508056921</c:v>
                </c:pt>
                <c:pt idx="1965">
                  <c:v>10408.345211633035</c:v>
                </c:pt>
                <c:pt idx="1966">
                  <c:v>10431.029838250523</c:v>
                </c:pt>
                <c:pt idx="1967">
                  <c:v>10218.76617168761</c:v>
                </c:pt>
                <c:pt idx="1968">
                  <c:v>9778.747647252254</c:v>
                </c:pt>
                <c:pt idx="1969">
                  <c:v>9469.6496414526791</c:v>
                </c:pt>
                <c:pt idx="1970">
                  <c:v>9277.6601435771117</c:v>
                </c:pt>
                <c:pt idx="1971">
                  <c:v>9245.8739427023465</c:v>
                </c:pt>
                <c:pt idx="1972">
                  <c:v>9293.3853499283796</c:v>
                </c:pt>
                <c:pt idx="1973">
                  <c:v>9645.1737640827887</c:v>
                </c:pt>
                <c:pt idx="1974">
                  <c:v>10186.065579792192</c:v>
                </c:pt>
                <c:pt idx="1975">
                  <c:v>10527.420480173298</c:v>
                </c:pt>
                <c:pt idx="1976">
                  <c:v>10594.85044235645</c:v>
                </c:pt>
                <c:pt idx="1977">
                  <c:v>10509.202291755575</c:v>
                </c:pt>
                <c:pt idx="1978">
                  <c:v>10492.205631324881</c:v>
                </c:pt>
                <c:pt idx="1979">
                  <c:v>10562.911359384871</c:v>
                </c:pt>
                <c:pt idx="1980">
                  <c:v>10563.842788853695</c:v>
                </c:pt>
                <c:pt idx="1981">
                  <c:v>10475.848451820028</c:v>
                </c:pt>
                <c:pt idx="1982">
                  <c:v>10482.367929558706</c:v>
                </c:pt>
                <c:pt idx="1983">
                  <c:v>10552.107724655691</c:v>
                </c:pt>
                <c:pt idx="1984">
                  <c:v>10595.054195866009</c:v>
                </c:pt>
                <c:pt idx="1985">
                  <c:v>10729.322032625221</c:v>
                </c:pt>
                <c:pt idx="1986">
                  <c:v>10861.90889124414</c:v>
                </c:pt>
                <c:pt idx="1987">
                  <c:v>11336.579737138321</c:v>
                </c:pt>
                <c:pt idx="1988">
                  <c:v>11150.961147394033</c:v>
                </c:pt>
                <c:pt idx="1989">
                  <c:v>10579.830986482746</c:v>
                </c:pt>
                <c:pt idx="1990">
                  <c:v>10607.24339422879</c:v>
                </c:pt>
                <c:pt idx="1991">
                  <c:v>10323.268349108528</c:v>
                </c:pt>
                <c:pt idx="1992">
                  <c:v>9906.8067651681995</c:v>
                </c:pt>
                <c:pt idx="1993">
                  <c:v>9602.6581064361162</c:v>
                </c:pt>
                <c:pt idx="1994">
                  <c:v>9378.7469058391362</c:v>
                </c:pt>
                <c:pt idx="1995">
                  <c:v>9377.2716821623126</c:v>
                </c:pt>
                <c:pt idx="1996">
                  <c:v>9473.9128524411608</c:v>
                </c:pt>
                <c:pt idx="1997">
                  <c:v>9780.3603777747867</c:v>
                </c:pt>
                <c:pt idx="1998">
                  <c:v>10320.116514562669</c:v>
                </c:pt>
                <c:pt idx="1999">
                  <c:v>10691.367322237133</c:v>
                </c:pt>
                <c:pt idx="2000">
                  <c:v>10832.619695608413</c:v>
                </c:pt>
                <c:pt idx="2001">
                  <c:v>10779.259166161948</c:v>
                </c:pt>
                <c:pt idx="2002">
                  <c:v>10613.535018758776</c:v>
                </c:pt>
                <c:pt idx="2003">
                  <c:v>10505.508951501524</c:v>
                </c:pt>
                <c:pt idx="2004">
                  <c:v>10397.505910506825</c:v>
                </c:pt>
                <c:pt idx="2005">
                  <c:v>10191.836845853681</c:v>
                </c:pt>
                <c:pt idx="2006">
                  <c:v>10097.647418860666</c:v>
                </c:pt>
                <c:pt idx="2007">
                  <c:v>10054.417328363421</c:v>
                </c:pt>
                <c:pt idx="2008">
                  <c:v>10082.132586618014</c:v>
                </c:pt>
                <c:pt idx="2009">
                  <c:v>10172.784659112596</c:v>
                </c:pt>
                <c:pt idx="2010">
                  <c:v>10359.492352916966</c:v>
                </c:pt>
                <c:pt idx="2011">
                  <c:v>10880.03966437971</c:v>
                </c:pt>
                <c:pt idx="2012">
                  <c:v>10927.687845418428</c:v>
                </c:pt>
                <c:pt idx="2013">
                  <c:v>10497.46694618547</c:v>
                </c:pt>
                <c:pt idx="2014">
                  <c:v>10560.275818318158</c:v>
                </c:pt>
                <c:pt idx="2015">
                  <c:v>10359.621294051587</c:v>
                </c:pt>
                <c:pt idx="2016">
                  <c:v>9990.644456479833</c:v>
                </c:pt>
                <c:pt idx="2017">
                  <c:v>9700.6148153132945</c:v>
                </c:pt>
                <c:pt idx="2018">
                  <c:v>9527.8973110023235</c:v>
                </c:pt>
                <c:pt idx="2019">
                  <c:v>9559.0526759377626</c:v>
                </c:pt>
                <c:pt idx="2020">
                  <c:v>9694.4685436284162</c:v>
                </c:pt>
                <c:pt idx="2021">
                  <c:v>10001.834145573537</c:v>
                </c:pt>
                <c:pt idx="2022">
                  <c:v>10549.72964579849</c:v>
                </c:pt>
                <c:pt idx="2023">
                  <c:v>10949.888023017198</c:v>
                </c:pt>
                <c:pt idx="2024">
                  <c:v>11124.229369314078</c:v>
                </c:pt>
                <c:pt idx="2025">
                  <c:v>11098.054752572049</c:v>
                </c:pt>
                <c:pt idx="2026">
                  <c:v>10917.063389324094</c:v>
                </c:pt>
                <c:pt idx="2027">
                  <c:v>10817.862811627587</c:v>
                </c:pt>
                <c:pt idx="2028">
                  <c:v>10586.824757716658</c:v>
                </c:pt>
                <c:pt idx="2029">
                  <c:v>10365.631885105191</c:v>
                </c:pt>
                <c:pt idx="2030">
                  <c:v>10230.781242369188</c:v>
                </c:pt>
                <c:pt idx="2031">
                  <c:v>10189.659977529684</c:v>
                </c:pt>
                <c:pt idx="2032">
                  <c:v>10260.679393250963</c:v>
                </c:pt>
                <c:pt idx="2033">
                  <c:v>10332.407845350581</c:v>
                </c:pt>
                <c:pt idx="2034">
                  <c:v>10542.353915359603</c:v>
                </c:pt>
                <c:pt idx="2035">
                  <c:v>11019.954088488681</c:v>
                </c:pt>
                <c:pt idx="2036">
                  <c:v>10887.642732724808</c:v>
                </c:pt>
                <c:pt idx="2037">
                  <c:v>10405.140890921064</c:v>
                </c:pt>
                <c:pt idx="2038">
                  <c:v>10427.003349775223</c:v>
                </c:pt>
                <c:pt idx="2039">
                  <c:v>10138.224049675227</c:v>
                </c:pt>
                <c:pt idx="2040">
                  <c:v>9585.7416149974069</c:v>
                </c:pt>
                <c:pt idx="2041">
                  <c:v>9341.6692836386464</c:v>
                </c:pt>
                <c:pt idx="2042">
                  <c:v>9132.5897983308751</c:v>
                </c:pt>
                <c:pt idx="2043">
                  <c:v>9107.0736856993626</c:v>
                </c:pt>
                <c:pt idx="2044">
                  <c:v>9155.6283690678465</c:v>
                </c:pt>
                <c:pt idx="2045">
                  <c:v>9223.8483638538892</c:v>
                </c:pt>
                <c:pt idx="2046">
                  <c:v>9252.6509647840903</c:v>
                </c:pt>
                <c:pt idx="2047">
                  <c:v>9381.5708665623697</c:v>
                </c:pt>
                <c:pt idx="2048">
                  <c:v>9662.5600123736367</c:v>
                </c:pt>
                <c:pt idx="2049">
                  <c:v>9796.3605448850922</c:v>
                </c:pt>
                <c:pt idx="2050">
                  <c:v>9803.413090732518</c:v>
                </c:pt>
                <c:pt idx="2051">
                  <c:v>9763.2126052674794</c:v>
                </c:pt>
                <c:pt idx="2052">
                  <c:v>9665.0166267767108</c:v>
                </c:pt>
                <c:pt idx="2053">
                  <c:v>9615.1587748486108</c:v>
                </c:pt>
                <c:pt idx="2054">
                  <c:v>9549.2633346090297</c:v>
                </c:pt>
                <c:pt idx="2055">
                  <c:v>9543.6916617698662</c:v>
                </c:pt>
                <c:pt idx="2056">
                  <c:v>9689.1124372216491</c:v>
                </c:pt>
                <c:pt idx="2057">
                  <c:v>9976.0256657357349</c:v>
                </c:pt>
                <c:pt idx="2058">
                  <c:v>10328.533226242947</c:v>
                </c:pt>
                <c:pt idx="2059">
                  <c:v>10707.089800742351</c:v>
                </c:pt>
                <c:pt idx="2060">
                  <c:v>10379.461947536533</c:v>
                </c:pt>
                <c:pt idx="2061">
                  <c:v>9833.0192288993658</c:v>
                </c:pt>
                <c:pt idx="2062">
                  <c:v>9886.4777623887803</c:v>
                </c:pt>
                <c:pt idx="2063">
                  <c:v>9734.7375376551026</c:v>
                </c:pt>
                <c:pt idx="2064">
                  <c:v>9412.4730775668977</c:v>
                </c:pt>
                <c:pt idx="2065">
                  <c:v>9092.1907465981621</c:v>
                </c:pt>
                <c:pt idx="2066">
                  <c:v>8904.2766054571475</c:v>
                </c:pt>
                <c:pt idx="2067">
                  <c:v>8871.9881148954082</c:v>
                </c:pt>
                <c:pt idx="2068">
                  <c:v>8919.4939832789605</c:v>
                </c:pt>
                <c:pt idx="2069">
                  <c:v>8905.4619134756176</c:v>
                </c:pt>
                <c:pt idx="2070">
                  <c:v>8848.4680794789037</c:v>
                </c:pt>
                <c:pt idx="2071">
                  <c:v>9069.5278096155525</c:v>
                </c:pt>
                <c:pt idx="2072">
                  <c:v>9314.8491762406629</c:v>
                </c:pt>
                <c:pt idx="2073">
                  <c:v>9478.0168647780865</c:v>
                </c:pt>
                <c:pt idx="2074">
                  <c:v>9558.9330618624626</c:v>
                </c:pt>
                <c:pt idx="2075">
                  <c:v>9609.2146636474918</c:v>
                </c:pt>
                <c:pt idx="2076">
                  <c:v>9617.0376697187494</c:v>
                </c:pt>
                <c:pt idx="2077">
                  <c:v>9523.0694987677689</c:v>
                </c:pt>
                <c:pt idx="2078">
                  <c:v>9444.010121445448</c:v>
                </c:pt>
                <c:pt idx="2079">
                  <c:v>9471.926349279951</c:v>
                </c:pt>
                <c:pt idx="2080">
                  <c:v>9595.2872546561666</c:v>
                </c:pt>
                <c:pt idx="2081">
                  <c:v>9719.2059944060129</c:v>
                </c:pt>
                <c:pt idx="2082">
                  <c:v>9942.1949294578117</c:v>
                </c:pt>
                <c:pt idx="2083">
                  <c:v>10226.750310399237</c:v>
                </c:pt>
                <c:pt idx="2084">
                  <c:v>9985.3475712846412</c:v>
                </c:pt>
                <c:pt idx="2085">
                  <c:v>10156.60629861638</c:v>
                </c:pt>
                <c:pt idx="2086">
                  <c:v>9989.2101124791625</c:v>
                </c:pt>
                <c:pt idx="2087">
                  <c:v>9666.7387145396933</c:v>
                </c:pt>
                <c:pt idx="2088">
                  <c:v>9346.1580046400577</c:v>
                </c:pt>
                <c:pt idx="2089">
                  <c:v>9248.5908603039243</c:v>
                </c:pt>
                <c:pt idx="2090">
                  <c:v>9165.0613273165927</c:v>
                </c:pt>
                <c:pt idx="2091">
                  <c:v>9235.4378452563124</c:v>
                </c:pt>
                <c:pt idx="2092">
                  <c:v>9540.8308062631695</c:v>
                </c:pt>
                <c:pt idx="2093">
                  <c:v>10312.888171894088</c:v>
                </c:pt>
                <c:pt idx="2094">
                  <c:v>10651.646133910679</c:v>
                </c:pt>
                <c:pt idx="2095">
                  <c:v>11040.7715273185</c:v>
                </c:pt>
                <c:pt idx="2096">
                  <c:v>11135.586596360226</c:v>
                </c:pt>
                <c:pt idx="2097">
                  <c:v>11189.076875859499</c:v>
                </c:pt>
                <c:pt idx="2098">
                  <c:v>11247.158646461394</c:v>
                </c:pt>
                <c:pt idx="2099">
                  <c:v>11207.280496740355</c:v>
                </c:pt>
                <c:pt idx="2100">
                  <c:v>11048.788374031195</c:v>
                </c:pt>
                <c:pt idx="2101">
                  <c:v>10924.832736581335</c:v>
                </c:pt>
                <c:pt idx="2102">
                  <c:v>10862.664733197042</c:v>
                </c:pt>
                <c:pt idx="2103">
                  <c:v>10795.19967343879</c:v>
                </c:pt>
                <c:pt idx="2104">
                  <c:v>10822.821903947872</c:v>
                </c:pt>
                <c:pt idx="2105">
                  <c:v>10826.977461999921</c:v>
                </c:pt>
                <c:pt idx="2106">
                  <c:v>10900.27911666103</c:v>
                </c:pt>
                <c:pt idx="2107">
                  <c:v>11046.166521586842</c:v>
                </c:pt>
                <c:pt idx="2108">
                  <c:v>10614.604089808217</c:v>
                </c:pt>
                <c:pt idx="2109">
                  <c:v>10617.802619160258</c:v>
                </c:pt>
                <c:pt idx="2110">
                  <c:v>10423.219950236518</c:v>
                </c:pt>
                <c:pt idx="2111">
                  <c:v>9969.5742859644488</c:v>
                </c:pt>
                <c:pt idx="2112">
                  <c:v>9585.708700216579</c:v>
                </c:pt>
                <c:pt idx="2113">
                  <c:v>9367.4802034578715</c:v>
                </c:pt>
                <c:pt idx="2114">
                  <c:v>9351.8367998490539</c:v>
                </c:pt>
                <c:pt idx="2115">
                  <c:v>9346.7257770456872</c:v>
                </c:pt>
                <c:pt idx="2116">
                  <c:v>9613.2699150283534</c:v>
                </c:pt>
                <c:pt idx="2117">
                  <c:v>10254.886664493501</c:v>
                </c:pt>
                <c:pt idx="2118">
                  <c:v>10553.232897689752</c:v>
                </c:pt>
                <c:pt idx="2119">
                  <c:v>10812.296157316388</c:v>
                </c:pt>
                <c:pt idx="2120">
                  <c:v>10865.023900737033</c:v>
                </c:pt>
                <c:pt idx="2121">
                  <c:v>10779.900172842876</c:v>
                </c:pt>
                <c:pt idx="2122">
                  <c:v>10731.60633618732</c:v>
                </c:pt>
                <c:pt idx="2123">
                  <c:v>10643.098160806252</c:v>
                </c:pt>
                <c:pt idx="2124">
                  <c:v>10466.345249324753</c:v>
                </c:pt>
                <c:pt idx="2125">
                  <c:v>10330.954429227861</c:v>
                </c:pt>
                <c:pt idx="2126">
                  <c:v>10268.02244470416</c:v>
                </c:pt>
                <c:pt idx="2127">
                  <c:v>10237.623961821813</c:v>
                </c:pt>
                <c:pt idx="2128">
                  <c:v>10274.28259349056</c:v>
                </c:pt>
                <c:pt idx="2129">
                  <c:v>10306.143511225446</c:v>
                </c:pt>
                <c:pt idx="2130">
                  <c:v>10439.310358528157</c:v>
                </c:pt>
                <c:pt idx="2131">
                  <c:v>10753.073197876793</c:v>
                </c:pt>
                <c:pt idx="2132">
                  <c:v>10527.897688067309</c:v>
                </c:pt>
                <c:pt idx="2133">
                  <c:v>10482.394356298677</c:v>
                </c:pt>
                <c:pt idx="2134">
                  <c:v>10260.8837527101</c:v>
                </c:pt>
                <c:pt idx="2135">
                  <c:v>9809.7821014212404</c:v>
                </c:pt>
                <c:pt idx="2136">
                  <c:v>9507.0231286071321</c:v>
                </c:pt>
                <c:pt idx="2137">
                  <c:v>9323.5911138118863</c:v>
                </c:pt>
                <c:pt idx="2138">
                  <c:v>9238.3958321027185</c:v>
                </c:pt>
                <c:pt idx="2139">
                  <c:v>9333.7133245155346</c:v>
                </c:pt>
                <c:pt idx="2140">
                  <c:v>9606.7403404591096</c:v>
                </c:pt>
                <c:pt idx="2141">
                  <c:v>10289.435797030263</c:v>
                </c:pt>
                <c:pt idx="2142">
                  <c:v>10598.214506757529</c:v>
                </c:pt>
                <c:pt idx="2143">
                  <c:v>10755.169744249068</c:v>
                </c:pt>
                <c:pt idx="2144">
                  <c:v>10816.404891241615</c:v>
                </c:pt>
                <c:pt idx="2145">
                  <c:v>10623.719017575204</c:v>
                </c:pt>
                <c:pt idx="2146">
                  <c:v>10468.709704439176</c:v>
                </c:pt>
                <c:pt idx="2147">
                  <c:v>10293.928593028977</c:v>
                </c:pt>
                <c:pt idx="2148">
                  <c:v>10136.533463991849</c:v>
                </c:pt>
                <c:pt idx="2149">
                  <c:v>9987.8620273158631</c:v>
                </c:pt>
                <c:pt idx="2150">
                  <c:v>9956.9640061120735</c:v>
                </c:pt>
                <c:pt idx="2151">
                  <c:v>9959.753647722373</c:v>
                </c:pt>
                <c:pt idx="2152">
                  <c:v>10038.803038022579</c:v>
                </c:pt>
                <c:pt idx="2153">
                  <c:v>10164.372176304816</c:v>
                </c:pt>
                <c:pt idx="2154">
                  <c:v>10377.077607399104</c:v>
                </c:pt>
                <c:pt idx="2155">
                  <c:v>10656.701191711276</c:v>
                </c:pt>
                <c:pt idx="2156">
                  <c:v>10482.951405547037</c:v>
                </c:pt>
                <c:pt idx="2157">
                  <c:v>10455.534279719006</c:v>
                </c:pt>
                <c:pt idx="2158">
                  <c:v>10216.96754609826</c:v>
                </c:pt>
                <c:pt idx="2159">
                  <c:v>9787.9362177063813</c:v>
                </c:pt>
                <c:pt idx="2160">
                  <c:v>9440.336518479744</c:v>
                </c:pt>
                <c:pt idx="2161">
                  <c:v>9234.479394590353</c:v>
                </c:pt>
                <c:pt idx="2162">
                  <c:v>9231.504416787282</c:v>
                </c:pt>
                <c:pt idx="2163">
                  <c:v>9398.3007581927541</c:v>
                </c:pt>
                <c:pt idx="2164">
                  <c:v>9791.9737259402664</c:v>
                </c:pt>
                <c:pt idx="2165">
                  <c:v>10393.79935001744</c:v>
                </c:pt>
                <c:pt idx="2166">
                  <c:v>10647.185446869091</c:v>
                </c:pt>
                <c:pt idx="2167">
                  <c:v>10826.628067698111</c:v>
                </c:pt>
                <c:pt idx="2168">
                  <c:v>10805.447478781545</c:v>
                </c:pt>
                <c:pt idx="2169">
                  <c:v>10642.30071995839</c:v>
                </c:pt>
                <c:pt idx="2170">
                  <c:v>10361.102583529244</c:v>
                </c:pt>
                <c:pt idx="2171">
                  <c:v>10298.26236954239</c:v>
                </c:pt>
                <c:pt idx="2172">
                  <c:v>10140.419545584818</c:v>
                </c:pt>
                <c:pt idx="2173">
                  <c:v>10018.338164350505</c:v>
                </c:pt>
                <c:pt idx="2174">
                  <c:v>9941.9814298736801</c:v>
                </c:pt>
                <c:pt idx="2175">
                  <c:v>9973.9613707460285</c:v>
                </c:pt>
                <c:pt idx="2176">
                  <c:v>10029.605919293514</c:v>
                </c:pt>
                <c:pt idx="2177">
                  <c:v>10115.104312400379</c:v>
                </c:pt>
                <c:pt idx="2178">
                  <c:v>10247.736164376824</c:v>
                </c:pt>
                <c:pt idx="2179">
                  <c:v>10528.674881571231</c:v>
                </c:pt>
                <c:pt idx="2180">
                  <c:v>10353.723710847989</c:v>
                </c:pt>
                <c:pt idx="2181">
                  <c:v>10360.104659080538</c:v>
                </c:pt>
                <c:pt idx="2182">
                  <c:v>10170.5007686104</c:v>
                </c:pt>
                <c:pt idx="2183">
                  <c:v>9733.2256672630429</c:v>
                </c:pt>
                <c:pt idx="2184">
                  <c:v>9366.4093134274517</c:v>
                </c:pt>
                <c:pt idx="2185">
                  <c:v>9204.3971180808476</c:v>
                </c:pt>
                <c:pt idx="2186">
                  <c:v>9121.9760340071371</c:v>
                </c:pt>
                <c:pt idx="2187">
                  <c:v>9153.1614329706099</c:v>
                </c:pt>
                <c:pt idx="2188">
                  <c:v>9323.0703145311236</c:v>
                </c:pt>
                <c:pt idx="2189">
                  <c:v>9416.5846883747981</c:v>
                </c:pt>
                <c:pt idx="2190">
                  <c:v>9421.4853787493448</c:v>
                </c:pt>
                <c:pt idx="2191">
                  <c:v>9642.6013550507378</c:v>
                </c:pt>
                <c:pt idx="2192">
                  <c:v>9772.1618692398442</c:v>
                </c:pt>
                <c:pt idx="2193">
                  <c:v>9877.7535208345835</c:v>
                </c:pt>
                <c:pt idx="2194">
                  <c:v>9847.3647803618969</c:v>
                </c:pt>
                <c:pt idx="2195">
                  <c:v>9707.3420860509614</c:v>
                </c:pt>
                <c:pt idx="2196">
                  <c:v>9522.7285340815361</c:v>
                </c:pt>
                <c:pt idx="2197">
                  <c:v>9552.8361536310967</c:v>
                </c:pt>
                <c:pt idx="2198">
                  <c:v>9699.7239141101818</c:v>
                </c:pt>
                <c:pt idx="2199">
                  <c:v>9729.0830401956682</c:v>
                </c:pt>
                <c:pt idx="2200">
                  <c:v>9795.6605256723487</c:v>
                </c:pt>
                <c:pt idx="2201">
                  <c:v>9904.5119197637578</c:v>
                </c:pt>
                <c:pt idx="2202">
                  <c:v>10077.230143283305</c:v>
                </c:pt>
                <c:pt idx="2203">
                  <c:v>10262.967682062594</c:v>
                </c:pt>
                <c:pt idx="2204">
                  <c:v>10161.98262115656</c:v>
                </c:pt>
                <c:pt idx="2205">
                  <c:v>10266.068081084908</c:v>
                </c:pt>
                <c:pt idx="2206">
                  <c:v>10091.650174891813</c:v>
                </c:pt>
                <c:pt idx="2207">
                  <c:v>9718.8683485156926</c:v>
                </c:pt>
                <c:pt idx="2208">
                  <c:v>9397.6303137220184</c:v>
                </c:pt>
                <c:pt idx="2209">
                  <c:v>9195.6936662562603</c:v>
                </c:pt>
                <c:pt idx="2210">
                  <c:v>9154.5770338643815</c:v>
                </c:pt>
                <c:pt idx="2211">
                  <c:v>9241.6096016431511</c:v>
                </c:pt>
                <c:pt idx="2212">
                  <c:v>9333.176897857029</c:v>
                </c:pt>
                <c:pt idx="2213">
                  <c:v>9413.4273924888657</c:v>
                </c:pt>
                <c:pt idx="2214">
                  <c:v>9449.3042357027334</c:v>
                </c:pt>
                <c:pt idx="2215">
                  <c:v>9655.7576772010416</c:v>
                </c:pt>
                <c:pt idx="2216">
                  <c:v>9753.7965121730031</c:v>
                </c:pt>
                <c:pt idx="2217">
                  <c:v>9785.0638852626871</c:v>
                </c:pt>
                <c:pt idx="2218">
                  <c:v>9704.8566486987074</c:v>
                </c:pt>
                <c:pt idx="2219">
                  <c:v>9576.3798993434193</c:v>
                </c:pt>
                <c:pt idx="2220">
                  <c:v>9469.9048535982165</c:v>
                </c:pt>
                <c:pt idx="2221">
                  <c:v>9472.9327260393347</c:v>
                </c:pt>
                <c:pt idx="2222">
                  <c:v>9468.578354655403</c:v>
                </c:pt>
                <c:pt idx="2223">
                  <c:v>9597.6955144063122</c:v>
                </c:pt>
                <c:pt idx="2224">
                  <c:v>9845.2174405308997</c:v>
                </c:pt>
                <c:pt idx="2225">
                  <c:v>10109.107184094943</c:v>
                </c:pt>
                <c:pt idx="2226">
                  <c:v>10224.043632851759</c:v>
                </c:pt>
                <c:pt idx="2227">
                  <c:v>10311.885121134617</c:v>
                </c:pt>
                <c:pt idx="2228">
                  <c:v>10183.973385593335</c:v>
                </c:pt>
                <c:pt idx="2229">
                  <c:v>10222.144452273587</c:v>
                </c:pt>
                <c:pt idx="2230">
                  <c:v>10039.529927457832</c:v>
                </c:pt>
                <c:pt idx="2231">
                  <c:v>9678.5900466679905</c:v>
                </c:pt>
                <c:pt idx="2232">
                  <c:v>9337.4906428445502</c:v>
                </c:pt>
                <c:pt idx="2233">
                  <c:v>9167.2021908354363</c:v>
                </c:pt>
                <c:pt idx="2234">
                  <c:v>9085.9273839112593</c:v>
                </c:pt>
                <c:pt idx="2235">
                  <c:v>9048.8371445750836</c:v>
                </c:pt>
                <c:pt idx="2236">
                  <c:v>9109.915006877829</c:v>
                </c:pt>
                <c:pt idx="2237">
                  <c:v>9097.9497026086665</c:v>
                </c:pt>
                <c:pt idx="2238">
                  <c:v>9071.1670761235273</c:v>
                </c:pt>
                <c:pt idx="2239">
                  <c:v>9251.463799528703</c:v>
                </c:pt>
                <c:pt idx="2240">
                  <c:v>9334.7470153973845</c:v>
                </c:pt>
                <c:pt idx="2241">
                  <c:v>9352.9862705383894</c:v>
                </c:pt>
                <c:pt idx="2242">
                  <c:v>9333.9277880483314</c:v>
                </c:pt>
                <c:pt idx="2243">
                  <c:v>9292.9996167897407</c:v>
                </c:pt>
                <c:pt idx="2244">
                  <c:v>9188.6096472507998</c:v>
                </c:pt>
                <c:pt idx="2245">
                  <c:v>9098.6374659363864</c:v>
                </c:pt>
                <c:pt idx="2246">
                  <c:v>9024.0547056338964</c:v>
                </c:pt>
                <c:pt idx="2247">
                  <c:v>9039.8230119590116</c:v>
                </c:pt>
                <c:pt idx="2248">
                  <c:v>9212.057045687774</c:v>
                </c:pt>
                <c:pt idx="2249">
                  <c:v>9316.6121576523255</c:v>
                </c:pt>
                <c:pt idx="2250">
                  <c:v>9452.7853465405733</c:v>
                </c:pt>
                <c:pt idx="2251">
                  <c:v>9683.1053243109091</c:v>
                </c:pt>
                <c:pt idx="2252">
                  <c:v>9639.7678010734726</c:v>
                </c:pt>
                <c:pt idx="2253">
                  <c:v>9748.4909616264504</c:v>
                </c:pt>
                <c:pt idx="2254">
                  <c:v>9642.30064043538</c:v>
                </c:pt>
                <c:pt idx="2255">
                  <c:v>9269.339177871967</c:v>
                </c:pt>
                <c:pt idx="2256">
                  <c:v>8947.79844634869</c:v>
                </c:pt>
                <c:pt idx="2257">
                  <c:v>8760.045649986745</c:v>
                </c:pt>
                <c:pt idx="2258">
                  <c:v>8675.984172069966</c:v>
                </c:pt>
                <c:pt idx="2259">
                  <c:v>8758.7053893385346</c:v>
                </c:pt>
                <c:pt idx="2260">
                  <c:v>8949.9430032767905</c:v>
                </c:pt>
                <c:pt idx="2261">
                  <c:v>9056.9129428694596</c:v>
                </c:pt>
                <c:pt idx="2262">
                  <c:v>9166.2299262032648</c:v>
                </c:pt>
                <c:pt idx="2263">
                  <c:v>9419.1090292871086</c:v>
                </c:pt>
                <c:pt idx="2264">
                  <c:v>9675.8178547435637</c:v>
                </c:pt>
                <c:pt idx="2265">
                  <c:v>9891.8271187346436</c:v>
                </c:pt>
                <c:pt idx="2266">
                  <c:v>10005.852614979683</c:v>
                </c:pt>
                <c:pt idx="2267">
                  <c:v>10011.505143038892</c:v>
                </c:pt>
                <c:pt idx="2268">
                  <c:v>9914.5880084977907</c:v>
                </c:pt>
                <c:pt idx="2269">
                  <c:v>9905.5022104034288</c:v>
                </c:pt>
                <c:pt idx="2270">
                  <c:v>9921.6687152767718</c:v>
                </c:pt>
                <c:pt idx="2271">
                  <c:v>10008.764084548402</c:v>
                </c:pt>
                <c:pt idx="2272">
                  <c:v>10108.830572242419</c:v>
                </c:pt>
                <c:pt idx="2273">
                  <c:v>10217.107698093847</c:v>
                </c:pt>
                <c:pt idx="2274">
                  <c:v>10383.591278662227</c:v>
                </c:pt>
                <c:pt idx="2275">
                  <c:v>10448.193203786726</c:v>
                </c:pt>
                <c:pt idx="2276">
                  <c:v>10281.95947028798</c:v>
                </c:pt>
                <c:pt idx="2277">
                  <c:v>10409.013039985886</c:v>
                </c:pt>
                <c:pt idx="2278">
                  <c:v>10274.952197995308</c:v>
                </c:pt>
                <c:pt idx="2279">
                  <c:v>9881.8225935247701</c:v>
                </c:pt>
                <c:pt idx="2280">
                  <c:v>9634.0613130407164</c:v>
                </c:pt>
                <c:pt idx="2281">
                  <c:v>9473.5914413039318</c:v>
                </c:pt>
                <c:pt idx="2282">
                  <c:v>9417.4904680086293</c:v>
                </c:pt>
                <c:pt idx="2283">
                  <c:v>9562.9966553144095</c:v>
                </c:pt>
                <c:pt idx="2284">
                  <c:v>9848.8224269403472</c:v>
                </c:pt>
                <c:pt idx="2285">
                  <c:v>10371.078811552818</c:v>
                </c:pt>
                <c:pt idx="2286">
                  <c:v>10756.245570015684</c:v>
                </c:pt>
                <c:pt idx="2287">
                  <c:v>11139.597309528172</c:v>
                </c:pt>
                <c:pt idx="2288">
                  <c:v>11129.973721878448</c:v>
                </c:pt>
                <c:pt idx="2289">
                  <c:v>11022.133408772499</c:v>
                </c:pt>
                <c:pt idx="2290">
                  <c:v>10978.509020426472</c:v>
                </c:pt>
                <c:pt idx="2291">
                  <c:v>10910.443878878874</c:v>
                </c:pt>
                <c:pt idx="2292">
                  <c:v>10714.050441075731</c:v>
                </c:pt>
                <c:pt idx="2293">
                  <c:v>10633.041052233157</c:v>
                </c:pt>
                <c:pt idx="2294">
                  <c:v>10593.62551107004</c:v>
                </c:pt>
                <c:pt idx="2295">
                  <c:v>10685.035773012713</c:v>
                </c:pt>
                <c:pt idx="2296">
                  <c:v>10719.381627869758</c:v>
                </c:pt>
                <c:pt idx="2297">
                  <c:v>10749.933333326928</c:v>
                </c:pt>
                <c:pt idx="2298">
                  <c:v>10814.964556118695</c:v>
                </c:pt>
                <c:pt idx="2299">
                  <c:v>10911.338752111509</c:v>
                </c:pt>
                <c:pt idx="2300">
                  <c:v>10708.895423394495</c:v>
                </c:pt>
                <c:pt idx="2301">
                  <c:v>10643.780601470397</c:v>
                </c:pt>
                <c:pt idx="2302">
                  <c:v>10412.980622624384</c:v>
                </c:pt>
                <c:pt idx="2303">
                  <c:v>10043.937919146256</c:v>
                </c:pt>
                <c:pt idx="2304">
                  <c:v>9677.3079696974728</c:v>
                </c:pt>
                <c:pt idx="2305">
                  <c:v>9518.9220112314906</c:v>
                </c:pt>
                <c:pt idx="2306">
                  <c:v>9458.4164624318364</c:v>
                </c:pt>
                <c:pt idx="2307">
                  <c:v>9479.9800520539502</c:v>
                </c:pt>
                <c:pt idx="2308">
                  <c:v>9765.8597750761837</c:v>
                </c:pt>
                <c:pt idx="2309">
                  <c:v>10302.04079070033</c:v>
                </c:pt>
                <c:pt idx="2310">
                  <c:v>10657.034903005922</c:v>
                </c:pt>
                <c:pt idx="2311">
                  <c:v>10873.321382321306</c:v>
                </c:pt>
                <c:pt idx="2312">
                  <c:v>10930.446055852053</c:v>
                </c:pt>
                <c:pt idx="2313">
                  <c:v>10837.799208093567</c:v>
                </c:pt>
                <c:pt idx="2314">
                  <c:v>10745.15347337704</c:v>
                </c:pt>
                <c:pt idx="2315">
                  <c:v>10657.208748638148</c:v>
                </c:pt>
                <c:pt idx="2316">
                  <c:v>10449.108037260437</c:v>
                </c:pt>
                <c:pt idx="2317">
                  <c:v>10287.742196467221</c:v>
                </c:pt>
                <c:pt idx="2318">
                  <c:v>10227.073981576579</c:v>
                </c:pt>
                <c:pt idx="2319">
                  <c:v>10188.523868871118</c:v>
                </c:pt>
                <c:pt idx="2320">
                  <c:v>10300.243367822359</c:v>
                </c:pt>
                <c:pt idx="2321">
                  <c:v>10376.553013831432</c:v>
                </c:pt>
                <c:pt idx="2322">
                  <c:v>10421.197319883433</c:v>
                </c:pt>
                <c:pt idx="2323">
                  <c:v>10506.384434914406</c:v>
                </c:pt>
                <c:pt idx="2324">
                  <c:v>10453.288112857928</c:v>
                </c:pt>
                <c:pt idx="2325">
                  <c:v>10447.601163398434</c:v>
                </c:pt>
                <c:pt idx="2326">
                  <c:v>10294.075797702279</c:v>
                </c:pt>
                <c:pt idx="2327">
                  <c:v>9955.8733207096229</c:v>
                </c:pt>
                <c:pt idx="2328">
                  <c:v>9621.5093981054688</c:v>
                </c:pt>
                <c:pt idx="2329">
                  <c:v>9428.7710169525344</c:v>
                </c:pt>
                <c:pt idx="2330">
                  <c:v>9429.0382104775654</c:v>
                </c:pt>
                <c:pt idx="2331">
                  <c:v>9484.1991278824098</c:v>
                </c:pt>
                <c:pt idx="2332">
                  <c:v>9794.6551704786289</c:v>
                </c:pt>
                <c:pt idx="2333">
                  <c:v>10383.720850058929</c:v>
                </c:pt>
                <c:pt idx="2334">
                  <c:v>10761.87557507881</c:v>
                </c:pt>
                <c:pt idx="2335">
                  <c:v>10933.091376711689</c:v>
                </c:pt>
                <c:pt idx="2336">
                  <c:v>10789.385801607443</c:v>
                </c:pt>
                <c:pt idx="2337">
                  <c:v>10614.89549181964</c:v>
                </c:pt>
                <c:pt idx="2338">
                  <c:v>10486.959737746341</c:v>
                </c:pt>
                <c:pt idx="2339">
                  <c:v>10385.77084251861</c:v>
                </c:pt>
                <c:pt idx="2340">
                  <c:v>10231.551368624683</c:v>
                </c:pt>
                <c:pt idx="2341">
                  <c:v>10132.072596452301</c:v>
                </c:pt>
                <c:pt idx="2342">
                  <c:v>10065.469232278499</c:v>
                </c:pt>
                <c:pt idx="2343">
                  <c:v>10043.90381446961</c:v>
                </c:pt>
                <c:pt idx="2344">
                  <c:v>10101.492911949859</c:v>
                </c:pt>
                <c:pt idx="2345">
                  <c:v>10189.086745430834</c:v>
                </c:pt>
                <c:pt idx="2346">
                  <c:v>10318.752515045959</c:v>
                </c:pt>
                <c:pt idx="2347">
                  <c:v>10494.039941456305</c:v>
                </c:pt>
                <c:pt idx="2348">
                  <c:v>10518.760773978993</c:v>
                </c:pt>
                <c:pt idx="2349">
                  <c:v>10503.156009923794</c:v>
                </c:pt>
                <c:pt idx="2350">
                  <c:v>10288.752355824054</c:v>
                </c:pt>
                <c:pt idx="2351">
                  <c:v>9932.0360039477546</c:v>
                </c:pt>
                <c:pt idx="2352">
                  <c:v>9616.1125302253404</c:v>
                </c:pt>
                <c:pt idx="2353">
                  <c:v>9459.253398664534</c:v>
                </c:pt>
                <c:pt idx="2354">
                  <c:v>9403.1778061913774</c:v>
                </c:pt>
                <c:pt idx="2355">
                  <c:v>9584.3917014342951</c:v>
                </c:pt>
                <c:pt idx="2356">
                  <c:v>9923.5003855151972</c:v>
                </c:pt>
                <c:pt idx="2357">
                  <c:v>10418.709550561376</c:v>
                </c:pt>
                <c:pt idx="2358">
                  <c:v>10724.378346238178</c:v>
                </c:pt>
                <c:pt idx="2359">
                  <c:v>11000.057454355639</c:v>
                </c:pt>
                <c:pt idx="2360">
                  <c:v>11113.712133960111</c:v>
                </c:pt>
                <c:pt idx="2361">
                  <c:v>11245.327411222712</c:v>
                </c:pt>
                <c:pt idx="2362">
                  <c:v>11342.942285047704</c:v>
                </c:pt>
                <c:pt idx="2363">
                  <c:v>11274.378271844958</c:v>
                </c:pt>
                <c:pt idx="2364">
                  <c:v>11221.32125161624</c:v>
                </c:pt>
                <c:pt idx="2365">
                  <c:v>11103.913877080387</c:v>
                </c:pt>
                <c:pt idx="2366">
                  <c:v>11056.663291801457</c:v>
                </c:pt>
                <c:pt idx="2367">
                  <c:v>11032.400193331972</c:v>
                </c:pt>
                <c:pt idx="2368">
                  <c:v>11163.339758124308</c:v>
                </c:pt>
                <c:pt idx="2369">
                  <c:v>11206.562850323477</c:v>
                </c:pt>
                <c:pt idx="2370">
                  <c:v>11212.33312583748</c:v>
                </c:pt>
                <c:pt idx="2371">
                  <c:v>11121.725487111808</c:v>
                </c:pt>
                <c:pt idx="2372">
                  <c:v>10756.651903430136</c:v>
                </c:pt>
                <c:pt idx="2373">
                  <c:v>10687.612561685626</c:v>
                </c:pt>
                <c:pt idx="2374">
                  <c:v>10376.245252865278</c:v>
                </c:pt>
                <c:pt idx="2375">
                  <c:v>9912.362066047046</c:v>
                </c:pt>
                <c:pt idx="2376">
                  <c:v>9568.3657538194821</c:v>
                </c:pt>
                <c:pt idx="2377">
                  <c:v>9338.4379087887392</c:v>
                </c:pt>
                <c:pt idx="2378">
                  <c:v>9241.3772259974921</c:v>
                </c:pt>
                <c:pt idx="2379">
                  <c:v>9276.4632256642162</c:v>
                </c:pt>
                <c:pt idx="2380">
                  <c:v>9358.0535462767984</c:v>
                </c:pt>
                <c:pt idx="2381">
                  <c:v>9458.0036218944679</c:v>
                </c:pt>
                <c:pt idx="2382">
                  <c:v>9519.6685448753342</c:v>
                </c:pt>
                <c:pt idx="2383">
                  <c:v>9813.0663986186773</c:v>
                </c:pt>
                <c:pt idx="2384">
                  <c:v>9955.0205151620357</c:v>
                </c:pt>
                <c:pt idx="2385">
                  <c:v>10033.862521421059</c:v>
                </c:pt>
                <c:pt idx="2386">
                  <c:v>10044.800996808101</c:v>
                </c:pt>
                <c:pt idx="2387">
                  <c:v>10094.334880012182</c:v>
                </c:pt>
                <c:pt idx="2388">
                  <c:v>9949.8891046685912</c:v>
                </c:pt>
                <c:pt idx="2389">
                  <c:v>9943.9904247646427</c:v>
                </c:pt>
                <c:pt idx="2390">
                  <c:v>10000.625314582117</c:v>
                </c:pt>
                <c:pt idx="2391">
                  <c:v>10032.815997402739</c:v>
                </c:pt>
                <c:pt idx="2392">
                  <c:v>10215.989150631691</c:v>
                </c:pt>
                <c:pt idx="2393">
                  <c:v>10422.598761933516</c:v>
                </c:pt>
                <c:pt idx="2394">
                  <c:v>10583.061205948419</c:v>
                </c:pt>
                <c:pt idx="2395">
                  <c:v>10467.015161491641</c:v>
                </c:pt>
                <c:pt idx="2396">
                  <c:v>10379.947788151683</c:v>
                </c:pt>
                <c:pt idx="2397">
                  <c:v>10383.070852190123</c:v>
                </c:pt>
                <c:pt idx="2398">
                  <c:v>10134.891241579648</c:v>
                </c:pt>
                <c:pt idx="2399">
                  <c:v>9731.4718534328113</c:v>
                </c:pt>
                <c:pt idx="2400">
                  <c:v>9335.7473732815379</c:v>
                </c:pt>
                <c:pt idx="2401">
                  <c:v>9123.9217734767772</c:v>
                </c:pt>
                <c:pt idx="2402">
                  <c:v>9051.07653158428</c:v>
                </c:pt>
                <c:pt idx="2403">
                  <c:v>9102.6063758644414</c:v>
                </c:pt>
                <c:pt idx="2404">
                  <c:v>9253.1088384174091</c:v>
                </c:pt>
                <c:pt idx="2405">
                  <c:v>9195.8366302500945</c:v>
                </c:pt>
                <c:pt idx="2406">
                  <c:v>9224.5567736525718</c:v>
                </c:pt>
                <c:pt idx="2407">
                  <c:v>9292.8098461325044</c:v>
                </c:pt>
                <c:pt idx="2408">
                  <c:v>9335.6343775158894</c:v>
                </c:pt>
                <c:pt idx="2409">
                  <c:v>9366.2305630442916</c:v>
                </c:pt>
                <c:pt idx="2410">
                  <c:v>9297.6829887720323</c:v>
                </c:pt>
                <c:pt idx="2411">
                  <c:v>9229.0452400473932</c:v>
                </c:pt>
                <c:pt idx="2412">
                  <c:v>9095.4858722440586</c:v>
                </c:pt>
                <c:pt idx="2413">
                  <c:v>9017.2803760460774</c:v>
                </c:pt>
                <c:pt idx="2414">
                  <c:v>8980.9112961144092</c:v>
                </c:pt>
                <c:pt idx="2415">
                  <c:v>8967.1371531231816</c:v>
                </c:pt>
                <c:pt idx="2416">
                  <c:v>9083.2808734234532</c:v>
                </c:pt>
                <c:pt idx="2417">
                  <c:v>9314.9928992840196</c:v>
                </c:pt>
                <c:pt idx="2418">
                  <c:v>9467.7535561428067</c:v>
                </c:pt>
                <c:pt idx="2419">
                  <c:v>9584.2017583337692</c:v>
                </c:pt>
                <c:pt idx="2420">
                  <c:v>9561.3565616254291</c:v>
                </c:pt>
                <c:pt idx="2421">
                  <c:v>9652.7265238249383</c:v>
                </c:pt>
                <c:pt idx="2422">
                  <c:v>9527.1963440334512</c:v>
                </c:pt>
                <c:pt idx="2423">
                  <c:v>9166.2477589157406</c:v>
                </c:pt>
                <c:pt idx="2424">
                  <c:v>8827.6747405397728</c:v>
                </c:pt>
                <c:pt idx="2425">
                  <c:v>8660.2668491127806</c:v>
                </c:pt>
                <c:pt idx="2426">
                  <c:v>8639.1056472861474</c:v>
                </c:pt>
                <c:pt idx="2427">
                  <c:v>8767.6721734363582</c:v>
                </c:pt>
                <c:pt idx="2428">
                  <c:v>9141.5288701481186</c:v>
                </c:pt>
                <c:pt idx="2429">
                  <c:v>9710.9873059904348</c:v>
                </c:pt>
                <c:pt idx="2430">
                  <c:v>10284.792424318122</c:v>
                </c:pt>
                <c:pt idx="2431">
                  <c:v>10501.157976555487</c:v>
                </c:pt>
                <c:pt idx="2432">
                  <c:v>10482.864512879436</c:v>
                </c:pt>
                <c:pt idx="2433">
                  <c:v>10399.731900704366</c:v>
                </c:pt>
                <c:pt idx="2434">
                  <c:v>10347.467655006258</c:v>
                </c:pt>
                <c:pt idx="2435">
                  <c:v>10273.15013706742</c:v>
                </c:pt>
                <c:pt idx="2436">
                  <c:v>10068.522461719973</c:v>
                </c:pt>
                <c:pt idx="2437">
                  <c:v>10000.910520464735</c:v>
                </c:pt>
                <c:pt idx="2438">
                  <c:v>9953.2198888795792</c:v>
                </c:pt>
                <c:pt idx="2439">
                  <c:v>9895.612229298993</c:v>
                </c:pt>
                <c:pt idx="2440">
                  <c:v>9871.5030964752568</c:v>
                </c:pt>
                <c:pt idx="2441">
                  <c:v>9889.2910401162644</c:v>
                </c:pt>
                <c:pt idx="2442">
                  <c:v>9911.6883557686106</c:v>
                </c:pt>
                <c:pt idx="2443">
                  <c:v>9909.0190574814878</c:v>
                </c:pt>
                <c:pt idx="2444">
                  <c:v>9838.986698950428</c:v>
                </c:pt>
                <c:pt idx="2445">
                  <c:v>9829.0755108961621</c:v>
                </c:pt>
                <c:pt idx="2446">
                  <c:v>9645.1017850407279</c:v>
                </c:pt>
                <c:pt idx="2447">
                  <c:v>9194.1623872988257</c:v>
                </c:pt>
                <c:pt idx="2448">
                  <c:v>8890.5265397251296</c:v>
                </c:pt>
                <c:pt idx="2449">
                  <c:v>8712.6555878159725</c:v>
                </c:pt>
                <c:pt idx="2450">
                  <c:v>8669.5762887738256</c:v>
                </c:pt>
                <c:pt idx="2451">
                  <c:v>8729.5203181903034</c:v>
                </c:pt>
                <c:pt idx="2452">
                  <c:v>8995.1554212535666</c:v>
                </c:pt>
                <c:pt idx="2453">
                  <c:v>9541.8178543957583</c:v>
                </c:pt>
                <c:pt idx="2454">
                  <c:v>9956.1599997934118</c:v>
                </c:pt>
                <c:pt idx="2455">
                  <c:v>10248.584256700968</c:v>
                </c:pt>
                <c:pt idx="2456">
                  <c:v>10306.518375287422</c:v>
                </c:pt>
                <c:pt idx="2457">
                  <c:v>10286.203806071266</c:v>
                </c:pt>
                <c:pt idx="2458">
                  <c:v>10232.140883029535</c:v>
                </c:pt>
                <c:pt idx="2459">
                  <c:v>10146.798189063677</c:v>
                </c:pt>
                <c:pt idx="2460">
                  <c:v>9950.9650521819058</c:v>
                </c:pt>
                <c:pt idx="2461">
                  <c:v>9826.8779941903213</c:v>
                </c:pt>
                <c:pt idx="2462">
                  <c:v>9766.3113301386802</c:v>
                </c:pt>
                <c:pt idx="2463">
                  <c:v>9799.8142873966481</c:v>
                </c:pt>
                <c:pt idx="2464">
                  <c:v>9796.5076394318876</c:v>
                </c:pt>
                <c:pt idx="2465">
                  <c:v>9881.4860380204373</c:v>
                </c:pt>
                <c:pt idx="2466">
                  <c:v>10035.06624306338</c:v>
                </c:pt>
                <c:pt idx="2467">
                  <c:v>10037.897714942557</c:v>
                </c:pt>
                <c:pt idx="2468">
                  <c:v>10018.728372005751</c:v>
                </c:pt>
                <c:pt idx="2469">
                  <c:v>9973.7173882674106</c:v>
                </c:pt>
                <c:pt idx="2470">
                  <c:v>9786.3896512532046</c:v>
                </c:pt>
                <c:pt idx="2471">
                  <c:v>9390.4445609504473</c:v>
                </c:pt>
                <c:pt idx="2472">
                  <c:v>9096.6821267843752</c:v>
                </c:pt>
                <c:pt idx="2473">
                  <c:v>8959.9817199013269</c:v>
                </c:pt>
                <c:pt idx="2474">
                  <c:v>8933.6506474775124</c:v>
                </c:pt>
                <c:pt idx="2475">
                  <c:v>9047.3989408208126</c:v>
                </c:pt>
                <c:pt idx="2476">
                  <c:v>9280.9464661198817</c:v>
                </c:pt>
                <c:pt idx="2477">
                  <c:v>9801.5646217026406</c:v>
                </c:pt>
                <c:pt idx="2478">
                  <c:v>10233.147787306023</c:v>
                </c:pt>
                <c:pt idx="2479">
                  <c:v>10446.151538706938</c:v>
                </c:pt>
                <c:pt idx="2480">
                  <c:v>10398.141352716282</c:v>
                </c:pt>
                <c:pt idx="2481">
                  <c:v>10263.759048762908</c:v>
                </c:pt>
                <c:pt idx="2482">
                  <c:v>10142.2623237593</c:v>
                </c:pt>
                <c:pt idx="2483">
                  <c:v>10036.574480181102</c:v>
                </c:pt>
                <c:pt idx="2484">
                  <c:v>9857.5630770769421</c:v>
                </c:pt>
                <c:pt idx="2485">
                  <c:v>9744.7458001624236</c:v>
                </c:pt>
                <c:pt idx="2486">
                  <c:v>9641.4922958807711</c:v>
                </c:pt>
                <c:pt idx="2487">
                  <c:v>9593.8025352667337</c:v>
                </c:pt>
                <c:pt idx="2488">
                  <c:v>9607.8611498601131</c:v>
                </c:pt>
                <c:pt idx="2489">
                  <c:v>9721.8890438271028</c:v>
                </c:pt>
                <c:pt idx="2490">
                  <c:v>9861.0484298050178</c:v>
                </c:pt>
                <c:pt idx="2491">
                  <c:v>9927.3812285592867</c:v>
                </c:pt>
                <c:pt idx="2492">
                  <c:v>9906.7115107717818</c:v>
                </c:pt>
                <c:pt idx="2493">
                  <c:v>9991.482550700408</c:v>
                </c:pt>
                <c:pt idx="2494">
                  <c:v>9893.9407624061823</c:v>
                </c:pt>
                <c:pt idx="2495">
                  <c:v>9488.7312899862245</c:v>
                </c:pt>
                <c:pt idx="2496">
                  <c:v>9209.4417315739938</c:v>
                </c:pt>
                <c:pt idx="2497">
                  <c:v>9103.5025629487191</c:v>
                </c:pt>
                <c:pt idx="2498">
                  <c:v>9122.846302652144</c:v>
                </c:pt>
                <c:pt idx="2499">
                  <c:v>9235.4575581973477</c:v>
                </c:pt>
                <c:pt idx="2500">
                  <c:v>9494.4991521912652</c:v>
                </c:pt>
                <c:pt idx="2501">
                  <c:v>10022.456857977524</c:v>
                </c:pt>
                <c:pt idx="2502">
                  <c:v>10340.674650366349</c:v>
                </c:pt>
                <c:pt idx="2503">
                  <c:v>10402.108231007032</c:v>
                </c:pt>
                <c:pt idx="2504">
                  <c:v>10175.568029782</c:v>
                </c:pt>
                <c:pt idx="2505">
                  <c:v>10045.322817364444</c:v>
                </c:pt>
                <c:pt idx="2506">
                  <c:v>9930.2797704928398</c:v>
                </c:pt>
                <c:pt idx="2507">
                  <c:v>9850.4208237107905</c:v>
                </c:pt>
                <c:pt idx="2508">
                  <c:v>9699.9802538529402</c:v>
                </c:pt>
                <c:pt idx="2509">
                  <c:v>9632.3497839882803</c:v>
                </c:pt>
                <c:pt idx="2510">
                  <c:v>9487.7986849672579</c:v>
                </c:pt>
                <c:pt idx="2511">
                  <c:v>9410.9430495893375</c:v>
                </c:pt>
                <c:pt idx="2512">
                  <c:v>9428.3932016955041</c:v>
                </c:pt>
                <c:pt idx="2513">
                  <c:v>9461.5731637378831</c:v>
                </c:pt>
                <c:pt idx="2514">
                  <c:v>9612.1150610241802</c:v>
                </c:pt>
                <c:pt idx="2515">
                  <c:v>9668.014500760306</c:v>
                </c:pt>
                <c:pt idx="2516">
                  <c:v>9723.9574787677284</c:v>
                </c:pt>
                <c:pt idx="2517">
                  <c:v>9871.2920136971825</c:v>
                </c:pt>
                <c:pt idx="2518">
                  <c:v>9723.6903708367463</c:v>
                </c:pt>
                <c:pt idx="2519">
                  <c:v>9355.9633049513868</c:v>
                </c:pt>
                <c:pt idx="2520">
                  <c:v>9044.5277455590367</c:v>
                </c:pt>
                <c:pt idx="2521">
                  <c:v>8917.6071778648766</c:v>
                </c:pt>
                <c:pt idx="2522">
                  <c:v>8961.0003835622847</c:v>
                </c:pt>
                <c:pt idx="2523">
                  <c:v>9129.6204202174958</c:v>
                </c:pt>
                <c:pt idx="2524">
                  <c:v>9382.3364062940382</c:v>
                </c:pt>
                <c:pt idx="2525">
                  <c:v>9902.0969287241714</c:v>
                </c:pt>
                <c:pt idx="2526">
                  <c:v>10205.102082873176</c:v>
                </c:pt>
                <c:pt idx="2527">
                  <c:v>10327.640137436261</c:v>
                </c:pt>
                <c:pt idx="2528">
                  <c:v>10140.527085497488</c:v>
                </c:pt>
                <c:pt idx="2529">
                  <c:v>10007.686043868653</c:v>
                </c:pt>
                <c:pt idx="2530">
                  <c:v>10001.600988157774</c:v>
                </c:pt>
                <c:pt idx="2531">
                  <c:v>9854.7427841063109</c:v>
                </c:pt>
                <c:pt idx="2532">
                  <c:v>9609.2143023804947</c:v>
                </c:pt>
                <c:pt idx="2533">
                  <c:v>9398.3218780304196</c:v>
                </c:pt>
                <c:pt idx="2534">
                  <c:v>9359.3867814133082</c:v>
                </c:pt>
                <c:pt idx="2535">
                  <c:v>9330.3164608694078</c:v>
                </c:pt>
                <c:pt idx="2536">
                  <c:v>9326.8588750053696</c:v>
                </c:pt>
                <c:pt idx="2537">
                  <c:v>9414.8753827120909</c:v>
                </c:pt>
                <c:pt idx="2538">
                  <c:v>9486.4023733719841</c:v>
                </c:pt>
                <c:pt idx="2539">
                  <c:v>9462.6106371176611</c:v>
                </c:pt>
                <c:pt idx="2540">
                  <c:v>9432.1628349870334</c:v>
                </c:pt>
                <c:pt idx="2541">
                  <c:v>9586.2146412398342</c:v>
                </c:pt>
                <c:pt idx="2542">
                  <c:v>9398.8057457662453</c:v>
                </c:pt>
                <c:pt idx="2543">
                  <c:v>9059.0657534654383</c:v>
                </c:pt>
                <c:pt idx="2544">
                  <c:v>8675.9947822078302</c:v>
                </c:pt>
                <c:pt idx="2545">
                  <c:v>8588.882661016869</c:v>
                </c:pt>
                <c:pt idx="2546">
                  <c:v>8574.1648070145202</c:v>
                </c:pt>
                <c:pt idx="2547">
                  <c:v>8683.097894866778</c:v>
                </c:pt>
                <c:pt idx="2548">
                  <c:v>8685.2109585781418</c:v>
                </c:pt>
                <c:pt idx="2549">
                  <c:v>8799.9234626997986</c:v>
                </c:pt>
                <c:pt idx="2550">
                  <c:v>8823.3580067565472</c:v>
                </c:pt>
                <c:pt idx="2551">
                  <c:v>8938.1708254869736</c:v>
                </c:pt>
                <c:pt idx="2552">
                  <c:v>8877.8460291433403</c:v>
                </c:pt>
                <c:pt idx="2553">
                  <c:v>8910.5770844605395</c:v>
                </c:pt>
                <c:pt idx="2554">
                  <c:v>8858.137996767502</c:v>
                </c:pt>
                <c:pt idx="2555">
                  <c:v>8775.4389870424493</c:v>
                </c:pt>
                <c:pt idx="2556">
                  <c:v>8669.0567344211231</c:v>
                </c:pt>
                <c:pt idx="2557">
                  <c:v>8595.7532704019904</c:v>
                </c:pt>
                <c:pt idx="2558">
                  <c:v>8560.0786610755022</c:v>
                </c:pt>
                <c:pt idx="2559">
                  <c:v>8625.0160580713891</c:v>
                </c:pt>
                <c:pt idx="2560">
                  <c:v>8732.573398174427</c:v>
                </c:pt>
                <c:pt idx="2561">
                  <c:v>8915.5393832685786</c:v>
                </c:pt>
                <c:pt idx="2562">
                  <c:v>9107.3669689389335</c:v>
                </c:pt>
                <c:pt idx="2563">
                  <c:v>8948.903495068671</c:v>
                </c:pt>
                <c:pt idx="2564">
                  <c:v>8958.4575625681609</c:v>
                </c:pt>
                <c:pt idx="2565">
                  <c:v>9064.2514812120025</c:v>
                </c:pt>
                <c:pt idx="2566">
                  <c:v>9001.983218131345</c:v>
                </c:pt>
                <c:pt idx="2567">
                  <c:v>8554.6688430693703</c:v>
                </c:pt>
                <c:pt idx="2568">
                  <c:v>8320.402953072029</c:v>
                </c:pt>
                <c:pt idx="2569">
                  <c:v>8146.3822705693137</c:v>
                </c:pt>
                <c:pt idx="2570">
                  <c:v>8095.2152803186564</c:v>
                </c:pt>
                <c:pt idx="2571">
                  <c:v>8166.168489158953</c:v>
                </c:pt>
                <c:pt idx="2572">
                  <c:v>8137.2388079780549</c:v>
                </c:pt>
                <c:pt idx="2573">
                  <c:v>8183.4388421862886</c:v>
                </c:pt>
                <c:pt idx="2574">
                  <c:v>8281.2002336796431</c:v>
                </c:pt>
                <c:pt idx="2575">
                  <c:v>8326.9320950283218</c:v>
                </c:pt>
                <c:pt idx="2576">
                  <c:v>8399.3943511817251</c:v>
                </c:pt>
                <c:pt idx="2577">
                  <c:v>8414.2824084953845</c:v>
                </c:pt>
                <c:pt idx="2578">
                  <c:v>8376.4387039957237</c:v>
                </c:pt>
                <c:pt idx="2579">
                  <c:v>8302.1034062145609</c:v>
                </c:pt>
                <c:pt idx="2580">
                  <c:v>8177.5722650721791</c:v>
                </c:pt>
                <c:pt idx="2581">
                  <c:v>8088.8068242783729</c:v>
                </c:pt>
                <c:pt idx="2582">
                  <c:v>8074.3525037131958</c:v>
                </c:pt>
                <c:pt idx="2583">
                  <c:v>8065.5524185058675</c:v>
                </c:pt>
                <c:pt idx="2584">
                  <c:v>8187.8067872187221</c:v>
                </c:pt>
                <c:pt idx="2585">
                  <c:v>8367.194545246497</c:v>
                </c:pt>
                <c:pt idx="2586">
                  <c:v>8509.6953839888483</c:v>
                </c:pt>
                <c:pt idx="2587">
                  <c:v>8565.8602219611003</c:v>
                </c:pt>
                <c:pt idx="2588">
                  <c:v>8624.415149361721</c:v>
                </c:pt>
                <c:pt idx="2589">
                  <c:v>8792.7473492811241</c:v>
                </c:pt>
                <c:pt idx="2590">
                  <c:v>8652.2817654569408</c:v>
                </c:pt>
                <c:pt idx="2591">
                  <c:v>8390.3338233699997</c:v>
                </c:pt>
                <c:pt idx="2592">
                  <c:v>8183.6450730152465</c:v>
                </c:pt>
                <c:pt idx="2593">
                  <c:v>8140.958386639225</c:v>
                </c:pt>
                <c:pt idx="2594">
                  <c:v>8158.5055127979194</c:v>
                </c:pt>
                <c:pt idx="2595">
                  <c:v>8287.0516701943416</c:v>
                </c:pt>
                <c:pt idx="2596">
                  <c:v>8511.4703379733182</c:v>
                </c:pt>
                <c:pt idx="2597">
                  <c:v>9080.1697328788468</c:v>
                </c:pt>
                <c:pt idx="2598">
                  <c:v>9482.951557665132</c:v>
                </c:pt>
                <c:pt idx="2599">
                  <c:v>9648.5223054429171</c:v>
                </c:pt>
                <c:pt idx="2600">
                  <c:v>9529.6320656524804</c:v>
                </c:pt>
                <c:pt idx="2601">
                  <c:v>9439.089742050417</c:v>
                </c:pt>
                <c:pt idx="2602">
                  <c:v>9357.0123223864557</c:v>
                </c:pt>
                <c:pt idx="2603">
                  <c:v>9275.4722070536845</c:v>
                </c:pt>
                <c:pt idx="2604">
                  <c:v>9108.0463416312632</c:v>
                </c:pt>
                <c:pt idx="2605">
                  <c:v>9010.0643330421663</c:v>
                </c:pt>
                <c:pt idx="2606">
                  <c:v>8907.2644753314598</c:v>
                </c:pt>
                <c:pt idx="2607">
                  <c:v>8813.5708648113887</c:v>
                </c:pt>
                <c:pt idx="2608">
                  <c:v>8828.7240732983792</c:v>
                </c:pt>
                <c:pt idx="2609">
                  <c:v>8808.5781662594509</c:v>
                </c:pt>
                <c:pt idx="2610">
                  <c:v>8940.2472478948403</c:v>
                </c:pt>
                <c:pt idx="2611">
                  <c:v>8917.9935040225355</c:v>
                </c:pt>
                <c:pt idx="2612">
                  <c:v>8937.8772155170755</c:v>
                </c:pt>
                <c:pt idx="2613">
                  <c:v>9175.4031220567995</c:v>
                </c:pt>
                <c:pt idx="2614">
                  <c:v>8963.3873302109332</c:v>
                </c:pt>
                <c:pt idx="2615">
                  <c:v>8559.8967490261675</c:v>
                </c:pt>
                <c:pt idx="2616">
                  <c:v>8302.4453050131197</c:v>
                </c:pt>
                <c:pt idx="2617">
                  <c:v>8226.4575444303373</c:v>
                </c:pt>
                <c:pt idx="2618">
                  <c:v>8236.3603737393496</c:v>
                </c:pt>
                <c:pt idx="2619">
                  <c:v>8352.0558948807648</c:v>
                </c:pt>
                <c:pt idx="2620">
                  <c:v>8540.0256493711422</c:v>
                </c:pt>
                <c:pt idx="2621">
                  <c:v>9151.0985736107978</c:v>
                </c:pt>
                <c:pt idx="2622">
                  <c:v>9576.0634293425192</c:v>
                </c:pt>
                <c:pt idx="2623">
                  <c:v>9644.0759069505038</c:v>
                </c:pt>
                <c:pt idx="2624">
                  <c:v>9538.5149147083521</c:v>
                </c:pt>
                <c:pt idx="2625">
                  <c:v>9399.8782303471526</c:v>
                </c:pt>
                <c:pt idx="2626">
                  <c:v>9275.5755788444185</c:v>
                </c:pt>
                <c:pt idx="2627">
                  <c:v>9210.5579966004952</c:v>
                </c:pt>
                <c:pt idx="2628">
                  <c:v>9048.8121565265246</c:v>
                </c:pt>
                <c:pt idx="2629">
                  <c:v>8862.3656061605998</c:v>
                </c:pt>
                <c:pt idx="2630">
                  <c:v>8831.3520615177822</c:v>
                </c:pt>
                <c:pt idx="2631">
                  <c:v>8785.6120417109905</c:v>
                </c:pt>
                <c:pt idx="2632">
                  <c:v>8827.707471126374</c:v>
                </c:pt>
                <c:pt idx="2633">
                  <c:v>8822.174554535437</c:v>
                </c:pt>
                <c:pt idx="2634">
                  <c:v>8951.0666769491108</c:v>
                </c:pt>
                <c:pt idx="2635">
                  <c:v>8927.7605203319345</c:v>
                </c:pt>
                <c:pt idx="2636">
                  <c:v>8915.732067912988</c:v>
                </c:pt>
                <c:pt idx="2637">
                  <c:v>9088.93374759785</c:v>
                </c:pt>
                <c:pt idx="2638">
                  <c:v>8892.5241396952024</c:v>
                </c:pt>
                <c:pt idx="2639">
                  <c:v>8441.733334684177</c:v>
                </c:pt>
                <c:pt idx="2640">
                  <c:v>8104.9429578538984</c:v>
                </c:pt>
                <c:pt idx="2641">
                  <c:v>7976.5783985900789</c:v>
                </c:pt>
                <c:pt idx="2642">
                  <c:v>8010.7414832604118</c:v>
                </c:pt>
                <c:pt idx="2643">
                  <c:v>8157.9226818186498</c:v>
                </c:pt>
                <c:pt idx="2644">
                  <c:v>8363.2802665666404</c:v>
                </c:pt>
                <c:pt idx="2645">
                  <c:v>8972.8355683558366</c:v>
                </c:pt>
                <c:pt idx="2646">
                  <c:v>9344.5977868407936</c:v>
                </c:pt>
                <c:pt idx="2647">
                  <c:v>9452.7291760349708</c:v>
                </c:pt>
                <c:pt idx="2648">
                  <c:v>9380.0604485015065</c:v>
                </c:pt>
                <c:pt idx="2649">
                  <c:v>9210.0745407163631</c:v>
                </c:pt>
                <c:pt idx="2650">
                  <c:v>9164.4490053586869</c:v>
                </c:pt>
                <c:pt idx="2651">
                  <c:v>9094.6800077814078</c:v>
                </c:pt>
                <c:pt idx="2652">
                  <c:v>8954.1517383193241</c:v>
                </c:pt>
                <c:pt idx="2653">
                  <c:v>8879.0008664681354</c:v>
                </c:pt>
                <c:pt idx="2654">
                  <c:v>8848.0178947508266</c:v>
                </c:pt>
                <c:pt idx="2655">
                  <c:v>8841.6510743561539</c:v>
                </c:pt>
                <c:pt idx="2656">
                  <c:v>8839.3041653730252</c:v>
                </c:pt>
                <c:pt idx="2657">
                  <c:v>8951.6205311137783</c:v>
                </c:pt>
                <c:pt idx="2658">
                  <c:v>9160.4536885239668</c:v>
                </c:pt>
                <c:pt idx="2659">
                  <c:v>9164.4531727446192</c:v>
                </c:pt>
                <c:pt idx="2660">
                  <c:v>9063.7930817862816</c:v>
                </c:pt>
                <c:pt idx="2661">
                  <c:v>9211.7569112696401</c:v>
                </c:pt>
                <c:pt idx="2662">
                  <c:v>8975.2446538183594</c:v>
                </c:pt>
                <c:pt idx="2663">
                  <c:v>8625.9032653272825</c:v>
                </c:pt>
                <c:pt idx="2664">
                  <c:v>8324.4277249614534</c:v>
                </c:pt>
                <c:pt idx="2665">
                  <c:v>8190.908468759224</c:v>
                </c:pt>
                <c:pt idx="2666">
                  <c:v>8177.4566851748359</c:v>
                </c:pt>
                <c:pt idx="2667">
                  <c:v>8338.7959600324903</c:v>
                </c:pt>
                <c:pt idx="2668">
                  <c:v>8468.0093955271204</c:v>
                </c:pt>
                <c:pt idx="2669">
                  <c:v>9052.4917467680789</c:v>
                </c:pt>
                <c:pt idx="2670">
                  <c:v>9379.7129141913374</c:v>
                </c:pt>
                <c:pt idx="2671">
                  <c:v>9597.6199165619964</c:v>
                </c:pt>
                <c:pt idx="2672">
                  <c:v>9554.7570894147302</c:v>
                </c:pt>
                <c:pt idx="2673">
                  <c:v>9442.3153251789481</c:v>
                </c:pt>
                <c:pt idx="2674">
                  <c:v>9399.1242816728936</c:v>
                </c:pt>
                <c:pt idx="2675">
                  <c:v>9405.8471794096458</c:v>
                </c:pt>
                <c:pt idx="2676">
                  <c:v>9280.233706463785</c:v>
                </c:pt>
                <c:pt idx="2677">
                  <c:v>9273.7803931931521</c:v>
                </c:pt>
                <c:pt idx="2678">
                  <c:v>9229.5653765324951</c:v>
                </c:pt>
                <c:pt idx="2679">
                  <c:v>9229.0270448036008</c:v>
                </c:pt>
                <c:pt idx="2680">
                  <c:v>9296.6218659268015</c:v>
                </c:pt>
                <c:pt idx="2681">
                  <c:v>9313.0595533884443</c:v>
                </c:pt>
                <c:pt idx="2682">
                  <c:v>9401.7039745358707</c:v>
                </c:pt>
                <c:pt idx="2683">
                  <c:v>9401.9014401283348</c:v>
                </c:pt>
                <c:pt idx="2684">
                  <c:v>9311.1118517306859</c:v>
                </c:pt>
                <c:pt idx="2685">
                  <c:v>9440.8471445060823</c:v>
                </c:pt>
                <c:pt idx="2686">
                  <c:v>9287.469309941358</c:v>
                </c:pt>
                <c:pt idx="2687">
                  <c:v>8865.7693349724959</c:v>
                </c:pt>
                <c:pt idx="2688">
                  <c:v>8565.11472501143</c:v>
                </c:pt>
                <c:pt idx="2689">
                  <c:v>8384.3301201798913</c:v>
                </c:pt>
                <c:pt idx="2690">
                  <c:v>8441.5352001291249</c:v>
                </c:pt>
                <c:pt idx="2691">
                  <c:v>8607.4386670132844</c:v>
                </c:pt>
                <c:pt idx="2692">
                  <c:v>8803.0136813891986</c:v>
                </c:pt>
                <c:pt idx="2693">
                  <c:v>9468.8564466182979</c:v>
                </c:pt>
                <c:pt idx="2694">
                  <c:v>9973.3563634930742</c:v>
                </c:pt>
                <c:pt idx="2695">
                  <c:v>10259.896312353258</c:v>
                </c:pt>
                <c:pt idx="2696">
                  <c:v>10380.048898877412</c:v>
                </c:pt>
                <c:pt idx="2697">
                  <c:v>10460.571749588342</c:v>
                </c:pt>
                <c:pt idx="2698">
                  <c:v>10460.930332106353</c:v>
                </c:pt>
                <c:pt idx="2699">
                  <c:v>10416.934892961457</c:v>
                </c:pt>
                <c:pt idx="2700">
                  <c:v>10270.776644874273</c:v>
                </c:pt>
                <c:pt idx="2701">
                  <c:v>10138.391992451614</c:v>
                </c:pt>
                <c:pt idx="2702">
                  <c:v>9990.5423320538575</c:v>
                </c:pt>
                <c:pt idx="2703">
                  <c:v>10081.380380732704</c:v>
                </c:pt>
                <c:pt idx="2704">
                  <c:v>10182.6384534891</c:v>
                </c:pt>
                <c:pt idx="2705">
                  <c:v>10120.931946477658</c:v>
                </c:pt>
                <c:pt idx="2706">
                  <c:v>10200.704117294754</c:v>
                </c:pt>
                <c:pt idx="2707">
                  <c:v>10012.082030054911</c:v>
                </c:pt>
                <c:pt idx="2708">
                  <c:v>9750.4565662826499</c:v>
                </c:pt>
                <c:pt idx="2709">
                  <c:v>9837.2017174123757</c:v>
                </c:pt>
                <c:pt idx="2710">
                  <c:v>9612.6190642331385</c:v>
                </c:pt>
                <c:pt idx="2711">
                  <c:v>9216.1398645558402</c:v>
                </c:pt>
                <c:pt idx="2712">
                  <c:v>8870.3188443735253</c:v>
                </c:pt>
                <c:pt idx="2713">
                  <c:v>8606.9858924635337</c:v>
                </c:pt>
                <c:pt idx="2714">
                  <c:v>8514.3811998529927</c:v>
                </c:pt>
                <c:pt idx="2715">
                  <c:v>8586.264522192012</c:v>
                </c:pt>
                <c:pt idx="2716">
                  <c:v>8566.9842125707492</c:v>
                </c:pt>
                <c:pt idx="2717">
                  <c:v>8673.6156722498399</c:v>
                </c:pt>
                <c:pt idx="2718">
                  <c:v>8801.4028384676312</c:v>
                </c:pt>
                <c:pt idx="2719">
                  <c:v>9082.41375306798</c:v>
                </c:pt>
                <c:pt idx="2720">
                  <c:v>9320.1176113747606</c:v>
                </c:pt>
                <c:pt idx="2721">
                  <c:v>9471.1412234601521</c:v>
                </c:pt>
                <c:pt idx="2722">
                  <c:v>9509.7447982687299</c:v>
                </c:pt>
                <c:pt idx="2723">
                  <c:v>9461.1671647629519</c:v>
                </c:pt>
                <c:pt idx="2724">
                  <c:v>9394.5688736904413</c:v>
                </c:pt>
                <c:pt idx="2725">
                  <c:v>9298.2178775421125</c:v>
                </c:pt>
                <c:pt idx="2726">
                  <c:v>9351.9925438727405</c:v>
                </c:pt>
                <c:pt idx="2727">
                  <c:v>9489.4047430012051</c:v>
                </c:pt>
                <c:pt idx="2728">
                  <c:v>9728.4191223393718</c:v>
                </c:pt>
                <c:pt idx="2729">
                  <c:v>9903.0682203748765</c:v>
                </c:pt>
                <c:pt idx="2730">
                  <c:v>9929.6206935719965</c:v>
                </c:pt>
                <c:pt idx="2731">
                  <c:v>9690.8879928240349</c:v>
                </c:pt>
                <c:pt idx="2732">
                  <c:v>9453.9526968041937</c:v>
                </c:pt>
                <c:pt idx="2733">
                  <c:v>9572.4987963831627</c:v>
                </c:pt>
                <c:pt idx="2734">
                  <c:v>9370.8915156858602</c:v>
                </c:pt>
                <c:pt idx="2735">
                  <c:v>8969.3943329541489</c:v>
                </c:pt>
                <c:pt idx="2736">
                  <c:v>8594.2387409922085</c:v>
                </c:pt>
                <c:pt idx="2737">
                  <c:v>8391.2805202634154</c:v>
                </c:pt>
                <c:pt idx="2738">
                  <c:v>8292.5117585180451</c:v>
                </c:pt>
                <c:pt idx="2739">
                  <c:v>8310.5197372567836</c:v>
                </c:pt>
                <c:pt idx="2740">
                  <c:v>8236.0957186881642</c:v>
                </c:pt>
                <c:pt idx="2741">
                  <c:v>8255.7043358825958</c:v>
                </c:pt>
                <c:pt idx="2742">
                  <c:v>8375.5819045406952</c:v>
                </c:pt>
                <c:pt idx="2743">
                  <c:v>8662.5313715447937</c:v>
                </c:pt>
                <c:pt idx="2744">
                  <c:v>8928.9109278674714</c:v>
                </c:pt>
                <c:pt idx="2745">
                  <c:v>8974.8102120899912</c:v>
                </c:pt>
                <c:pt idx="2746">
                  <c:v>9090.0217390437574</c:v>
                </c:pt>
                <c:pt idx="2747">
                  <c:v>9093.3454985787866</c:v>
                </c:pt>
                <c:pt idx="2748">
                  <c:v>9078.2884086261656</c:v>
                </c:pt>
                <c:pt idx="2749">
                  <c:v>9069.7677875752943</c:v>
                </c:pt>
                <c:pt idx="2750">
                  <c:v>9077.3512554051013</c:v>
                </c:pt>
                <c:pt idx="2751">
                  <c:v>9190.0829281791666</c:v>
                </c:pt>
                <c:pt idx="2752">
                  <c:v>9277.8362098807829</c:v>
                </c:pt>
                <c:pt idx="2753">
                  <c:v>9472.3984182236873</c:v>
                </c:pt>
                <c:pt idx="2754">
                  <c:v>9615.1972031348923</c:v>
                </c:pt>
                <c:pt idx="2755">
                  <c:v>9569.2873245420615</c:v>
                </c:pt>
                <c:pt idx="2756">
                  <c:v>9450.7328071481625</c:v>
                </c:pt>
                <c:pt idx="2757">
                  <c:v>9745.2998713983707</c:v>
                </c:pt>
                <c:pt idx="2758">
                  <c:v>9614.636097328148</c:v>
                </c:pt>
                <c:pt idx="2759">
                  <c:v>9263.4756360271567</c:v>
                </c:pt>
                <c:pt idx="2760">
                  <c:v>8913.0246541014731</c:v>
                </c:pt>
                <c:pt idx="2761">
                  <c:v>8718.6848288278397</c:v>
                </c:pt>
                <c:pt idx="2762">
                  <c:v>8700.2168237586029</c:v>
                </c:pt>
                <c:pt idx="2763">
                  <c:v>8778.2038815974011</c:v>
                </c:pt>
                <c:pt idx="2764">
                  <c:v>8977.8208589574278</c:v>
                </c:pt>
                <c:pt idx="2765">
                  <c:v>9634.6902684312172</c:v>
                </c:pt>
                <c:pt idx="2766">
                  <c:v>10131.635238133333</c:v>
                </c:pt>
                <c:pt idx="2767">
                  <c:v>10451.057144511477</c:v>
                </c:pt>
                <c:pt idx="2768">
                  <c:v>10583.251553110253</c:v>
                </c:pt>
                <c:pt idx="2769">
                  <c:v>10719.715623330014</c:v>
                </c:pt>
                <c:pt idx="2770">
                  <c:v>10683.922538413155</c:v>
                </c:pt>
                <c:pt idx="2771">
                  <c:v>10498.080429422605</c:v>
                </c:pt>
                <c:pt idx="2772">
                  <c:v>10369.703035416416</c:v>
                </c:pt>
                <c:pt idx="2773">
                  <c:v>10273.629193098754</c:v>
                </c:pt>
                <c:pt idx="2774">
                  <c:v>10241.495508999285</c:v>
                </c:pt>
                <c:pt idx="2775">
                  <c:v>10119.578913377203</c:v>
                </c:pt>
                <c:pt idx="2776">
                  <c:v>10092.951460696857</c:v>
                </c:pt>
                <c:pt idx="2777">
                  <c:v>10038.390034859225</c:v>
                </c:pt>
                <c:pt idx="2778">
                  <c:v>10152.260613080873</c:v>
                </c:pt>
                <c:pt idx="2779">
                  <c:v>9977.2438211264198</c:v>
                </c:pt>
                <c:pt idx="2780">
                  <c:v>9863.0870752858063</c:v>
                </c:pt>
                <c:pt idx="2781">
                  <c:v>9980.6384294986237</c:v>
                </c:pt>
                <c:pt idx="2782">
                  <c:v>9747.2781976305432</c:v>
                </c:pt>
                <c:pt idx="2783">
                  <c:v>9299.8414211986055</c:v>
                </c:pt>
                <c:pt idx="2784">
                  <c:v>8909.5560190223587</c:v>
                </c:pt>
                <c:pt idx="2785">
                  <c:v>8669.9743815729416</c:v>
                </c:pt>
                <c:pt idx="2786">
                  <c:v>8681.0306092474584</c:v>
                </c:pt>
                <c:pt idx="2787">
                  <c:v>8749.9281245332204</c:v>
                </c:pt>
                <c:pt idx="2788">
                  <c:v>8959.2987475790796</c:v>
                </c:pt>
                <c:pt idx="2789">
                  <c:v>9567.913236942848</c:v>
                </c:pt>
                <c:pt idx="2790">
                  <c:v>10028.105893725186</c:v>
                </c:pt>
                <c:pt idx="2791">
                  <c:v>10197.886180267918</c:v>
                </c:pt>
                <c:pt idx="2792">
                  <c:v>10195.722004128791</c:v>
                </c:pt>
                <c:pt idx="2793">
                  <c:v>10214.931510009141</c:v>
                </c:pt>
                <c:pt idx="2794">
                  <c:v>10224.3775842017</c:v>
                </c:pt>
                <c:pt idx="2795">
                  <c:v>10078.080711575307</c:v>
                </c:pt>
                <c:pt idx="2796">
                  <c:v>9993.706580504966</c:v>
                </c:pt>
                <c:pt idx="2797">
                  <c:v>9963.8478410998723</c:v>
                </c:pt>
                <c:pt idx="2798">
                  <c:v>9918.9819037232301</c:v>
                </c:pt>
                <c:pt idx="2799">
                  <c:v>9939.5904614525662</c:v>
                </c:pt>
                <c:pt idx="2800">
                  <c:v>9996.9418852414965</c:v>
                </c:pt>
                <c:pt idx="2801">
                  <c:v>10044.275147889515</c:v>
                </c:pt>
                <c:pt idx="2802">
                  <c:v>10165.331463445587</c:v>
                </c:pt>
                <c:pt idx="2803">
                  <c:v>10082.561591440808</c:v>
                </c:pt>
                <c:pt idx="2804">
                  <c:v>9857.6905446037927</c:v>
                </c:pt>
                <c:pt idx="2805">
                  <c:v>10083.41851938845</c:v>
                </c:pt>
                <c:pt idx="2806">
                  <c:v>9855.6400214852692</c:v>
                </c:pt>
                <c:pt idx="2807">
                  <c:v>9385.834237613517</c:v>
                </c:pt>
                <c:pt idx="2808">
                  <c:v>9119.4605895228451</c:v>
                </c:pt>
                <c:pt idx="2809">
                  <c:v>8965.0455940562679</c:v>
                </c:pt>
                <c:pt idx="2810">
                  <c:v>8960.6197687432359</c:v>
                </c:pt>
                <c:pt idx="2811">
                  <c:v>8955.5480096007304</c:v>
                </c:pt>
                <c:pt idx="2812">
                  <c:v>9089.9131426456079</c:v>
                </c:pt>
                <c:pt idx="2813">
                  <c:v>9768.9385363376896</c:v>
                </c:pt>
                <c:pt idx="2814">
                  <c:v>10085.694655363613</c:v>
                </c:pt>
                <c:pt idx="2815">
                  <c:v>10224.165162195275</c:v>
                </c:pt>
                <c:pt idx="2816">
                  <c:v>10199.568997252836</c:v>
                </c:pt>
                <c:pt idx="2817">
                  <c:v>10173.564771709427</c:v>
                </c:pt>
                <c:pt idx="2818">
                  <c:v>10084.417740238829</c:v>
                </c:pt>
                <c:pt idx="2819">
                  <c:v>9945.9068428638293</c:v>
                </c:pt>
                <c:pt idx="2820">
                  <c:v>9813.11975191085</c:v>
                </c:pt>
                <c:pt idx="2821">
                  <c:v>9792.0706862983934</c:v>
                </c:pt>
                <c:pt idx="2822">
                  <c:v>9662.9413997576212</c:v>
                </c:pt>
                <c:pt idx="2823">
                  <c:v>9622.4603291997919</c:v>
                </c:pt>
                <c:pt idx="2824">
                  <c:v>9710.9458586960154</c:v>
                </c:pt>
                <c:pt idx="2825">
                  <c:v>9751.3129533795345</c:v>
                </c:pt>
                <c:pt idx="2826">
                  <c:v>9940.3998519959896</c:v>
                </c:pt>
                <c:pt idx="2827">
                  <c:v>9902.0365761899357</c:v>
                </c:pt>
                <c:pt idx="2828">
                  <c:v>9689.9654906383075</c:v>
                </c:pt>
                <c:pt idx="2829">
                  <c:v>9968.1312646500337</c:v>
                </c:pt>
                <c:pt idx="2830">
                  <c:v>9793.8335217063959</c:v>
                </c:pt>
                <c:pt idx="2831">
                  <c:v>9362.7969690658992</c:v>
                </c:pt>
                <c:pt idx="2832">
                  <c:v>9124.6101023068368</c:v>
                </c:pt>
                <c:pt idx="2833">
                  <c:v>9004.502006982324</c:v>
                </c:pt>
                <c:pt idx="2834">
                  <c:v>8990.5731860467058</c:v>
                </c:pt>
                <c:pt idx="2835">
                  <c:v>9117.4992614637704</c:v>
                </c:pt>
                <c:pt idx="2836">
                  <c:v>9193.414182477436</c:v>
                </c:pt>
                <c:pt idx="2837">
                  <c:v>9917.2237129514961</c:v>
                </c:pt>
                <c:pt idx="2838">
                  <c:v>10245.533944625724</c:v>
                </c:pt>
                <c:pt idx="2839">
                  <c:v>10353.950081462415</c:v>
                </c:pt>
                <c:pt idx="2840">
                  <c:v>10313.969819670721</c:v>
                </c:pt>
                <c:pt idx="2841">
                  <c:v>10267.473948417301</c:v>
                </c:pt>
                <c:pt idx="2842">
                  <c:v>10164.816252707136</c:v>
                </c:pt>
                <c:pt idx="2843">
                  <c:v>9974.9505106386459</c:v>
                </c:pt>
                <c:pt idx="2844">
                  <c:v>9843.922586746814</c:v>
                </c:pt>
                <c:pt idx="2845">
                  <c:v>9777.5576532254745</c:v>
                </c:pt>
                <c:pt idx="2846">
                  <c:v>9699.4509931680932</c:v>
                </c:pt>
                <c:pt idx="2847">
                  <c:v>9698.4324283043188</c:v>
                </c:pt>
                <c:pt idx="2848">
                  <c:v>9665.5689982366694</c:v>
                </c:pt>
                <c:pt idx="2849">
                  <c:v>9718.9355309933253</c:v>
                </c:pt>
                <c:pt idx="2850">
                  <c:v>9804.4958763872546</c:v>
                </c:pt>
                <c:pt idx="2851">
                  <c:v>9849.3456499490603</c:v>
                </c:pt>
                <c:pt idx="2852">
                  <c:v>9762.9897928572827</c:v>
                </c:pt>
                <c:pt idx="2853">
                  <c:v>10072.575683082763</c:v>
                </c:pt>
                <c:pt idx="2854">
                  <c:v>9934.2915369377897</c:v>
                </c:pt>
                <c:pt idx="2855">
                  <c:v>9515.0919382087504</c:v>
                </c:pt>
                <c:pt idx="2856">
                  <c:v>9162.4718038098781</c:v>
                </c:pt>
                <c:pt idx="2857">
                  <c:v>9062.2799168079528</c:v>
                </c:pt>
                <c:pt idx="2858">
                  <c:v>9051.3250078854817</c:v>
                </c:pt>
                <c:pt idx="2859">
                  <c:v>9176.5993758516561</c:v>
                </c:pt>
                <c:pt idx="2860">
                  <c:v>9295.9191011485527</c:v>
                </c:pt>
                <c:pt idx="2861">
                  <c:v>9958.6098410371924</c:v>
                </c:pt>
                <c:pt idx="2862">
                  <c:v>10214.102183065852</c:v>
                </c:pt>
                <c:pt idx="2863">
                  <c:v>10346.111704841274</c:v>
                </c:pt>
                <c:pt idx="2864">
                  <c:v>10279.48422102179</c:v>
                </c:pt>
                <c:pt idx="2865">
                  <c:v>10232.705200268023</c:v>
                </c:pt>
                <c:pt idx="2866">
                  <c:v>10134.943977101801</c:v>
                </c:pt>
                <c:pt idx="2867">
                  <c:v>9934.5674574390341</c:v>
                </c:pt>
                <c:pt idx="2868">
                  <c:v>9797.6734277960441</c:v>
                </c:pt>
                <c:pt idx="2869">
                  <c:v>9568.3407697344082</c:v>
                </c:pt>
                <c:pt idx="2870">
                  <c:v>9521.3657518150903</c:v>
                </c:pt>
                <c:pt idx="2871">
                  <c:v>9482.9351722612573</c:v>
                </c:pt>
                <c:pt idx="2872">
                  <c:v>9478.8051403412774</c:v>
                </c:pt>
                <c:pt idx="2873">
                  <c:v>9509.2871989922733</c:v>
                </c:pt>
                <c:pt idx="2874">
                  <c:v>9507.7746834980171</c:v>
                </c:pt>
                <c:pt idx="2875">
                  <c:v>9426.6183224484976</c:v>
                </c:pt>
                <c:pt idx="2876">
                  <c:v>9277.4280227204817</c:v>
                </c:pt>
                <c:pt idx="2877">
                  <c:v>9740.2109693940984</c:v>
                </c:pt>
                <c:pt idx="2878">
                  <c:v>9622.4621032656523</c:v>
                </c:pt>
                <c:pt idx="2879">
                  <c:v>9401.0786109221626</c:v>
                </c:pt>
                <c:pt idx="2880">
                  <c:v>9082.1310616531082</c:v>
                </c:pt>
                <c:pt idx="2881">
                  <c:v>8922.941215069337</c:v>
                </c:pt>
                <c:pt idx="2882">
                  <c:v>8848.6268889375915</c:v>
                </c:pt>
                <c:pt idx="2883">
                  <c:v>8863.3151023176579</c:v>
                </c:pt>
                <c:pt idx="2884">
                  <c:v>8753.960594589993</c:v>
                </c:pt>
                <c:pt idx="2885">
                  <c:v>8836.4638462677995</c:v>
                </c:pt>
                <c:pt idx="2886">
                  <c:v>8835.9246779811529</c:v>
                </c:pt>
                <c:pt idx="2887">
                  <c:v>8926.1061899810247</c:v>
                </c:pt>
                <c:pt idx="2888">
                  <c:v>9025.4169250846699</c:v>
                </c:pt>
                <c:pt idx="2889">
                  <c:v>9134.5062712477138</c:v>
                </c:pt>
                <c:pt idx="2890">
                  <c:v>9214.5402592928149</c:v>
                </c:pt>
                <c:pt idx="2891">
                  <c:v>9193.8326031916786</c:v>
                </c:pt>
                <c:pt idx="2892">
                  <c:v>9024.950033937881</c:v>
                </c:pt>
                <c:pt idx="2893">
                  <c:v>8947.6484525851756</c:v>
                </c:pt>
                <c:pt idx="2894">
                  <c:v>8967.3201380284972</c:v>
                </c:pt>
                <c:pt idx="2895">
                  <c:v>9023.1776462848775</c:v>
                </c:pt>
                <c:pt idx="2896">
                  <c:v>9259.2994401182605</c:v>
                </c:pt>
                <c:pt idx="2897">
                  <c:v>9501.2877635343957</c:v>
                </c:pt>
                <c:pt idx="2898">
                  <c:v>9627.3026542529897</c:v>
                </c:pt>
                <c:pt idx="2899">
                  <c:v>9519.8683341539891</c:v>
                </c:pt>
                <c:pt idx="2900">
                  <c:v>9258.5878395644759</c:v>
                </c:pt>
                <c:pt idx="2901">
                  <c:v>9672.5574085226253</c:v>
                </c:pt>
                <c:pt idx="2902">
                  <c:v>9635.5405220814773</c:v>
                </c:pt>
                <c:pt idx="2903">
                  <c:v>9317.3291096350076</c:v>
                </c:pt>
                <c:pt idx="2904">
                  <c:v>8954.7701498960669</c:v>
                </c:pt>
                <c:pt idx="2905">
                  <c:v>8807.2533700977219</c:v>
                </c:pt>
                <c:pt idx="2906">
                  <c:v>8824.7550962849582</c:v>
                </c:pt>
                <c:pt idx="2907">
                  <c:v>8811.8011629474768</c:v>
                </c:pt>
                <c:pt idx="2908">
                  <c:v>8707.670122620988</c:v>
                </c:pt>
                <c:pt idx="2909">
                  <c:v>8764.4387912932762</c:v>
                </c:pt>
                <c:pt idx="2910">
                  <c:v>8787.8892831231205</c:v>
                </c:pt>
                <c:pt idx="2911">
                  <c:v>8838.5972863216721</c:v>
                </c:pt>
                <c:pt idx="2912">
                  <c:v>8917.2826376802223</c:v>
                </c:pt>
                <c:pt idx="2913">
                  <c:v>8893.0247368132314</c:v>
                </c:pt>
                <c:pt idx="2914">
                  <c:v>8919.0143237192042</c:v>
                </c:pt>
                <c:pt idx="2915">
                  <c:v>8981.3800514613486</c:v>
                </c:pt>
                <c:pt idx="2916">
                  <c:v>8893.4601236976032</c:v>
                </c:pt>
                <c:pt idx="2917">
                  <c:v>8800.0535364992538</c:v>
                </c:pt>
                <c:pt idx="2918">
                  <c:v>8771.4060131642855</c:v>
                </c:pt>
                <c:pt idx="2919">
                  <c:v>8771.4106849097625</c:v>
                </c:pt>
                <c:pt idx="2920">
                  <c:v>8868.0112337552273</c:v>
                </c:pt>
                <c:pt idx="2921">
                  <c:v>8986.3694602914693</c:v>
                </c:pt>
                <c:pt idx="2922">
                  <c:v>9147.2365849394446</c:v>
                </c:pt>
                <c:pt idx="2923">
                  <c:v>9144.0878843293303</c:v>
                </c:pt>
                <c:pt idx="2924">
                  <c:v>8967.1914987785294</c:v>
                </c:pt>
                <c:pt idx="2925">
                  <c:v>9419.877471435002</c:v>
                </c:pt>
                <c:pt idx="2926">
                  <c:v>9390.5582611127538</c:v>
                </c:pt>
                <c:pt idx="2927">
                  <c:v>9162.4552653180181</c:v>
                </c:pt>
                <c:pt idx="2928">
                  <c:v>8875.6474118259648</c:v>
                </c:pt>
                <c:pt idx="2929">
                  <c:v>8762.9242704886183</c:v>
                </c:pt>
                <c:pt idx="2930">
                  <c:v>8800.5411527457618</c:v>
                </c:pt>
                <c:pt idx="2931">
                  <c:v>8877.1214662929106</c:v>
                </c:pt>
                <c:pt idx="2932">
                  <c:v>9017.046650661694</c:v>
                </c:pt>
                <c:pt idx="2933">
                  <c:v>9651.829635184351</c:v>
                </c:pt>
                <c:pt idx="2934">
                  <c:v>10082.346455190091</c:v>
                </c:pt>
                <c:pt idx="2935">
                  <c:v>10240.497071924647</c:v>
                </c:pt>
                <c:pt idx="2936">
                  <c:v>10161.324006759474</c:v>
                </c:pt>
                <c:pt idx="2937">
                  <c:v>10030.265876464422</c:v>
                </c:pt>
                <c:pt idx="2938">
                  <c:v>9979.8917670078135</c:v>
                </c:pt>
                <c:pt idx="2939">
                  <c:v>9955.6032873845361</c:v>
                </c:pt>
                <c:pt idx="2940">
                  <c:v>9870.9926287605977</c:v>
                </c:pt>
                <c:pt idx="2941">
                  <c:v>9804.0912640299139</c:v>
                </c:pt>
                <c:pt idx="2942">
                  <c:v>9670.9999709465646</c:v>
                </c:pt>
                <c:pt idx="2943">
                  <c:v>9583.6937718596255</c:v>
                </c:pt>
                <c:pt idx="2944">
                  <c:v>9533.3643069098653</c:v>
                </c:pt>
                <c:pt idx="2945">
                  <c:v>9374.8169073312856</c:v>
                </c:pt>
                <c:pt idx="2946">
                  <c:v>9492.4980458169375</c:v>
                </c:pt>
                <c:pt idx="2947">
                  <c:v>9453.3636565118486</c:v>
                </c:pt>
                <c:pt idx="2948">
                  <c:v>9176.8585332690654</c:v>
                </c:pt>
                <c:pt idx="2949">
                  <c:v>9540.9671355122409</c:v>
                </c:pt>
                <c:pt idx="2950">
                  <c:v>9397.5176926377153</c:v>
                </c:pt>
                <c:pt idx="2951">
                  <c:v>8983.3275091226642</c:v>
                </c:pt>
                <c:pt idx="2952">
                  <c:v>8722.5442841254335</c:v>
                </c:pt>
                <c:pt idx="2953">
                  <c:v>8559.9879902927587</c:v>
                </c:pt>
                <c:pt idx="2954">
                  <c:v>8536.4001315016794</c:v>
                </c:pt>
                <c:pt idx="2955">
                  <c:v>8556.6848104916498</c:v>
                </c:pt>
                <c:pt idx="2956">
                  <c:v>8635.3831734869127</c:v>
                </c:pt>
                <c:pt idx="2957">
                  <c:v>9245.9539719336572</c:v>
                </c:pt>
                <c:pt idx="2958">
                  <c:v>9711.4720972429495</c:v>
                </c:pt>
                <c:pt idx="2959">
                  <c:v>9853.6438444953783</c:v>
                </c:pt>
                <c:pt idx="2960">
                  <c:v>9762.4309287539727</c:v>
                </c:pt>
                <c:pt idx="2961">
                  <c:v>9605.3973121706204</c:v>
                </c:pt>
                <c:pt idx="2962">
                  <c:v>9611.0128600353055</c:v>
                </c:pt>
                <c:pt idx="2963">
                  <c:v>9541.7678981356839</c:v>
                </c:pt>
                <c:pt idx="2964">
                  <c:v>9440.6090309424744</c:v>
                </c:pt>
                <c:pt idx="2965">
                  <c:v>9256.2940335321</c:v>
                </c:pt>
                <c:pt idx="2966">
                  <c:v>9337.8796372373981</c:v>
                </c:pt>
                <c:pt idx="2967">
                  <c:v>9303.2831238564177</c:v>
                </c:pt>
                <c:pt idx="2968">
                  <c:v>9413.345026433597</c:v>
                </c:pt>
                <c:pt idx="2969">
                  <c:v>9381.842289532804</c:v>
                </c:pt>
                <c:pt idx="2970">
                  <c:v>9501.7908849316027</c:v>
                </c:pt>
                <c:pt idx="2971">
                  <c:v>9461.1159791151513</c:v>
                </c:pt>
                <c:pt idx="2972">
                  <c:v>9276.0506111882059</c:v>
                </c:pt>
                <c:pt idx="2973">
                  <c:v>9516.2825691418293</c:v>
                </c:pt>
                <c:pt idx="2974">
                  <c:v>9381.346955627816</c:v>
                </c:pt>
                <c:pt idx="2975">
                  <c:v>9023.9783418301831</c:v>
                </c:pt>
                <c:pt idx="2976">
                  <c:v>8704.1319998405324</c:v>
                </c:pt>
                <c:pt idx="2977">
                  <c:v>8571.5914085402856</c:v>
                </c:pt>
                <c:pt idx="2978">
                  <c:v>8519.8067106793351</c:v>
                </c:pt>
                <c:pt idx="2979">
                  <c:v>8548.1199211525218</c:v>
                </c:pt>
                <c:pt idx="2980">
                  <c:v>8670.3764543865436</c:v>
                </c:pt>
                <c:pt idx="2981">
                  <c:v>9314.8633101628384</c:v>
                </c:pt>
                <c:pt idx="2982">
                  <c:v>9763.2306899759042</c:v>
                </c:pt>
                <c:pt idx="2983">
                  <c:v>9955.143183616321</c:v>
                </c:pt>
                <c:pt idx="2984">
                  <c:v>9859.1741621152978</c:v>
                </c:pt>
                <c:pt idx="2985">
                  <c:v>9837.76944155206</c:v>
                </c:pt>
                <c:pt idx="2986">
                  <c:v>9902.0399729564451</c:v>
                </c:pt>
                <c:pt idx="2987">
                  <c:v>9982.7100961269771</c:v>
                </c:pt>
                <c:pt idx="2988">
                  <c:v>9923.7489987700392</c:v>
                </c:pt>
                <c:pt idx="2989">
                  <c:v>9952.051770465021</c:v>
                </c:pt>
                <c:pt idx="2990">
                  <c:v>9943.4716403005605</c:v>
                </c:pt>
                <c:pt idx="2991">
                  <c:v>9944.1355730440191</c:v>
                </c:pt>
                <c:pt idx="2992">
                  <c:v>10050.161172571205</c:v>
                </c:pt>
                <c:pt idx="2993">
                  <c:v>10197.928841714152</c:v>
                </c:pt>
                <c:pt idx="2994">
                  <c:v>10231.684598384976</c:v>
                </c:pt>
                <c:pt idx="2995">
                  <c:v>10111.547119086923</c:v>
                </c:pt>
                <c:pt idx="2996">
                  <c:v>9795.6571099174726</c:v>
                </c:pt>
                <c:pt idx="2997">
                  <c:v>9927.9919578568915</c:v>
                </c:pt>
                <c:pt idx="2998">
                  <c:v>9692.062998719568</c:v>
                </c:pt>
                <c:pt idx="2999">
                  <c:v>9281.9171469956618</c:v>
                </c:pt>
                <c:pt idx="3000">
                  <c:v>8931.9786885045014</c:v>
                </c:pt>
                <c:pt idx="3001">
                  <c:v>8775.0906227550731</c:v>
                </c:pt>
                <c:pt idx="3002">
                  <c:v>8662.641736630163</c:v>
                </c:pt>
                <c:pt idx="3003">
                  <c:v>8742.6395533492214</c:v>
                </c:pt>
                <c:pt idx="3004">
                  <c:v>8879.0220741872818</c:v>
                </c:pt>
                <c:pt idx="3005">
                  <c:v>9546.3712257626848</c:v>
                </c:pt>
                <c:pt idx="3006">
                  <c:v>10007.605887885489</c:v>
                </c:pt>
                <c:pt idx="3007">
                  <c:v>10290.932113088526</c:v>
                </c:pt>
                <c:pt idx="3008">
                  <c:v>10388.421201270639</c:v>
                </c:pt>
                <c:pt idx="3009">
                  <c:v>10454.035864067258</c:v>
                </c:pt>
                <c:pt idx="3010">
                  <c:v>10345.544021504173</c:v>
                </c:pt>
                <c:pt idx="3011">
                  <c:v>10196.023237108795</c:v>
                </c:pt>
                <c:pt idx="3012">
                  <c:v>10145.448575008104</c:v>
                </c:pt>
                <c:pt idx="3013">
                  <c:v>10102.825607490406</c:v>
                </c:pt>
                <c:pt idx="3014">
                  <c:v>10080.000855355676</c:v>
                </c:pt>
                <c:pt idx="3015">
                  <c:v>10054.164425852117</c:v>
                </c:pt>
                <c:pt idx="3016">
                  <c:v>10056.521073064059</c:v>
                </c:pt>
                <c:pt idx="3017">
                  <c:v>10014.21551947132</c:v>
                </c:pt>
                <c:pt idx="3018">
                  <c:v>10108.106182190573</c:v>
                </c:pt>
                <c:pt idx="3019">
                  <c:v>10008.5886742538</c:v>
                </c:pt>
                <c:pt idx="3020">
                  <c:v>9689.6547573063708</c:v>
                </c:pt>
                <c:pt idx="3021">
                  <c:v>9882.7155684510672</c:v>
                </c:pt>
                <c:pt idx="3022">
                  <c:v>9733.4889149334831</c:v>
                </c:pt>
                <c:pt idx="3023">
                  <c:v>9283.9003280551133</c:v>
                </c:pt>
                <c:pt idx="3024">
                  <c:v>9018.1349165093088</c:v>
                </c:pt>
                <c:pt idx="3025">
                  <c:v>8818.8393100697394</c:v>
                </c:pt>
                <c:pt idx="3026">
                  <c:v>8735.5509414137232</c:v>
                </c:pt>
                <c:pt idx="3027">
                  <c:v>8833.8568008576622</c:v>
                </c:pt>
                <c:pt idx="3028">
                  <c:v>9012.0370038162728</c:v>
                </c:pt>
                <c:pt idx="3029">
                  <c:v>9707.071175908437</c:v>
                </c:pt>
                <c:pt idx="3030">
                  <c:v>10092.550732985077</c:v>
                </c:pt>
                <c:pt idx="3031">
                  <c:v>10314.537649680888</c:v>
                </c:pt>
                <c:pt idx="3032">
                  <c:v>10298.6537686017</c:v>
                </c:pt>
                <c:pt idx="3033">
                  <c:v>10339.130316612143</c:v>
                </c:pt>
                <c:pt idx="3034">
                  <c:v>10390.505754852535</c:v>
                </c:pt>
                <c:pt idx="3035">
                  <c:v>10396.856319299684</c:v>
                </c:pt>
                <c:pt idx="3036">
                  <c:v>10272.532995234202</c:v>
                </c:pt>
                <c:pt idx="3037">
                  <c:v>10232.466129283159</c:v>
                </c:pt>
                <c:pt idx="3038">
                  <c:v>10194.598720804515</c:v>
                </c:pt>
                <c:pt idx="3039">
                  <c:v>10146.596870755826</c:v>
                </c:pt>
                <c:pt idx="3040">
                  <c:v>10198.587477192263</c:v>
                </c:pt>
                <c:pt idx="3041">
                  <c:v>10203.561759052862</c:v>
                </c:pt>
                <c:pt idx="3042">
                  <c:v>10141.027603631608</c:v>
                </c:pt>
                <c:pt idx="3043">
                  <c:v>10016.622878081218</c:v>
                </c:pt>
                <c:pt idx="3044">
                  <c:v>9800.822641263494</c:v>
                </c:pt>
                <c:pt idx="3045">
                  <c:v>10066.360778694885</c:v>
                </c:pt>
                <c:pt idx="3046">
                  <c:v>9841.4953840653543</c:v>
                </c:pt>
                <c:pt idx="3047">
                  <c:v>9348.551823791131</c:v>
                </c:pt>
                <c:pt idx="3048">
                  <c:v>8977.8489317096592</c:v>
                </c:pt>
                <c:pt idx="3049">
                  <c:v>8873.2141204433519</c:v>
                </c:pt>
                <c:pt idx="3050">
                  <c:v>8787.6751474507255</c:v>
                </c:pt>
                <c:pt idx="3051">
                  <c:v>8697.8273545729771</c:v>
                </c:pt>
                <c:pt idx="3052">
                  <c:v>8601.3460329398276</c:v>
                </c:pt>
                <c:pt idx="3053">
                  <c:v>8805.3835327095567</c:v>
                </c:pt>
                <c:pt idx="3054">
                  <c:v>8896.9184772076987</c:v>
                </c:pt>
                <c:pt idx="3055">
                  <c:v>9029.0457428830905</c:v>
                </c:pt>
                <c:pt idx="3056">
                  <c:v>9199.526335137798</c:v>
                </c:pt>
                <c:pt idx="3057">
                  <c:v>9269.9628481618165</c:v>
                </c:pt>
                <c:pt idx="3058">
                  <c:v>9284.372062288392</c:v>
                </c:pt>
                <c:pt idx="3059">
                  <c:v>9246.7334084598606</c:v>
                </c:pt>
                <c:pt idx="3060">
                  <c:v>9167.1228848329938</c:v>
                </c:pt>
                <c:pt idx="3061">
                  <c:v>9111.1566920539863</c:v>
                </c:pt>
                <c:pt idx="3062">
                  <c:v>9095.3769261861107</c:v>
                </c:pt>
                <c:pt idx="3063">
                  <c:v>9118.9828754765986</c:v>
                </c:pt>
                <c:pt idx="3064">
                  <c:v>9289.8087575565005</c:v>
                </c:pt>
                <c:pt idx="3065">
                  <c:v>9493.9947572049841</c:v>
                </c:pt>
                <c:pt idx="3066">
                  <c:v>9594.378780259638</c:v>
                </c:pt>
                <c:pt idx="3067">
                  <c:v>9412.2436927554099</c:v>
                </c:pt>
                <c:pt idx="3068">
                  <c:v>9108.984852112937</c:v>
                </c:pt>
                <c:pt idx="3069">
                  <c:v>9451.8125494728829</c:v>
                </c:pt>
                <c:pt idx="3070">
                  <c:v>9447.2004809210339</c:v>
                </c:pt>
                <c:pt idx="3071">
                  <c:v>9069.5783598360085</c:v>
                </c:pt>
                <c:pt idx="3072">
                  <c:v>8749.8689381074182</c:v>
                </c:pt>
                <c:pt idx="3073">
                  <c:v>8543.072780587443</c:v>
                </c:pt>
                <c:pt idx="3074">
                  <c:v>8439.2637999591043</c:v>
                </c:pt>
                <c:pt idx="3075">
                  <c:v>8414.8718803727334</c:v>
                </c:pt>
                <c:pt idx="3076">
                  <c:v>8345.1044150767466</c:v>
                </c:pt>
                <c:pt idx="3077">
                  <c:v>8380.026501129083</c:v>
                </c:pt>
                <c:pt idx="3078">
                  <c:v>8392.3241637308383</c:v>
                </c:pt>
                <c:pt idx="3079">
                  <c:v>8516.2543126859946</c:v>
                </c:pt>
                <c:pt idx="3080">
                  <c:v>8659.4991262199055</c:v>
                </c:pt>
                <c:pt idx="3081">
                  <c:v>8657.272895672264</c:v>
                </c:pt>
                <c:pt idx="3082">
                  <c:v>8641.7311919135209</c:v>
                </c:pt>
                <c:pt idx="3083">
                  <c:v>8614.385403992228</c:v>
                </c:pt>
                <c:pt idx="3084">
                  <c:v>8483.3862133198909</c:v>
                </c:pt>
                <c:pt idx="3085">
                  <c:v>8469.7758865650048</c:v>
                </c:pt>
                <c:pt idx="3086">
                  <c:v>8443.888603316329</c:v>
                </c:pt>
                <c:pt idx="3087">
                  <c:v>8424.3327632640194</c:v>
                </c:pt>
                <c:pt idx="3088">
                  <c:v>8505.2611853658163</c:v>
                </c:pt>
                <c:pt idx="3089">
                  <c:v>8698.3391990545624</c:v>
                </c:pt>
                <c:pt idx="3090">
                  <c:v>8867.3868827322676</c:v>
                </c:pt>
                <c:pt idx="3091">
                  <c:v>8867.2813011446779</c:v>
                </c:pt>
                <c:pt idx="3092">
                  <c:v>8720.3857839194316</c:v>
                </c:pt>
                <c:pt idx="3093">
                  <c:v>9110.0168193296413</c:v>
                </c:pt>
                <c:pt idx="3094">
                  <c:v>9094.6619438032012</c:v>
                </c:pt>
                <c:pt idx="3095">
                  <c:v>8675.9926739587099</c:v>
                </c:pt>
                <c:pt idx="3096">
                  <c:v>8341.3524859964855</c:v>
                </c:pt>
                <c:pt idx="3097">
                  <c:v>8228.5367253670101</c:v>
                </c:pt>
                <c:pt idx="3098">
                  <c:v>8185.3517962640999</c:v>
                </c:pt>
                <c:pt idx="3099">
                  <c:v>8213.6994893910742</c:v>
                </c:pt>
                <c:pt idx="3100">
                  <c:v>8356.3563836398862</c:v>
                </c:pt>
                <c:pt idx="3101">
                  <c:v>9037.358942783083</c:v>
                </c:pt>
                <c:pt idx="3102">
                  <c:v>9591.1929527489501</c:v>
                </c:pt>
                <c:pt idx="3103">
                  <c:v>9919.1356221532587</c:v>
                </c:pt>
                <c:pt idx="3104">
                  <c:v>10027.412259381526</c:v>
                </c:pt>
                <c:pt idx="3105">
                  <c:v>10005.058128066266</c:v>
                </c:pt>
                <c:pt idx="3106">
                  <c:v>10079.472367171953</c:v>
                </c:pt>
                <c:pt idx="3107">
                  <c:v>10049.508882582111</c:v>
                </c:pt>
                <c:pt idx="3108">
                  <c:v>9896.4306156567709</c:v>
                </c:pt>
                <c:pt idx="3109">
                  <c:v>9846.4161889258721</c:v>
                </c:pt>
                <c:pt idx="3110">
                  <c:v>9755.3399933887049</c:v>
                </c:pt>
                <c:pt idx="3111">
                  <c:v>9617.607814473593</c:v>
                </c:pt>
                <c:pt idx="3112">
                  <c:v>9566.7206082882403</c:v>
                </c:pt>
                <c:pt idx="3113">
                  <c:v>9426.9985510977058</c:v>
                </c:pt>
                <c:pt idx="3114">
                  <c:v>9452.1328013920447</c:v>
                </c:pt>
                <c:pt idx="3115">
                  <c:v>9362.4158571999615</c:v>
                </c:pt>
                <c:pt idx="3116">
                  <c:v>9036.1925151278301</c:v>
                </c:pt>
                <c:pt idx="3117">
                  <c:v>9226.5161436338294</c:v>
                </c:pt>
                <c:pt idx="3118">
                  <c:v>9042.9548313918749</c:v>
                </c:pt>
                <c:pt idx="3119">
                  <c:v>8563.1827167665251</c:v>
                </c:pt>
                <c:pt idx="3120">
                  <c:v>8165.0559565178428</c:v>
                </c:pt>
                <c:pt idx="3121">
                  <c:v>8008.7793600001305</c:v>
                </c:pt>
                <c:pt idx="3122">
                  <c:v>7982.6007741432159</c:v>
                </c:pt>
                <c:pt idx="3123">
                  <c:v>7861.2079466382856</c:v>
                </c:pt>
                <c:pt idx="3124">
                  <c:v>8014.6566613526711</c:v>
                </c:pt>
                <c:pt idx="3125">
                  <c:v>8646.7364384555749</c:v>
                </c:pt>
                <c:pt idx="3126">
                  <c:v>9109.566795349172</c:v>
                </c:pt>
                <c:pt idx="3127">
                  <c:v>9342.7355308141541</c:v>
                </c:pt>
                <c:pt idx="3128">
                  <c:v>9313.9548213821072</c:v>
                </c:pt>
                <c:pt idx="3129">
                  <c:v>9176.1313120522973</c:v>
                </c:pt>
                <c:pt idx="3130">
                  <c:v>9132.6347479402139</c:v>
                </c:pt>
                <c:pt idx="3131">
                  <c:v>9122.3864251478299</c:v>
                </c:pt>
                <c:pt idx="3132">
                  <c:v>9012.502610422418</c:v>
                </c:pt>
                <c:pt idx="3133">
                  <c:v>8996.0059002018806</c:v>
                </c:pt>
                <c:pt idx="3134">
                  <c:v>8880.1224715447515</c:v>
                </c:pt>
                <c:pt idx="3135">
                  <c:v>8915.7824210238177</c:v>
                </c:pt>
                <c:pt idx="3136">
                  <c:v>8997.4984891523745</c:v>
                </c:pt>
                <c:pt idx="3137">
                  <c:v>8968.3071917861344</c:v>
                </c:pt>
                <c:pt idx="3138">
                  <c:v>9042.1760395423444</c:v>
                </c:pt>
                <c:pt idx="3139">
                  <c:v>8988.3270745069531</c:v>
                </c:pt>
                <c:pt idx="3140">
                  <c:v>8641.8970738888293</c:v>
                </c:pt>
                <c:pt idx="3141">
                  <c:v>8808.670596426713</c:v>
                </c:pt>
                <c:pt idx="3142">
                  <c:v>8656.7313430299855</c:v>
                </c:pt>
                <c:pt idx="3143">
                  <c:v>8200.8049787420259</c:v>
                </c:pt>
                <c:pt idx="3144">
                  <c:v>7895.3017194603754</c:v>
                </c:pt>
                <c:pt idx="3145">
                  <c:v>7742.8632929862079</c:v>
                </c:pt>
                <c:pt idx="3146">
                  <c:v>7698.8446370187939</c:v>
                </c:pt>
                <c:pt idx="3147">
                  <c:v>7625.1210339121963</c:v>
                </c:pt>
                <c:pt idx="3148">
                  <c:v>7764.2833067316969</c:v>
                </c:pt>
                <c:pt idx="3149">
                  <c:v>8446.9368671947868</c:v>
                </c:pt>
                <c:pt idx="3150">
                  <c:v>8852.9547375550701</c:v>
                </c:pt>
                <c:pt idx="3151">
                  <c:v>8974.9615742380538</c:v>
                </c:pt>
                <c:pt idx="3152">
                  <c:v>9030.2679312312357</c:v>
                </c:pt>
                <c:pt idx="3153">
                  <c:v>9087.4896425451243</c:v>
                </c:pt>
                <c:pt idx="3154">
                  <c:v>9128.3627162594366</c:v>
                </c:pt>
                <c:pt idx="3155">
                  <c:v>9100.8065452408118</c:v>
                </c:pt>
                <c:pt idx="3156">
                  <c:v>9017.7045519590029</c:v>
                </c:pt>
                <c:pt idx="3157">
                  <c:v>9035.5225085508628</c:v>
                </c:pt>
                <c:pt idx="3158">
                  <c:v>9005.2377925439596</c:v>
                </c:pt>
                <c:pt idx="3159">
                  <c:v>8940.3530183220555</c:v>
                </c:pt>
                <c:pt idx="3160">
                  <c:v>8886.3231603946479</c:v>
                </c:pt>
                <c:pt idx="3161">
                  <c:v>8849.8579234824174</c:v>
                </c:pt>
                <c:pt idx="3162">
                  <c:v>8876.7420164617761</c:v>
                </c:pt>
                <c:pt idx="3163">
                  <c:v>8786.8709551411812</c:v>
                </c:pt>
                <c:pt idx="3164">
                  <c:v>8513.822512960247</c:v>
                </c:pt>
                <c:pt idx="3165">
                  <c:v>8711.6262056305877</c:v>
                </c:pt>
                <c:pt idx="3166">
                  <c:v>8487.1433821528535</c:v>
                </c:pt>
                <c:pt idx="3167">
                  <c:v>8032.7667717074874</c:v>
                </c:pt>
                <c:pt idx="3168">
                  <c:v>7610.6800766902807</c:v>
                </c:pt>
                <c:pt idx="3169">
                  <c:v>7455.710899850219</c:v>
                </c:pt>
                <c:pt idx="3170">
                  <c:v>7436.4419298160165</c:v>
                </c:pt>
                <c:pt idx="3171">
                  <c:v>7313.6099022187027</c:v>
                </c:pt>
                <c:pt idx="3172">
                  <c:v>7370.3927883987117</c:v>
                </c:pt>
                <c:pt idx="3173">
                  <c:v>7686.2013898916421</c:v>
                </c:pt>
                <c:pt idx="3174">
                  <c:v>7989.0571726836424</c:v>
                </c:pt>
                <c:pt idx="3175">
                  <c:v>8238.2043486404946</c:v>
                </c:pt>
                <c:pt idx="3176">
                  <c:v>8454.5358790071205</c:v>
                </c:pt>
                <c:pt idx="3177">
                  <c:v>8567.0155281613479</c:v>
                </c:pt>
                <c:pt idx="3178">
                  <c:v>8620.1513654040955</c:v>
                </c:pt>
                <c:pt idx="3179">
                  <c:v>8592.5885611981248</c:v>
                </c:pt>
                <c:pt idx="3180">
                  <c:v>8494.7249058959842</c:v>
                </c:pt>
                <c:pt idx="3181">
                  <c:v>8486.5753608388022</c:v>
                </c:pt>
                <c:pt idx="3182">
                  <c:v>8470.4265590963987</c:v>
                </c:pt>
                <c:pt idx="3183">
                  <c:v>8468.9380305183549</c:v>
                </c:pt>
                <c:pt idx="3184">
                  <c:v>8533.9458853533706</c:v>
                </c:pt>
                <c:pt idx="3185">
                  <c:v>8514.8864517124985</c:v>
                </c:pt>
                <c:pt idx="3186">
                  <c:v>8516.6357273634003</c:v>
                </c:pt>
                <c:pt idx="3187">
                  <c:v>8461.3879991637059</c:v>
                </c:pt>
                <c:pt idx="3188">
                  <c:v>8162.8481007124201</c:v>
                </c:pt>
                <c:pt idx="3189">
                  <c:v>8326.674625710797</c:v>
                </c:pt>
                <c:pt idx="3190">
                  <c:v>8207.358282508465</c:v>
                </c:pt>
                <c:pt idx="3191">
                  <c:v>7778.2235567763428</c:v>
                </c:pt>
                <c:pt idx="3192">
                  <c:v>7490.1388398476947</c:v>
                </c:pt>
                <c:pt idx="3193">
                  <c:v>7279.1856334009135</c:v>
                </c:pt>
                <c:pt idx="3194">
                  <c:v>7230.9278215464046</c:v>
                </c:pt>
                <c:pt idx="3195">
                  <c:v>7205.3436909872244</c:v>
                </c:pt>
                <c:pt idx="3196">
                  <c:v>7357.3065421451192</c:v>
                </c:pt>
                <c:pt idx="3197">
                  <c:v>7851.3009950506439</c:v>
                </c:pt>
                <c:pt idx="3198">
                  <c:v>8312.0556416247873</c:v>
                </c:pt>
                <c:pt idx="3199">
                  <c:v>8541.3142593370303</c:v>
                </c:pt>
                <c:pt idx="3200">
                  <c:v>8721.0162750119052</c:v>
                </c:pt>
                <c:pt idx="3201">
                  <c:v>8712.841095369793</c:v>
                </c:pt>
                <c:pt idx="3202">
                  <c:v>8758.84846625916</c:v>
                </c:pt>
                <c:pt idx="3203">
                  <c:v>8718.3123652090362</c:v>
                </c:pt>
                <c:pt idx="3204">
                  <c:v>8606.4629768400337</c:v>
                </c:pt>
                <c:pt idx="3205">
                  <c:v>8523.4528210037806</c:v>
                </c:pt>
                <c:pt idx="3206">
                  <c:v>8606.8902633419548</c:v>
                </c:pt>
                <c:pt idx="3207">
                  <c:v>8571.8977386271163</c:v>
                </c:pt>
                <c:pt idx="3208">
                  <c:v>8589.4576471150303</c:v>
                </c:pt>
                <c:pt idx="3209">
                  <c:v>8666.2961392299094</c:v>
                </c:pt>
                <c:pt idx="3210">
                  <c:v>8700.6559481986733</c:v>
                </c:pt>
                <c:pt idx="3211">
                  <c:v>8587.2299475329473</c:v>
                </c:pt>
                <c:pt idx="3212">
                  <c:v>8312.1839868958923</c:v>
                </c:pt>
                <c:pt idx="3213">
                  <c:v>8486.2129154006216</c:v>
                </c:pt>
                <c:pt idx="3214">
                  <c:v>8246.9407951026133</c:v>
                </c:pt>
                <c:pt idx="3215">
                  <c:v>7787.9750655441067</c:v>
                </c:pt>
                <c:pt idx="3216">
                  <c:v>7510.8916500269133</c:v>
                </c:pt>
                <c:pt idx="3217">
                  <c:v>7356.7424176854656</c:v>
                </c:pt>
                <c:pt idx="3218">
                  <c:v>7276.6893034757395</c:v>
                </c:pt>
                <c:pt idx="3219">
                  <c:v>7216.7466479093509</c:v>
                </c:pt>
                <c:pt idx="3220">
                  <c:v>7180.8442807531828</c:v>
                </c:pt>
                <c:pt idx="3221">
                  <c:v>7378.5285211236533</c:v>
                </c:pt>
                <c:pt idx="3222">
                  <c:v>7550.8060683612302</c:v>
                </c:pt>
                <c:pt idx="3223">
                  <c:v>7843.50772408379</c:v>
                </c:pt>
                <c:pt idx="3224">
                  <c:v>8037.2498238359585</c:v>
                </c:pt>
                <c:pt idx="3225">
                  <c:v>8179.4667804209421</c:v>
                </c:pt>
                <c:pt idx="3226">
                  <c:v>8258.4008988858168</c:v>
                </c:pt>
                <c:pt idx="3227">
                  <c:v>8236.5881707757417</c:v>
                </c:pt>
                <c:pt idx="3228">
                  <c:v>8191.6183873586151</c:v>
                </c:pt>
                <c:pt idx="3229">
                  <c:v>8110.1369964141468</c:v>
                </c:pt>
                <c:pt idx="3230">
                  <c:v>8174.4011237433997</c:v>
                </c:pt>
                <c:pt idx="3231">
                  <c:v>8315.8256053644418</c:v>
                </c:pt>
                <c:pt idx="3232">
                  <c:v>8391.4320725566395</c:v>
                </c:pt>
                <c:pt idx="3233">
                  <c:v>8520.6118722224764</c:v>
                </c:pt>
                <c:pt idx="3234">
                  <c:v>8605.1277496564635</c:v>
                </c:pt>
                <c:pt idx="3235">
                  <c:v>8408.2385697698319</c:v>
                </c:pt>
                <c:pt idx="3236">
                  <c:v>8130.3313221491571</c:v>
                </c:pt>
                <c:pt idx="3237">
                  <c:v>8339.1260311121223</c:v>
                </c:pt>
                <c:pt idx="3238">
                  <c:v>8247.7974845684294</c:v>
                </c:pt>
                <c:pt idx="3239">
                  <c:v>7750.447946065231</c:v>
                </c:pt>
                <c:pt idx="3240">
                  <c:v>7394.30940792396</c:v>
                </c:pt>
                <c:pt idx="3241">
                  <c:v>7203.7822012514416</c:v>
                </c:pt>
                <c:pt idx="3242">
                  <c:v>7124.3265515271642</c:v>
                </c:pt>
                <c:pt idx="3243">
                  <c:v>7068.888866973145</c:v>
                </c:pt>
                <c:pt idx="3244">
                  <c:v>7002.9140012376756</c:v>
                </c:pt>
                <c:pt idx="3245">
                  <c:v>7138.0307197655366</c:v>
                </c:pt>
                <c:pt idx="3246">
                  <c:v>7343.1170946481025</c:v>
                </c:pt>
                <c:pt idx="3247">
                  <c:v>7613.7049126309139</c:v>
                </c:pt>
                <c:pt idx="3248">
                  <c:v>7850.2308903521061</c:v>
                </c:pt>
                <c:pt idx="3249">
                  <c:v>8034.3013627207547</c:v>
                </c:pt>
                <c:pt idx="3250">
                  <c:v>8091.172058373817</c:v>
                </c:pt>
                <c:pt idx="3251">
                  <c:v>8060.006580328597</c:v>
                </c:pt>
                <c:pt idx="3252">
                  <c:v>7976.4980356775914</c:v>
                </c:pt>
                <c:pt idx="3253">
                  <c:v>7915.9396379346308</c:v>
                </c:pt>
                <c:pt idx="3254">
                  <c:v>7853.1145340657913</c:v>
                </c:pt>
                <c:pt idx="3255">
                  <c:v>7919.7436350460966</c:v>
                </c:pt>
                <c:pt idx="3256">
                  <c:v>8097.279618865773</c:v>
                </c:pt>
                <c:pt idx="3257">
                  <c:v>8174.966372270992</c:v>
                </c:pt>
                <c:pt idx="3258">
                  <c:v>8300.9053316281024</c:v>
                </c:pt>
                <c:pt idx="3259">
                  <c:v>8276.4563512236818</c:v>
                </c:pt>
                <c:pt idx="3260">
                  <c:v>8040.4720197522802</c:v>
                </c:pt>
                <c:pt idx="3261">
                  <c:v>8316.7499050329079</c:v>
                </c:pt>
                <c:pt idx="3262">
                  <c:v>8328.8853213213133</c:v>
                </c:pt>
                <c:pt idx="3263">
                  <c:v>7926.9984786869754</c:v>
                </c:pt>
                <c:pt idx="3264">
                  <c:v>7669.5584074701947</c:v>
                </c:pt>
                <c:pt idx="3265">
                  <c:v>7526.5114905634937</c:v>
                </c:pt>
                <c:pt idx="3266">
                  <c:v>7455.4893018697276</c:v>
                </c:pt>
                <c:pt idx="3267">
                  <c:v>7424.2125035342697</c:v>
                </c:pt>
                <c:pt idx="3268">
                  <c:v>7600.0376618003738</c:v>
                </c:pt>
                <c:pt idx="3269">
                  <c:v>8295.7434526775123</c:v>
                </c:pt>
                <c:pt idx="3270">
                  <c:v>8840.442301504474</c:v>
                </c:pt>
                <c:pt idx="3271">
                  <c:v>9122.6472260009032</c:v>
                </c:pt>
                <c:pt idx="3272">
                  <c:v>9134.8178320955212</c:v>
                </c:pt>
                <c:pt idx="3273">
                  <c:v>9121.9847119159804</c:v>
                </c:pt>
                <c:pt idx="3274">
                  <c:v>9170.6729416529761</c:v>
                </c:pt>
                <c:pt idx="3275">
                  <c:v>9183.7377023081972</c:v>
                </c:pt>
                <c:pt idx="3276">
                  <c:v>9007.5537247905049</c:v>
                </c:pt>
                <c:pt idx="3277">
                  <c:v>8986.149513660579</c:v>
                </c:pt>
                <c:pt idx="3278">
                  <c:v>9096.5105220114456</c:v>
                </c:pt>
                <c:pt idx="3279">
                  <c:v>9113.7299743717449</c:v>
                </c:pt>
                <c:pt idx="3280">
                  <c:v>9086.2906300196992</c:v>
                </c:pt>
                <c:pt idx="3281">
                  <c:v>9009.0799950576838</c:v>
                </c:pt>
                <c:pt idx="3282">
                  <c:v>9068.4227687240709</c:v>
                </c:pt>
                <c:pt idx="3283">
                  <c:v>8963.3595927890638</c:v>
                </c:pt>
                <c:pt idx="3284">
                  <c:v>8642.7685484698159</c:v>
                </c:pt>
                <c:pt idx="3285">
                  <c:v>8702.9790458669268</c:v>
                </c:pt>
                <c:pt idx="3286">
                  <c:v>8533.5953243598487</c:v>
                </c:pt>
                <c:pt idx="3287">
                  <c:v>8052.9173551516515</c:v>
                </c:pt>
                <c:pt idx="3288">
                  <c:v>7717.8590337766109</c:v>
                </c:pt>
                <c:pt idx="3289">
                  <c:v>7575.1138009169645</c:v>
                </c:pt>
                <c:pt idx="3290">
                  <c:v>7454.5766410037777</c:v>
                </c:pt>
                <c:pt idx="3291">
                  <c:v>7458.6136973572802</c:v>
                </c:pt>
                <c:pt idx="3292">
                  <c:v>7600.571286938567</c:v>
                </c:pt>
                <c:pt idx="3293">
                  <c:v>8310.7321301408065</c:v>
                </c:pt>
                <c:pt idx="3294">
                  <c:v>8793.2119422651249</c:v>
                </c:pt>
                <c:pt idx="3295">
                  <c:v>9062.1280180394697</c:v>
                </c:pt>
                <c:pt idx="3296">
                  <c:v>9123.7551016480902</c:v>
                </c:pt>
                <c:pt idx="3297">
                  <c:v>9134.399135231226</c:v>
                </c:pt>
                <c:pt idx="3298">
                  <c:v>9092.0146433323334</c:v>
                </c:pt>
                <c:pt idx="3299">
                  <c:v>9091.5419068540668</c:v>
                </c:pt>
                <c:pt idx="3300">
                  <c:v>8914.1871115020695</c:v>
                </c:pt>
                <c:pt idx="3301">
                  <c:v>8832.4322826880998</c:v>
                </c:pt>
                <c:pt idx="3302">
                  <c:v>8945.8178104739636</c:v>
                </c:pt>
                <c:pt idx="3303">
                  <c:v>8921.7095143930401</c:v>
                </c:pt>
                <c:pt idx="3304">
                  <c:v>8890.8813948349289</c:v>
                </c:pt>
                <c:pt idx="3305">
                  <c:v>8879.5675132576471</c:v>
                </c:pt>
                <c:pt idx="3306">
                  <c:v>8933.9322245816838</c:v>
                </c:pt>
                <c:pt idx="3307">
                  <c:v>8882.9394604061708</c:v>
                </c:pt>
                <c:pt idx="3308">
                  <c:v>8573.3668188712581</c:v>
                </c:pt>
                <c:pt idx="3309">
                  <c:v>8681.2448258510249</c:v>
                </c:pt>
                <c:pt idx="3310">
                  <c:v>8495.9437405630833</c:v>
                </c:pt>
                <c:pt idx="3311">
                  <c:v>8046.9137468171748</c:v>
                </c:pt>
                <c:pt idx="3312">
                  <c:v>7738.3756418414459</c:v>
                </c:pt>
                <c:pt idx="3313">
                  <c:v>7550.9019901976144</c:v>
                </c:pt>
                <c:pt idx="3314">
                  <c:v>7440.1567630721947</c:v>
                </c:pt>
                <c:pt idx="3315">
                  <c:v>7418.1904473066334</c:v>
                </c:pt>
                <c:pt idx="3316">
                  <c:v>7554.9453585408555</c:v>
                </c:pt>
                <c:pt idx="3317">
                  <c:v>8245.2025405050026</c:v>
                </c:pt>
                <c:pt idx="3318">
                  <c:v>8751.2307961066472</c:v>
                </c:pt>
                <c:pt idx="3319">
                  <c:v>9082.8901628537678</c:v>
                </c:pt>
                <c:pt idx="3320">
                  <c:v>9185.4713365413263</c:v>
                </c:pt>
                <c:pt idx="3321">
                  <c:v>9221.0644289885404</c:v>
                </c:pt>
                <c:pt idx="3322">
                  <c:v>9310.54143327766</c:v>
                </c:pt>
                <c:pt idx="3323">
                  <c:v>9348.2342065182638</c:v>
                </c:pt>
                <c:pt idx="3324">
                  <c:v>9199.1447699424643</c:v>
                </c:pt>
                <c:pt idx="3325">
                  <c:v>9120.2712759567912</c:v>
                </c:pt>
                <c:pt idx="3326">
                  <c:v>9129.8185660506879</c:v>
                </c:pt>
                <c:pt idx="3327">
                  <c:v>9099.2343258746478</c:v>
                </c:pt>
                <c:pt idx="3328">
                  <c:v>9125.4293450378209</c:v>
                </c:pt>
                <c:pt idx="3329">
                  <c:v>9191.3489405258078</c:v>
                </c:pt>
                <c:pt idx="3330">
                  <c:v>9149.0499174489323</c:v>
                </c:pt>
                <c:pt idx="3331">
                  <c:v>9058.8800750707178</c:v>
                </c:pt>
                <c:pt idx="3332">
                  <c:v>8664.0135149380785</c:v>
                </c:pt>
                <c:pt idx="3333">
                  <c:v>8749.1734129205579</c:v>
                </c:pt>
                <c:pt idx="3334">
                  <c:v>8611.2215518346347</c:v>
                </c:pt>
                <c:pt idx="3335">
                  <c:v>8173.2265401182322</c:v>
                </c:pt>
                <c:pt idx="3336">
                  <c:v>7791.19091640841</c:v>
                </c:pt>
                <c:pt idx="3337">
                  <c:v>7637.3106241063879</c:v>
                </c:pt>
                <c:pt idx="3338">
                  <c:v>7512.8877530074715</c:v>
                </c:pt>
                <c:pt idx="3339">
                  <c:v>7532.1574940973333</c:v>
                </c:pt>
                <c:pt idx="3340">
                  <c:v>7680.0460380904324</c:v>
                </c:pt>
                <c:pt idx="3341">
                  <c:v>8316.0751151362201</c:v>
                </c:pt>
                <c:pt idx="3342">
                  <c:v>8771.756465035427</c:v>
                </c:pt>
                <c:pt idx="3343">
                  <c:v>9040.3580956594651</c:v>
                </c:pt>
                <c:pt idx="3344">
                  <c:v>9126.1928098107892</c:v>
                </c:pt>
                <c:pt idx="3345">
                  <c:v>9134.3141361997896</c:v>
                </c:pt>
                <c:pt idx="3346">
                  <c:v>9115.0901178373024</c:v>
                </c:pt>
                <c:pt idx="3347">
                  <c:v>9069.5198501098821</c:v>
                </c:pt>
                <c:pt idx="3348">
                  <c:v>8987.0056865758052</c:v>
                </c:pt>
                <c:pt idx="3349">
                  <c:v>8872.8548655819268</c:v>
                </c:pt>
                <c:pt idx="3350">
                  <c:v>8802.0515635527427</c:v>
                </c:pt>
                <c:pt idx="3351">
                  <c:v>8795.2916382609928</c:v>
                </c:pt>
                <c:pt idx="3352">
                  <c:v>8868.8051709890678</c:v>
                </c:pt>
                <c:pt idx="3353">
                  <c:v>8849.6332375243146</c:v>
                </c:pt>
                <c:pt idx="3354">
                  <c:v>8956.2185552194733</c:v>
                </c:pt>
                <c:pt idx="3355">
                  <c:v>8960.6382464445123</c:v>
                </c:pt>
                <c:pt idx="3356">
                  <c:v>8651.6252204230022</c:v>
                </c:pt>
                <c:pt idx="3357">
                  <c:v>8754.4227491727288</c:v>
                </c:pt>
                <c:pt idx="3358">
                  <c:v>8727.3186955790679</c:v>
                </c:pt>
                <c:pt idx="3359">
                  <c:v>8289.8160383934264</c:v>
                </c:pt>
                <c:pt idx="3360">
                  <c:v>7875.9903979940682</c:v>
                </c:pt>
                <c:pt idx="3361">
                  <c:v>7738.3978609747937</c:v>
                </c:pt>
                <c:pt idx="3362">
                  <c:v>7741.1312228677998</c:v>
                </c:pt>
                <c:pt idx="3363">
                  <c:v>7736.231532698599</c:v>
                </c:pt>
                <c:pt idx="3364">
                  <c:v>7859.6978550358881</c:v>
                </c:pt>
                <c:pt idx="3365">
                  <c:v>8558.3005963749711</c:v>
                </c:pt>
                <c:pt idx="3366">
                  <c:v>9127.8959002874071</c:v>
                </c:pt>
                <c:pt idx="3367">
                  <c:v>9507.3786609854178</c:v>
                </c:pt>
                <c:pt idx="3368">
                  <c:v>9654.7876356842626</c:v>
                </c:pt>
                <c:pt idx="3369">
                  <c:v>9655.5635838951039</c:v>
                </c:pt>
                <c:pt idx="3370">
                  <c:v>9697.0508080406071</c:v>
                </c:pt>
                <c:pt idx="3371">
                  <c:v>9718.5643760017338</c:v>
                </c:pt>
                <c:pt idx="3372">
                  <c:v>9591.0436013432573</c:v>
                </c:pt>
                <c:pt idx="3373">
                  <c:v>9546.5685111291223</c:v>
                </c:pt>
                <c:pt idx="3374">
                  <c:v>9552.3111423545397</c:v>
                </c:pt>
                <c:pt idx="3375">
                  <c:v>9518.4255715709314</c:v>
                </c:pt>
                <c:pt idx="3376">
                  <c:v>9584.2566982442295</c:v>
                </c:pt>
                <c:pt idx="3377">
                  <c:v>9570.2066879920512</c:v>
                </c:pt>
                <c:pt idx="3378">
                  <c:v>9673.1204776438881</c:v>
                </c:pt>
                <c:pt idx="3379">
                  <c:v>9565.1918903763872</c:v>
                </c:pt>
                <c:pt idx="3380">
                  <c:v>9119.9722430186648</c:v>
                </c:pt>
                <c:pt idx="3381">
                  <c:v>9119.8448548512351</c:v>
                </c:pt>
                <c:pt idx="3382">
                  <c:v>8990.5142383952843</c:v>
                </c:pt>
                <c:pt idx="3383">
                  <c:v>8476.6155438236692</c:v>
                </c:pt>
                <c:pt idx="3384">
                  <c:v>8155.2763702230686</c:v>
                </c:pt>
                <c:pt idx="3385">
                  <c:v>8006.4923122081655</c:v>
                </c:pt>
                <c:pt idx="3386">
                  <c:v>7953.8662593434192</c:v>
                </c:pt>
                <c:pt idx="3387">
                  <c:v>7883.7232212885519</c:v>
                </c:pt>
                <c:pt idx="3388">
                  <c:v>7862.61399630088</c:v>
                </c:pt>
                <c:pt idx="3389">
                  <c:v>8132.6683812326955</c:v>
                </c:pt>
                <c:pt idx="3390">
                  <c:v>8341.0139970613563</c:v>
                </c:pt>
                <c:pt idx="3391">
                  <c:v>8561.4025648315401</c:v>
                </c:pt>
                <c:pt idx="3392">
                  <c:v>8705.4095774065299</c:v>
                </c:pt>
                <c:pt idx="3393">
                  <c:v>8736.6383763685517</c:v>
                </c:pt>
                <c:pt idx="3394">
                  <c:v>8848.5333030421625</c:v>
                </c:pt>
                <c:pt idx="3395">
                  <c:v>8861.5990590886213</c:v>
                </c:pt>
                <c:pt idx="3396">
                  <c:v>8795.6807392072842</c:v>
                </c:pt>
                <c:pt idx="3397">
                  <c:v>8782.8577348014151</c:v>
                </c:pt>
                <c:pt idx="3398">
                  <c:v>8742.6482782064486</c:v>
                </c:pt>
                <c:pt idx="3399">
                  <c:v>8686.7747143097677</c:v>
                </c:pt>
                <c:pt idx="3400">
                  <c:v>8758.546433862015</c:v>
                </c:pt>
                <c:pt idx="3401">
                  <c:v>8991.303299969717</c:v>
                </c:pt>
                <c:pt idx="3402">
                  <c:v>9103.9333974714664</c:v>
                </c:pt>
                <c:pt idx="3403">
                  <c:v>8919.096214117315</c:v>
                </c:pt>
                <c:pt idx="3404">
                  <c:v>8597.323068692187</c:v>
                </c:pt>
                <c:pt idx="3405">
                  <c:v>8686.9328897287196</c:v>
                </c:pt>
                <c:pt idx="3406">
                  <c:v>8725.9458165207197</c:v>
                </c:pt>
                <c:pt idx="3407">
                  <c:v>8395.3950322041692</c:v>
                </c:pt>
                <c:pt idx="3408">
                  <c:v>8045.4706961480524</c:v>
                </c:pt>
                <c:pt idx="3409">
                  <c:v>7841.6835772090853</c:v>
                </c:pt>
                <c:pt idx="3410">
                  <c:v>7705.2788690057259</c:v>
                </c:pt>
                <c:pt idx="3411">
                  <c:v>7614.3415381419973</c:v>
                </c:pt>
                <c:pt idx="3412">
                  <c:v>7551.6255070024708</c:v>
                </c:pt>
                <c:pt idx="3413">
                  <c:v>7704.1682034228206</c:v>
                </c:pt>
                <c:pt idx="3414">
                  <c:v>7788.1062044734126</c:v>
                </c:pt>
                <c:pt idx="3415">
                  <c:v>7977.2737416291902</c:v>
                </c:pt>
                <c:pt idx="3416">
                  <c:v>8179.7509327245025</c:v>
                </c:pt>
                <c:pt idx="3417">
                  <c:v>8256.6372348331133</c:v>
                </c:pt>
                <c:pt idx="3418">
                  <c:v>8375.3550570627049</c:v>
                </c:pt>
                <c:pt idx="3419">
                  <c:v>8327.7735977189623</c:v>
                </c:pt>
                <c:pt idx="3420">
                  <c:v>8250.2136035324056</c:v>
                </c:pt>
                <c:pt idx="3421">
                  <c:v>8229.3686577943026</c:v>
                </c:pt>
                <c:pt idx="3422">
                  <c:v>8270.4681608085957</c:v>
                </c:pt>
                <c:pt idx="3423">
                  <c:v>8302.6014373701473</c:v>
                </c:pt>
                <c:pt idx="3424">
                  <c:v>8394.6383359221327</c:v>
                </c:pt>
                <c:pt idx="3425">
                  <c:v>8418.3809652496602</c:v>
                </c:pt>
                <c:pt idx="3426">
                  <c:v>8583.8139658190139</c:v>
                </c:pt>
                <c:pt idx="3427">
                  <c:v>8584.203531003277</c:v>
                </c:pt>
                <c:pt idx="3428">
                  <c:v>8345.5642221157777</c:v>
                </c:pt>
                <c:pt idx="3429">
                  <c:v>8600.743136964531</c:v>
                </c:pt>
                <c:pt idx="3430">
                  <c:v>8627.0398499051771</c:v>
                </c:pt>
                <c:pt idx="3431">
                  <c:v>8132.8620805515638</c:v>
                </c:pt>
                <c:pt idx="3432">
                  <c:v>7904.9316825885562</c:v>
                </c:pt>
                <c:pt idx="3433">
                  <c:v>7765.2012218889795</c:v>
                </c:pt>
                <c:pt idx="3434">
                  <c:v>7680.457477693315</c:v>
                </c:pt>
                <c:pt idx="3435">
                  <c:v>7658.1858955933931</c:v>
                </c:pt>
                <c:pt idx="3436">
                  <c:v>7860.556564587253</c:v>
                </c:pt>
                <c:pt idx="3437">
                  <c:v>8594.9663332370001</c:v>
                </c:pt>
                <c:pt idx="3438">
                  <c:v>9223.4346008285956</c:v>
                </c:pt>
                <c:pt idx="3439">
                  <c:v>9490.7152770313769</c:v>
                </c:pt>
                <c:pt idx="3440">
                  <c:v>9501.140548455076</c:v>
                </c:pt>
                <c:pt idx="3441">
                  <c:v>9501.8944921051952</c:v>
                </c:pt>
                <c:pt idx="3442">
                  <c:v>9504.0641558325988</c:v>
                </c:pt>
                <c:pt idx="3443">
                  <c:v>9468.522118046536</c:v>
                </c:pt>
                <c:pt idx="3444">
                  <c:v>9319.3490035568539</c:v>
                </c:pt>
                <c:pt idx="3445">
                  <c:v>9263.6503614450357</c:v>
                </c:pt>
                <c:pt idx="3446">
                  <c:v>9183.0551526144973</c:v>
                </c:pt>
                <c:pt idx="3447">
                  <c:v>9136.277671828615</c:v>
                </c:pt>
                <c:pt idx="3448">
                  <c:v>9080.031184968253</c:v>
                </c:pt>
                <c:pt idx="3449">
                  <c:v>8966.6387835588648</c:v>
                </c:pt>
                <c:pt idx="3450">
                  <c:v>9030.6688845706703</c:v>
                </c:pt>
                <c:pt idx="3451">
                  <c:v>9010.6974748555713</c:v>
                </c:pt>
                <c:pt idx="3452">
                  <c:v>8775.6893402001879</c:v>
                </c:pt>
                <c:pt idx="3453">
                  <c:v>8875.5986860508601</c:v>
                </c:pt>
                <c:pt idx="3454">
                  <c:v>8871.4329398584068</c:v>
                </c:pt>
                <c:pt idx="3455">
                  <c:v>8437.8534328657915</c:v>
                </c:pt>
                <c:pt idx="3456">
                  <c:v>8067.7983974700701</c:v>
                </c:pt>
                <c:pt idx="3457">
                  <c:v>7938.3893112074384</c:v>
                </c:pt>
                <c:pt idx="3458">
                  <c:v>7858.338514974268</c:v>
                </c:pt>
                <c:pt idx="3459">
                  <c:v>7839.5110275685101</c:v>
                </c:pt>
                <c:pt idx="3460">
                  <c:v>7958.5724973304423</c:v>
                </c:pt>
                <c:pt idx="3461">
                  <c:v>8645.5176387291067</c:v>
                </c:pt>
                <c:pt idx="3462">
                  <c:v>9054.6319458691651</c:v>
                </c:pt>
                <c:pt idx="3463">
                  <c:v>9217.9159182540134</c:v>
                </c:pt>
                <c:pt idx="3464">
                  <c:v>9226.3802429996831</c:v>
                </c:pt>
                <c:pt idx="3465">
                  <c:v>9191.0760073743477</c:v>
                </c:pt>
                <c:pt idx="3466">
                  <c:v>9220.669953219196</c:v>
                </c:pt>
                <c:pt idx="3467">
                  <c:v>9255.5606779598493</c:v>
                </c:pt>
                <c:pt idx="3468">
                  <c:v>9132.3917699177291</c:v>
                </c:pt>
                <c:pt idx="3469">
                  <c:v>9095.6010609570167</c:v>
                </c:pt>
                <c:pt idx="3470">
                  <c:v>9021.9909966102641</c:v>
                </c:pt>
                <c:pt idx="3471">
                  <c:v>9000.9696776677829</c:v>
                </c:pt>
                <c:pt idx="3472">
                  <c:v>9031.1566359849367</c:v>
                </c:pt>
                <c:pt idx="3473">
                  <c:v>9025.5844338176412</c:v>
                </c:pt>
                <c:pt idx="3474">
                  <c:v>9073.065978866196</c:v>
                </c:pt>
                <c:pt idx="3475">
                  <c:v>8968.677048357451</c:v>
                </c:pt>
                <c:pt idx="3476">
                  <c:v>8661.9801347595385</c:v>
                </c:pt>
                <c:pt idx="3477">
                  <c:v>8798.4839579708459</c:v>
                </c:pt>
                <c:pt idx="3478">
                  <c:v>8717.9093644522036</c:v>
                </c:pt>
                <c:pt idx="3479">
                  <c:v>8288.3280303493157</c:v>
                </c:pt>
                <c:pt idx="3480">
                  <c:v>7941.0210610688946</c:v>
                </c:pt>
                <c:pt idx="3481">
                  <c:v>7787.5494966729166</c:v>
                </c:pt>
                <c:pt idx="3482">
                  <c:v>7700.8151316493704</c:v>
                </c:pt>
                <c:pt idx="3483">
                  <c:v>7639.5366902315454</c:v>
                </c:pt>
                <c:pt idx="3484">
                  <c:v>7798.9647128018587</c:v>
                </c:pt>
                <c:pt idx="3485">
                  <c:v>8503.2293300494457</c:v>
                </c:pt>
                <c:pt idx="3486">
                  <c:v>9051.202266871469</c:v>
                </c:pt>
                <c:pt idx="3487">
                  <c:v>9275.1898181712368</c:v>
                </c:pt>
                <c:pt idx="3488">
                  <c:v>9392.9610635826775</c:v>
                </c:pt>
                <c:pt idx="3489">
                  <c:v>9553.4963197947363</c:v>
                </c:pt>
                <c:pt idx="3490">
                  <c:v>9662.7794367139941</c:v>
                </c:pt>
                <c:pt idx="3491">
                  <c:v>9644.2123730389758</c:v>
                </c:pt>
                <c:pt idx="3492">
                  <c:v>9598.4574332628436</c:v>
                </c:pt>
                <c:pt idx="3493">
                  <c:v>9583.7133724174964</c:v>
                </c:pt>
                <c:pt idx="3494">
                  <c:v>9553.4349143826894</c:v>
                </c:pt>
                <c:pt idx="3495">
                  <c:v>9617.6146944422035</c:v>
                </c:pt>
                <c:pt idx="3496">
                  <c:v>9747.7855862867054</c:v>
                </c:pt>
                <c:pt idx="3497">
                  <c:v>9787.5628012642628</c:v>
                </c:pt>
                <c:pt idx="3498">
                  <c:v>9817.9026645095473</c:v>
                </c:pt>
                <c:pt idx="3499">
                  <c:v>9599.3978527681775</c:v>
                </c:pt>
                <c:pt idx="3500">
                  <c:v>9093.954060062073</c:v>
                </c:pt>
                <c:pt idx="3501">
                  <c:v>9128.0228756008473</c:v>
                </c:pt>
                <c:pt idx="3502">
                  <c:v>8952.3980233395032</c:v>
                </c:pt>
                <c:pt idx="3503">
                  <c:v>8450.5159988383184</c:v>
                </c:pt>
                <c:pt idx="3504">
                  <c:v>8073.2780761783852</c:v>
                </c:pt>
                <c:pt idx="3505">
                  <c:v>7845.3988089123013</c:v>
                </c:pt>
                <c:pt idx="3506">
                  <c:v>7861.0017228199549</c:v>
                </c:pt>
                <c:pt idx="3507">
                  <c:v>7830.0437020845065</c:v>
                </c:pt>
                <c:pt idx="3508">
                  <c:v>8021.7625885962098</c:v>
                </c:pt>
                <c:pt idx="3509">
                  <c:v>8770.1276078364663</c:v>
                </c:pt>
                <c:pt idx="3510">
                  <c:v>9348.4244566503494</c:v>
                </c:pt>
                <c:pt idx="3511">
                  <c:v>9527.9522661751216</c:v>
                </c:pt>
                <c:pt idx="3512">
                  <c:v>9671.0874545975803</c:v>
                </c:pt>
                <c:pt idx="3513">
                  <c:v>9693.4914877119099</c:v>
                </c:pt>
                <c:pt idx="3514">
                  <c:v>9709.881734073635</c:v>
                </c:pt>
                <c:pt idx="3515">
                  <c:v>9589.2095553177423</c:v>
                </c:pt>
                <c:pt idx="3516">
                  <c:v>9552.4003457542167</c:v>
                </c:pt>
                <c:pt idx="3517">
                  <c:v>9477.2667177850435</c:v>
                </c:pt>
                <c:pt idx="3518">
                  <c:v>9433.3039002416208</c:v>
                </c:pt>
                <c:pt idx="3519">
                  <c:v>9410.422163413823</c:v>
                </c:pt>
                <c:pt idx="3520">
                  <c:v>9408.1593242176186</c:v>
                </c:pt>
                <c:pt idx="3521">
                  <c:v>9376.5836205796131</c:v>
                </c:pt>
                <c:pt idx="3522">
                  <c:v>9369.3000835042913</c:v>
                </c:pt>
                <c:pt idx="3523">
                  <c:v>9289.4719123836967</c:v>
                </c:pt>
                <c:pt idx="3524">
                  <c:v>8936.7472128618283</c:v>
                </c:pt>
                <c:pt idx="3525">
                  <c:v>9021.3705880297657</c:v>
                </c:pt>
                <c:pt idx="3526">
                  <c:v>8965.5485546966975</c:v>
                </c:pt>
                <c:pt idx="3527">
                  <c:v>8563.8152826885271</c:v>
                </c:pt>
                <c:pt idx="3528">
                  <c:v>8237.6792886192925</c:v>
                </c:pt>
                <c:pt idx="3529">
                  <c:v>8063.4136935235701</c:v>
                </c:pt>
                <c:pt idx="3530">
                  <c:v>8015.1608513373949</c:v>
                </c:pt>
                <c:pt idx="3531">
                  <c:v>7937.9454582919916</c:v>
                </c:pt>
                <c:pt idx="3532">
                  <c:v>8094.538515220569</c:v>
                </c:pt>
                <c:pt idx="3533">
                  <c:v>8803.7951764003519</c:v>
                </c:pt>
                <c:pt idx="3534">
                  <c:v>9346.7498193000847</c:v>
                </c:pt>
                <c:pt idx="3535">
                  <c:v>9469.3051818795848</c:v>
                </c:pt>
                <c:pt idx="3536">
                  <c:v>9543.4325125971172</c:v>
                </c:pt>
                <c:pt idx="3537">
                  <c:v>9533.3203338521453</c:v>
                </c:pt>
                <c:pt idx="3538">
                  <c:v>9500.9393324404409</c:v>
                </c:pt>
                <c:pt idx="3539">
                  <c:v>9434.8918470073368</c:v>
                </c:pt>
                <c:pt idx="3540">
                  <c:v>9298.7369635199138</c:v>
                </c:pt>
                <c:pt idx="3541">
                  <c:v>9242.6608669651141</c:v>
                </c:pt>
                <c:pt idx="3542">
                  <c:v>9252.1796366037033</c:v>
                </c:pt>
                <c:pt idx="3543">
                  <c:v>9156.2995007070513</c:v>
                </c:pt>
                <c:pt idx="3544">
                  <c:v>9186.5911235048698</c:v>
                </c:pt>
                <c:pt idx="3545">
                  <c:v>9096.7313449685371</c:v>
                </c:pt>
                <c:pt idx="3546">
                  <c:v>9076.003313746658</c:v>
                </c:pt>
                <c:pt idx="3547">
                  <c:v>8990.149165811139</c:v>
                </c:pt>
                <c:pt idx="3548">
                  <c:v>8703.951949075843</c:v>
                </c:pt>
                <c:pt idx="3549">
                  <c:v>8864.0762351893209</c:v>
                </c:pt>
                <c:pt idx="3550">
                  <c:v>8840.4649058875366</c:v>
                </c:pt>
                <c:pt idx="3551">
                  <c:v>8516.8334173637722</c:v>
                </c:pt>
                <c:pt idx="3552">
                  <c:v>8183.955637986388</c:v>
                </c:pt>
                <c:pt idx="3553">
                  <c:v>7965.7432300101309</c:v>
                </c:pt>
                <c:pt idx="3554">
                  <c:v>7831.2268495100161</c:v>
                </c:pt>
                <c:pt idx="3555">
                  <c:v>7757.5134162427248</c:v>
                </c:pt>
                <c:pt idx="3556">
                  <c:v>7820.2909380313131</c:v>
                </c:pt>
                <c:pt idx="3557">
                  <c:v>8041.234213968195</c:v>
                </c:pt>
                <c:pt idx="3558">
                  <c:v>8165.7491079764277</c:v>
                </c:pt>
                <c:pt idx="3559">
                  <c:v>8395.634773607364</c:v>
                </c:pt>
                <c:pt idx="3560">
                  <c:v>8605.7404408641578</c:v>
                </c:pt>
                <c:pt idx="3561">
                  <c:v>8664.4276060731681</c:v>
                </c:pt>
                <c:pt idx="3562">
                  <c:v>8676.2218721504814</c:v>
                </c:pt>
                <c:pt idx="3563">
                  <c:v>8572.8509429465994</c:v>
                </c:pt>
                <c:pt idx="3564">
                  <c:v>8469.7216514866141</c:v>
                </c:pt>
                <c:pt idx="3565">
                  <c:v>8438.9616532233977</c:v>
                </c:pt>
                <c:pt idx="3566">
                  <c:v>8393.7056485976937</c:v>
                </c:pt>
                <c:pt idx="3567">
                  <c:v>8451.0483990776065</c:v>
                </c:pt>
                <c:pt idx="3568">
                  <c:v>8521.7365387854807</c:v>
                </c:pt>
                <c:pt idx="3569">
                  <c:v>8680.6197760537561</c:v>
                </c:pt>
                <c:pt idx="3570">
                  <c:v>8798.4343543187188</c:v>
                </c:pt>
                <c:pt idx="3571">
                  <c:v>8611.0095139318601</c:v>
                </c:pt>
                <c:pt idx="3572">
                  <c:v>8299.5249337217992</c:v>
                </c:pt>
                <c:pt idx="3573">
                  <c:v>8399.3087063786388</c:v>
                </c:pt>
                <c:pt idx="3574">
                  <c:v>8488.9296305812441</c:v>
                </c:pt>
                <c:pt idx="3575">
                  <c:v>8215.7138853897486</c:v>
                </c:pt>
                <c:pt idx="3576">
                  <c:v>7952.3235283945196</c:v>
                </c:pt>
                <c:pt idx="3577">
                  <c:v>7762.5926517440876</c:v>
                </c:pt>
                <c:pt idx="3578">
                  <c:v>7637.1210681924567</c:v>
                </c:pt>
                <c:pt idx="3579">
                  <c:v>7530.0272378201316</c:v>
                </c:pt>
                <c:pt idx="3580">
                  <c:v>7526.8529601941427</c:v>
                </c:pt>
                <c:pt idx="3581">
                  <c:v>7614.746653833472</c:v>
                </c:pt>
                <c:pt idx="3582">
                  <c:v>7604.0520925096425</c:v>
                </c:pt>
                <c:pt idx="3583">
                  <c:v>7784.969031840963</c:v>
                </c:pt>
                <c:pt idx="3584">
                  <c:v>7949.6147733090511</c:v>
                </c:pt>
                <c:pt idx="3585">
                  <c:v>8116.6989161720066</c:v>
                </c:pt>
                <c:pt idx="3586">
                  <c:v>8083.298866397894</c:v>
                </c:pt>
                <c:pt idx="3587">
                  <c:v>8137.2673160064023</c:v>
                </c:pt>
                <c:pt idx="3588">
                  <c:v>8030.0053923109126</c:v>
                </c:pt>
                <c:pt idx="3589">
                  <c:v>7980.4010949412559</c:v>
                </c:pt>
                <c:pt idx="3590">
                  <c:v>7982.8311910636876</c:v>
                </c:pt>
                <c:pt idx="3591">
                  <c:v>7988.1748634306141</c:v>
                </c:pt>
                <c:pt idx="3592">
                  <c:v>8035.6571186244491</c:v>
                </c:pt>
                <c:pt idx="3593">
                  <c:v>8108.5348990523744</c:v>
                </c:pt>
                <c:pt idx="3594">
                  <c:v>8311.9439498510583</c:v>
                </c:pt>
                <c:pt idx="3595">
                  <c:v>8243.0648987341756</c:v>
                </c:pt>
                <c:pt idx="3596">
                  <c:v>8059.8118058703785</c:v>
                </c:pt>
                <c:pt idx="3597">
                  <c:v>8272.5995426790432</c:v>
                </c:pt>
                <c:pt idx="3598">
                  <c:v>8345.7764369626384</c:v>
                </c:pt>
                <c:pt idx="3599">
                  <c:v>7988.7952716814907</c:v>
                </c:pt>
                <c:pt idx="3600">
                  <c:v>7686.3852046393113</c:v>
                </c:pt>
                <c:pt idx="3601">
                  <c:v>7538.174718084394</c:v>
                </c:pt>
                <c:pt idx="3602">
                  <c:v>7399.8266921303384</c:v>
                </c:pt>
                <c:pt idx="3603">
                  <c:v>7365.8248181431636</c:v>
                </c:pt>
                <c:pt idx="3604">
                  <c:v>7589.8217278035909</c:v>
                </c:pt>
                <c:pt idx="3605">
                  <c:v>8246.5239125817116</c:v>
                </c:pt>
                <c:pt idx="3606">
                  <c:v>8826.981664683346</c:v>
                </c:pt>
                <c:pt idx="3607">
                  <c:v>9152.7510866013181</c:v>
                </c:pt>
                <c:pt idx="3608">
                  <c:v>9212.3412836750085</c:v>
                </c:pt>
                <c:pt idx="3609">
                  <c:v>9167.6326266488923</c:v>
                </c:pt>
                <c:pt idx="3610">
                  <c:v>9195.6134967174239</c:v>
                </c:pt>
                <c:pt idx="3611">
                  <c:v>9205.1153697923237</c:v>
                </c:pt>
                <c:pt idx="3612">
                  <c:v>9170.3657822348086</c:v>
                </c:pt>
                <c:pt idx="3613">
                  <c:v>8991.8594129538087</c:v>
                </c:pt>
                <c:pt idx="3614">
                  <c:v>8982.9040734449718</c:v>
                </c:pt>
                <c:pt idx="3615">
                  <c:v>8911.5738673007727</c:v>
                </c:pt>
                <c:pt idx="3616">
                  <c:v>8880.281000539755</c:v>
                </c:pt>
                <c:pt idx="3617">
                  <c:v>8819.9938193107937</c:v>
                </c:pt>
                <c:pt idx="3618">
                  <c:v>8849.5514553459107</c:v>
                </c:pt>
                <c:pt idx="3619">
                  <c:v>8772.3992714323194</c:v>
                </c:pt>
                <c:pt idx="3620">
                  <c:v>8408.25540497771</c:v>
                </c:pt>
                <c:pt idx="3621">
                  <c:v>8461.8342264529492</c:v>
                </c:pt>
                <c:pt idx="3622">
                  <c:v>8411.0297338504279</c:v>
                </c:pt>
                <c:pt idx="3623">
                  <c:v>7952.5903772590491</c:v>
                </c:pt>
                <c:pt idx="3624">
                  <c:v>7586.747239002415</c:v>
                </c:pt>
                <c:pt idx="3625">
                  <c:v>7482.9061068139235</c:v>
                </c:pt>
                <c:pt idx="3626">
                  <c:v>7414.4389060419235</c:v>
                </c:pt>
                <c:pt idx="3627">
                  <c:v>7378.5679548924691</c:v>
                </c:pt>
                <c:pt idx="3628">
                  <c:v>7604.1003552312559</c:v>
                </c:pt>
                <c:pt idx="3629">
                  <c:v>8290.9496431371299</c:v>
                </c:pt>
                <c:pt idx="3630">
                  <c:v>8735.3689407841157</c:v>
                </c:pt>
                <c:pt idx="3631">
                  <c:v>8883.1767589597221</c:v>
                </c:pt>
                <c:pt idx="3632">
                  <c:v>8950.4990835532262</c:v>
                </c:pt>
                <c:pt idx="3633">
                  <c:v>8947.8521012663623</c:v>
                </c:pt>
                <c:pt idx="3634">
                  <c:v>8997.6787580062683</c:v>
                </c:pt>
                <c:pt idx="3635">
                  <c:v>8973.0790334192225</c:v>
                </c:pt>
                <c:pt idx="3636">
                  <c:v>8858.3526188201358</c:v>
                </c:pt>
                <c:pt idx="3637">
                  <c:v>8760.3126564534195</c:v>
                </c:pt>
                <c:pt idx="3638">
                  <c:v>8704.0864001878053</c:v>
                </c:pt>
                <c:pt idx="3639">
                  <c:v>8656.0386252943408</c:v>
                </c:pt>
                <c:pt idx="3640">
                  <c:v>8689.4757284823481</c:v>
                </c:pt>
                <c:pt idx="3641">
                  <c:v>8640.5299635203701</c:v>
                </c:pt>
                <c:pt idx="3642">
                  <c:v>8648.0273899358908</c:v>
                </c:pt>
                <c:pt idx="3643">
                  <c:v>8601.6250076435281</c:v>
                </c:pt>
                <c:pt idx="3644">
                  <c:v>8268.6773463477602</c:v>
                </c:pt>
                <c:pt idx="3645">
                  <c:v>8272.1386833711058</c:v>
                </c:pt>
                <c:pt idx="3646">
                  <c:v>8147.089885305978</c:v>
                </c:pt>
                <c:pt idx="3647">
                  <c:v>7789.5235800391902</c:v>
                </c:pt>
                <c:pt idx="3648">
                  <c:v>7477.6164545463398</c:v>
                </c:pt>
                <c:pt idx="3649">
                  <c:v>7304.3480143217475</c:v>
                </c:pt>
                <c:pt idx="3650">
                  <c:v>7204.2468877485317</c:v>
                </c:pt>
                <c:pt idx="3651">
                  <c:v>7183.3750923965445</c:v>
                </c:pt>
                <c:pt idx="3652">
                  <c:v>7409.7848805777867</c:v>
                </c:pt>
                <c:pt idx="3653">
                  <c:v>8095.3442407541288</c:v>
                </c:pt>
                <c:pt idx="3654">
                  <c:v>8519.9178373491959</c:v>
                </c:pt>
                <c:pt idx="3655">
                  <c:v>8818.127472993192</c:v>
                </c:pt>
                <c:pt idx="3656">
                  <c:v>8898.7378038126481</c:v>
                </c:pt>
                <c:pt idx="3657">
                  <c:v>8877.4551657714201</c:v>
                </c:pt>
                <c:pt idx="3658">
                  <c:v>8878.1288384002091</c:v>
                </c:pt>
                <c:pt idx="3659">
                  <c:v>8927.274563523777</c:v>
                </c:pt>
                <c:pt idx="3660">
                  <c:v>8813.6352130079904</c:v>
                </c:pt>
                <c:pt idx="3661">
                  <c:v>8716.4247182417912</c:v>
                </c:pt>
                <c:pt idx="3662">
                  <c:v>8679.1006673528827</c:v>
                </c:pt>
                <c:pt idx="3663">
                  <c:v>8659.9901479861437</c:v>
                </c:pt>
                <c:pt idx="3664">
                  <c:v>8607.1730374604977</c:v>
                </c:pt>
                <c:pt idx="3665">
                  <c:v>8522.9330760689882</c:v>
                </c:pt>
                <c:pt idx="3666">
                  <c:v>8545.8575658347399</c:v>
                </c:pt>
                <c:pt idx="3667">
                  <c:v>8501.8385747700995</c:v>
                </c:pt>
                <c:pt idx="3668">
                  <c:v>8133.6809534779131</c:v>
                </c:pt>
                <c:pt idx="3669">
                  <c:v>8155.424666444299</c:v>
                </c:pt>
                <c:pt idx="3670">
                  <c:v>8007.4972856081349</c:v>
                </c:pt>
                <c:pt idx="3671">
                  <c:v>7625.7364399710987</c:v>
                </c:pt>
                <c:pt idx="3672">
                  <c:v>7302.5865891884114</c:v>
                </c:pt>
                <c:pt idx="3673">
                  <c:v>7141.1646451344213</c:v>
                </c:pt>
                <c:pt idx="3674">
                  <c:v>6979.942321325726</c:v>
                </c:pt>
                <c:pt idx="3675">
                  <c:v>6947.7834638269305</c:v>
                </c:pt>
                <c:pt idx="3676">
                  <c:v>7191.9261015290977</c:v>
                </c:pt>
                <c:pt idx="3677">
                  <c:v>7821.3110115149102</c:v>
                </c:pt>
                <c:pt idx="3678">
                  <c:v>8303.3802998850933</c:v>
                </c:pt>
                <c:pt idx="3679">
                  <c:v>8483.4561774441663</c:v>
                </c:pt>
                <c:pt idx="3680">
                  <c:v>8622.3874770769744</c:v>
                </c:pt>
                <c:pt idx="3681">
                  <c:v>8602.8133537260146</c:v>
                </c:pt>
                <c:pt idx="3682">
                  <c:v>8700.0559624061789</c:v>
                </c:pt>
                <c:pt idx="3683">
                  <c:v>8678.9523377185487</c:v>
                </c:pt>
                <c:pt idx="3684">
                  <c:v>8652.2940055229246</c:v>
                </c:pt>
                <c:pt idx="3685">
                  <c:v>8589.8195062296927</c:v>
                </c:pt>
                <c:pt idx="3686">
                  <c:v>8606.0425668000244</c:v>
                </c:pt>
                <c:pt idx="3687">
                  <c:v>8608.0015707733273</c:v>
                </c:pt>
                <c:pt idx="3688">
                  <c:v>8530.1818258139465</c:v>
                </c:pt>
                <c:pt idx="3689">
                  <c:v>8530.9303491168503</c:v>
                </c:pt>
                <c:pt idx="3690">
                  <c:v>8473.9832342695317</c:v>
                </c:pt>
                <c:pt idx="3691">
                  <c:v>8333.16583294882</c:v>
                </c:pt>
                <c:pt idx="3692">
                  <c:v>7978.2515957504083</c:v>
                </c:pt>
                <c:pt idx="3693">
                  <c:v>8032.4034845590768</c:v>
                </c:pt>
                <c:pt idx="3694">
                  <c:v>7963.9386941478415</c:v>
                </c:pt>
                <c:pt idx="3695">
                  <c:v>7603.3860869914433</c:v>
                </c:pt>
                <c:pt idx="3696">
                  <c:v>7285.2331846382485</c:v>
                </c:pt>
                <c:pt idx="3697">
                  <c:v>7140.5971431214075</c:v>
                </c:pt>
                <c:pt idx="3698">
                  <c:v>7030.7568156653124</c:v>
                </c:pt>
                <c:pt idx="3699">
                  <c:v>7050.0058142970011</c:v>
                </c:pt>
                <c:pt idx="3700">
                  <c:v>7265.5016107800493</c:v>
                </c:pt>
                <c:pt idx="3701">
                  <c:v>7913.3953241154841</c:v>
                </c:pt>
                <c:pt idx="3702">
                  <c:v>8502.8533146051413</c:v>
                </c:pt>
                <c:pt idx="3703">
                  <c:v>8779.0875311549207</c:v>
                </c:pt>
                <c:pt idx="3704">
                  <c:v>8934.0502612092023</c:v>
                </c:pt>
                <c:pt idx="3705">
                  <c:v>8951.9922835424222</c:v>
                </c:pt>
                <c:pt idx="3706">
                  <c:v>9005.0265672247497</c:v>
                </c:pt>
                <c:pt idx="3707">
                  <c:v>8983.8142981090732</c:v>
                </c:pt>
                <c:pt idx="3708">
                  <c:v>8887.3730091553753</c:v>
                </c:pt>
                <c:pt idx="3709">
                  <c:v>8827.4837177091504</c:v>
                </c:pt>
                <c:pt idx="3710">
                  <c:v>8757.5350699531245</c:v>
                </c:pt>
                <c:pt idx="3711">
                  <c:v>8738.2025129591711</c:v>
                </c:pt>
                <c:pt idx="3712">
                  <c:v>8654.9695835079056</c:v>
                </c:pt>
                <c:pt idx="3713">
                  <c:v>8584.7414275413412</c:v>
                </c:pt>
                <c:pt idx="3714">
                  <c:v>8610.0294376303373</c:v>
                </c:pt>
                <c:pt idx="3715">
                  <c:v>8506.0721560977381</c:v>
                </c:pt>
                <c:pt idx="3716">
                  <c:v>8191.0774992518727</c:v>
                </c:pt>
                <c:pt idx="3717">
                  <c:v>8170.9062525750187</c:v>
                </c:pt>
                <c:pt idx="3718">
                  <c:v>7985.6225588399475</c:v>
                </c:pt>
                <c:pt idx="3719">
                  <c:v>7599.4790338730691</c:v>
                </c:pt>
                <c:pt idx="3720">
                  <c:v>7189.5156640699115</c:v>
                </c:pt>
                <c:pt idx="3721">
                  <c:v>6998.1694739895811</c:v>
                </c:pt>
                <c:pt idx="3722">
                  <c:v>6864.5596700073556</c:v>
                </c:pt>
                <c:pt idx="3723">
                  <c:v>6792.4283127115932</c:v>
                </c:pt>
                <c:pt idx="3724">
                  <c:v>6854.8651660977648</c:v>
                </c:pt>
                <c:pt idx="3725">
                  <c:v>7100.7758616148658</c:v>
                </c:pt>
                <c:pt idx="3726">
                  <c:v>7347.7701079864728</c:v>
                </c:pt>
                <c:pt idx="3727">
                  <c:v>7640.0525437195138</c:v>
                </c:pt>
                <c:pt idx="3728">
                  <c:v>7755.3499297125263</c:v>
                </c:pt>
                <c:pt idx="3729">
                  <c:v>7956.1229233098456</c:v>
                </c:pt>
                <c:pt idx="3730">
                  <c:v>7957.7547624410954</c:v>
                </c:pt>
                <c:pt idx="3731">
                  <c:v>7987.1167263677517</c:v>
                </c:pt>
                <c:pt idx="3732">
                  <c:v>7915.6347524524335</c:v>
                </c:pt>
                <c:pt idx="3733">
                  <c:v>7915.5020105152371</c:v>
                </c:pt>
                <c:pt idx="3734">
                  <c:v>7945.451838225802</c:v>
                </c:pt>
                <c:pt idx="3735">
                  <c:v>8073.4207660323427</c:v>
                </c:pt>
                <c:pt idx="3736">
                  <c:v>8126.0202799005929</c:v>
                </c:pt>
                <c:pt idx="3737">
                  <c:v>8123.3501833420696</c:v>
                </c:pt>
                <c:pt idx="3738">
                  <c:v>8069.7962837829355</c:v>
                </c:pt>
                <c:pt idx="3739">
                  <c:v>7936.6245922523804</c:v>
                </c:pt>
                <c:pt idx="3740">
                  <c:v>7701.7644911707421</c:v>
                </c:pt>
                <c:pt idx="3741">
                  <c:v>7782.4548956696699</c:v>
                </c:pt>
                <c:pt idx="3742">
                  <c:v>7762.0242250245992</c:v>
                </c:pt>
                <c:pt idx="3743">
                  <c:v>7439.0455129488309</c:v>
                </c:pt>
                <c:pt idx="3744">
                  <c:v>7067.9653297715131</c:v>
                </c:pt>
                <c:pt idx="3745">
                  <c:v>6937.1254721064352</c:v>
                </c:pt>
                <c:pt idx="3746">
                  <c:v>6770.0799012438001</c:v>
                </c:pt>
                <c:pt idx="3747">
                  <c:v>6650.6594921520809</c:v>
                </c:pt>
                <c:pt idx="3748">
                  <c:v>6632.7837159467881</c:v>
                </c:pt>
                <c:pt idx="3749">
                  <c:v>6790.1893641004854</c:v>
                </c:pt>
                <c:pt idx="3750">
                  <c:v>7005.493739185541</c:v>
                </c:pt>
                <c:pt idx="3751">
                  <c:v>7195.389498436085</c:v>
                </c:pt>
                <c:pt idx="3752">
                  <c:v>7508.5327897529078</c:v>
                </c:pt>
                <c:pt idx="3753">
                  <c:v>7777.4401501222137</c:v>
                </c:pt>
                <c:pt idx="3754">
                  <c:v>7860.101100277886</c:v>
                </c:pt>
                <c:pt idx="3755">
                  <c:v>7898.4911662011964</c:v>
                </c:pt>
                <c:pt idx="3756">
                  <c:v>7812.9040055296546</c:v>
                </c:pt>
                <c:pt idx="3757">
                  <c:v>7834.0729423602734</c:v>
                </c:pt>
                <c:pt idx="3758">
                  <c:v>7831.4903314831536</c:v>
                </c:pt>
                <c:pt idx="3759">
                  <c:v>7810.8481276975863</c:v>
                </c:pt>
                <c:pt idx="3760">
                  <c:v>7868.5637554331042</c:v>
                </c:pt>
                <c:pt idx="3761">
                  <c:v>8003.0413366009725</c:v>
                </c:pt>
                <c:pt idx="3762">
                  <c:v>8046.1070900671111</c:v>
                </c:pt>
                <c:pt idx="3763">
                  <c:v>7937.2487063805802</c:v>
                </c:pt>
                <c:pt idx="3764">
                  <c:v>7585.7780644758914</c:v>
                </c:pt>
                <c:pt idx="3765">
                  <c:v>7705.3854733673579</c:v>
                </c:pt>
                <c:pt idx="3766">
                  <c:v>7728.463063870624</c:v>
                </c:pt>
                <c:pt idx="3767">
                  <c:v>7368.3167152658607</c:v>
                </c:pt>
                <c:pt idx="3768">
                  <c:v>6976.919447380651</c:v>
                </c:pt>
                <c:pt idx="3769">
                  <c:v>6788.6185454800243</c:v>
                </c:pt>
                <c:pt idx="3770">
                  <c:v>6673.5697198461803</c:v>
                </c:pt>
                <c:pt idx="3771">
                  <c:v>6669.8456357133527</c:v>
                </c:pt>
                <c:pt idx="3772">
                  <c:v>6940.4449936178098</c:v>
                </c:pt>
                <c:pt idx="3773">
                  <c:v>7652.5389934801033</c:v>
                </c:pt>
                <c:pt idx="3774">
                  <c:v>8211.7929764532364</c:v>
                </c:pt>
                <c:pt idx="3775">
                  <c:v>8561.5888815138715</c:v>
                </c:pt>
                <c:pt idx="3776">
                  <c:v>8765.9730646802964</c:v>
                </c:pt>
                <c:pt idx="3777">
                  <c:v>8775.6219238604408</c:v>
                </c:pt>
                <c:pt idx="3778">
                  <c:v>8854.0408999737265</c:v>
                </c:pt>
                <c:pt idx="3779">
                  <c:v>8897.2665169113134</c:v>
                </c:pt>
                <c:pt idx="3780">
                  <c:v>8840.2459033368013</c:v>
                </c:pt>
                <c:pt idx="3781">
                  <c:v>8754.8625006514394</c:v>
                </c:pt>
                <c:pt idx="3782">
                  <c:v>8693.9091537875975</c:v>
                </c:pt>
                <c:pt idx="3783">
                  <c:v>8528.4161667716871</c:v>
                </c:pt>
                <c:pt idx="3784">
                  <c:v>8505.5611032660745</c:v>
                </c:pt>
                <c:pt idx="3785">
                  <c:v>8447.6249441206746</c:v>
                </c:pt>
                <c:pt idx="3786">
                  <c:v>8478.4592337633367</c:v>
                </c:pt>
                <c:pt idx="3787">
                  <c:v>8429.5893195832687</c:v>
                </c:pt>
                <c:pt idx="3788">
                  <c:v>8066.8726280900119</c:v>
                </c:pt>
                <c:pt idx="3789">
                  <c:v>8087.8278221002047</c:v>
                </c:pt>
                <c:pt idx="3790">
                  <c:v>7875.4283363074828</c:v>
                </c:pt>
                <c:pt idx="3791">
                  <c:v>7458.8198575599454</c:v>
                </c:pt>
                <c:pt idx="3792">
                  <c:v>7097.0989744458848</c:v>
                </c:pt>
                <c:pt idx="3793">
                  <c:v>6922.9788984678344</c:v>
                </c:pt>
                <c:pt idx="3794">
                  <c:v>6769.6484004047288</c:v>
                </c:pt>
                <c:pt idx="3795">
                  <c:v>6762.0062401238292</c:v>
                </c:pt>
                <c:pt idx="3796">
                  <c:v>7013.0403214457765</c:v>
                </c:pt>
                <c:pt idx="3797">
                  <c:v>7704.5825296566109</c:v>
                </c:pt>
                <c:pt idx="3798">
                  <c:v>8261.3490885453411</c:v>
                </c:pt>
                <c:pt idx="3799">
                  <c:v>8548.5619993785022</c:v>
                </c:pt>
                <c:pt idx="3800">
                  <c:v>8635.7813749767938</c:v>
                </c:pt>
                <c:pt idx="3801">
                  <c:v>8706.0339233022914</c:v>
                </c:pt>
                <c:pt idx="3802">
                  <c:v>8833.0214384817555</c:v>
                </c:pt>
                <c:pt idx="3803">
                  <c:v>8858.8602498601758</c:v>
                </c:pt>
                <c:pt idx="3804">
                  <c:v>8829.1060804121498</c:v>
                </c:pt>
                <c:pt idx="3805">
                  <c:v>8668.5227677201838</c:v>
                </c:pt>
                <c:pt idx="3806">
                  <c:v>8693.7341483066448</c:v>
                </c:pt>
                <c:pt idx="3807">
                  <c:v>8603.9754126557855</c:v>
                </c:pt>
                <c:pt idx="3808">
                  <c:v>8611.7931356759182</c:v>
                </c:pt>
                <c:pt idx="3809">
                  <c:v>8544.4067619749258</c:v>
                </c:pt>
                <c:pt idx="3810">
                  <c:v>8564.676097979318</c:v>
                </c:pt>
                <c:pt idx="3811">
                  <c:v>8439.051562978615</c:v>
                </c:pt>
                <c:pt idx="3812">
                  <c:v>8164.332540121959</c:v>
                </c:pt>
                <c:pt idx="3813">
                  <c:v>8178.2450855510906</c:v>
                </c:pt>
                <c:pt idx="3814">
                  <c:v>8010.7963651660566</c:v>
                </c:pt>
                <c:pt idx="3815">
                  <c:v>7580.0726608607229</c:v>
                </c:pt>
                <c:pt idx="3816">
                  <c:v>7223.4305628255734</c:v>
                </c:pt>
                <c:pt idx="3817">
                  <c:v>6999.2763263679526</c:v>
                </c:pt>
                <c:pt idx="3818">
                  <c:v>6883.8696617077239</c:v>
                </c:pt>
                <c:pt idx="3819">
                  <c:v>6862.1873822181751</c:v>
                </c:pt>
                <c:pt idx="3820">
                  <c:v>7083.547476876196</c:v>
                </c:pt>
                <c:pt idx="3821">
                  <c:v>7724.9750169323843</c:v>
                </c:pt>
                <c:pt idx="3822">
                  <c:v>8229.4066278958981</c:v>
                </c:pt>
                <c:pt idx="3823">
                  <c:v>8423.6336561932603</c:v>
                </c:pt>
                <c:pt idx="3824">
                  <c:v>8615.6548276427729</c:v>
                </c:pt>
                <c:pt idx="3825">
                  <c:v>8683.8769878700186</c:v>
                </c:pt>
                <c:pt idx="3826">
                  <c:v>8756.4105340161077</c:v>
                </c:pt>
                <c:pt idx="3827">
                  <c:v>8886.4621751925933</c:v>
                </c:pt>
                <c:pt idx="3828">
                  <c:v>8813.8685740518395</c:v>
                </c:pt>
                <c:pt idx="3829">
                  <c:v>8744.9160096392498</c:v>
                </c:pt>
                <c:pt idx="3830">
                  <c:v>8729.5074421801619</c:v>
                </c:pt>
                <c:pt idx="3831">
                  <c:v>8755.0152174867035</c:v>
                </c:pt>
                <c:pt idx="3832">
                  <c:v>8730.7763112358134</c:v>
                </c:pt>
                <c:pt idx="3833">
                  <c:v>8695.1970888011074</c:v>
                </c:pt>
                <c:pt idx="3834">
                  <c:v>8664.7521593541369</c:v>
                </c:pt>
                <c:pt idx="3835">
                  <c:v>8575.4501991700163</c:v>
                </c:pt>
                <c:pt idx="3836">
                  <c:v>8241.8626996027197</c:v>
                </c:pt>
                <c:pt idx="3837">
                  <c:v>8240.2798103651821</c:v>
                </c:pt>
                <c:pt idx="3838">
                  <c:v>8025.8773838034849</c:v>
                </c:pt>
                <c:pt idx="3839">
                  <c:v>7630.0970079514773</c:v>
                </c:pt>
                <c:pt idx="3840">
                  <c:v>7271.8000467708998</c:v>
                </c:pt>
                <c:pt idx="3841">
                  <c:v>7066.7166661826759</c:v>
                </c:pt>
                <c:pt idx="3842">
                  <c:v>6966.2935005324744</c:v>
                </c:pt>
                <c:pt idx="3843">
                  <c:v>6971.675843187988</c:v>
                </c:pt>
                <c:pt idx="3844">
                  <c:v>7182.4130173795284</c:v>
                </c:pt>
                <c:pt idx="3845">
                  <c:v>7706.4533434733275</c:v>
                </c:pt>
                <c:pt idx="3846">
                  <c:v>8150.2192771760001</c:v>
                </c:pt>
                <c:pt idx="3847">
                  <c:v>8507.1857055952969</c:v>
                </c:pt>
                <c:pt idx="3848">
                  <c:v>8665.1965303947763</c:v>
                </c:pt>
                <c:pt idx="3849">
                  <c:v>8730.3264265781454</c:v>
                </c:pt>
                <c:pt idx="3850">
                  <c:v>8817.6754412202645</c:v>
                </c:pt>
                <c:pt idx="3851">
                  <c:v>8849.1979877546564</c:v>
                </c:pt>
                <c:pt idx="3852">
                  <c:v>8757.9537420575525</c:v>
                </c:pt>
                <c:pt idx="3853">
                  <c:v>8762.7657977449999</c:v>
                </c:pt>
                <c:pt idx="3854">
                  <c:v>8715.6622352759423</c:v>
                </c:pt>
                <c:pt idx="3855">
                  <c:v>8729.9585266821359</c:v>
                </c:pt>
                <c:pt idx="3856">
                  <c:v>8739.5654497361611</c:v>
                </c:pt>
                <c:pt idx="3857">
                  <c:v>8646.9107911842348</c:v>
                </c:pt>
                <c:pt idx="3858">
                  <c:v>8634.8833313538707</c:v>
                </c:pt>
                <c:pt idx="3859">
                  <c:v>8572.1580641800247</c:v>
                </c:pt>
                <c:pt idx="3860">
                  <c:v>8264.6161830110359</c:v>
                </c:pt>
                <c:pt idx="3861">
                  <c:v>8300.1093972900326</c:v>
                </c:pt>
                <c:pt idx="3862">
                  <c:v>8076.2022229189761</c:v>
                </c:pt>
                <c:pt idx="3863">
                  <c:v>7698.088924417385</c:v>
                </c:pt>
                <c:pt idx="3864">
                  <c:v>7351.2082315926964</c:v>
                </c:pt>
                <c:pt idx="3865">
                  <c:v>7135.7346790506626</c:v>
                </c:pt>
                <c:pt idx="3866">
                  <c:v>7002.4614051127037</c:v>
                </c:pt>
                <c:pt idx="3867">
                  <c:v>7063.9148889730695</c:v>
                </c:pt>
                <c:pt idx="3868">
                  <c:v>7317.0926644305964</c:v>
                </c:pt>
                <c:pt idx="3869">
                  <c:v>7902.6479419164507</c:v>
                </c:pt>
                <c:pt idx="3870">
                  <c:v>8423.6088174691649</c:v>
                </c:pt>
                <c:pt idx="3871">
                  <c:v>8710.3267731314245</c:v>
                </c:pt>
                <c:pt idx="3872">
                  <c:v>8961.9013062418871</c:v>
                </c:pt>
                <c:pt idx="3873">
                  <c:v>9015.3649194217196</c:v>
                </c:pt>
                <c:pt idx="3874">
                  <c:v>9058.166664690767</c:v>
                </c:pt>
                <c:pt idx="3875">
                  <c:v>9145.892015522255</c:v>
                </c:pt>
                <c:pt idx="3876">
                  <c:v>9046.9657405398611</c:v>
                </c:pt>
                <c:pt idx="3877">
                  <c:v>8974.7456797612831</c:v>
                </c:pt>
                <c:pt idx="3878">
                  <c:v>8862.6336683241134</c:v>
                </c:pt>
                <c:pt idx="3879">
                  <c:v>8809.8185902695059</c:v>
                </c:pt>
                <c:pt idx="3880">
                  <c:v>8700.6963840746866</c:v>
                </c:pt>
                <c:pt idx="3881">
                  <c:v>8617.3577747941708</c:v>
                </c:pt>
                <c:pt idx="3882">
                  <c:v>8483.3800303815497</c:v>
                </c:pt>
                <c:pt idx="3883">
                  <c:v>8372.7805871007549</c:v>
                </c:pt>
                <c:pt idx="3884">
                  <c:v>8101.2954925798285</c:v>
                </c:pt>
                <c:pt idx="3885">
                  <c:v>8084.2367354533999</c:v>
                </c:pt>
                <c:pt idx="3886">
                  <c:v>8005.9642585731162</c:v>
                </c:pt>
                <c:pt idx="3887">
                  <c:v>7627.7805696313271</c:v>
                </c:pt>
                <c:pt idx="3888">
                  <c:v>7262.4289224547338</c:v>
                </c:pt>
                <c:pt idx="3889">
                  <c:v>7044.1892418271345</c:v>
                </c:pt>
                <c:pt idx="3890">
                  <c:v>6915.8251737511509</c:v>
                </c:pt>
                <c:pt idx="3891">
                  <c:v>6843.3634451588541</c:v>
                </c:pt>
                <c:pt idx="3892">
                  <c:v>6903.8165622779034</c:v>
                </c:pt>
                <c:pt idx="3893">
                  <c:v>7177.2244157311006</c:v>
                </c:pt>
                <c:pt idx="3894">
                  <c:v>7427.0012447794488</c:v>
                </c:pt>
                <c:pt idx="3895">
                  <c:v>7716.6256468380971</c:v>
                </c:pt>
                <c:pt idx="3896">
                  <c:v>7882.6723283926258</c:v>
                </c:pt>
                <c:pt idx="3897">
                  <c:v>8087.5395931888852</c:v>
                </c:pt>
                <c:pt idx="3898">
                  <c:v>8243.8605423132576</c:v>
                </c:pt>
                <c:pt idx="3899">
                  <c:v>8199.4888280510186</c:v>
                </c:pt>
                <c:pt idx="3900">
                  <c:v>8189.1348340138657</c:v>
                </c:pt>
                <c:pt idx="3901">
                  <c:v>8167.0447882951266</c:v>
                </c:pt>
                <c:pt idx="3902">
                  <c:v>8195.1972890340221</c:v>
                </c:pt>
                <c:pt idx="3903">
                  <c:v>8304.6366016738684</c:v>
                </c:pt>
                <c:pt idx="3904">
                  <c:v>8429.4296505216789</c:v>
                </c:pt>
                <c:pt idx="3905">
                  <c:v>8552.8614797215159</c:v>
                </c:pt>
                <c:pt idx="3906">
                  <c:v>8343.8009588054629</c:v>
                </c:pt>
                <c:pt idx="3907">
                  <c:v>8241.7196088430719</c:v>
                </c:pt>
                <c:pt idx="3908">
                  <c:v>7953.5361263534151</c:v>
                </c:pt>
                <c:pt idx="3909">
                  <c:v>7967.66980079114</c:v>
                </c:pt>
                <c:pt idx="3910">
                  <c:v>7917.6014023030184</c:v>
                </c:pt>
                <c:pt idx="3911">
                  <c:v>7569.3574136081461</c:v>
                </c:pt>
                <c:pt idx="3912">
                  <c:v>7223.7841240982716</c:v>
                </c:pt>
                <c:pt idx="3913">
                  <c:v>7036.5426487753566</c:v>
                </c:pt>
                <c:pt idx="3914">
                  <c:v>6915.0541927704608</c:v>
                </c:pt>
                <c:pt idx="3915">
                  <c:v>6850.0224672221984</c:v>
                </c:pt>
                <c:pt idx="3916">
                  <c:v>6868.9094510356126</c:v>
                </c:pt>
                <c:pt idx="3917">
                  <c:v>6987.0283250452458</c:v>
                </c:pt>
                <c:pt idx="3918">
                  <c:v>7146.646337136739</c:v>
                </c:pt>
                <c:pt idx="3919">
                  <c:v>7358.48186753354</c:v>
                </c:pt>
                <c:pt idx="3920">
                  <c:v>7654.1450121104053</c:v>
                </c:pt>
                <c:pt idx="3921">
                  <c:v>7817.1449391873311</c:v>
                </c:pt>
                <c:pt idx="3922">
                  <c:v>7948.0041710839614</c:v>
                </c:pt>
                <c:pt idx="3923">
                  <c:v>7900.3942294573426</c:v>
                </c:pt>
                <c:pt idx="3924">
                  <c:v>7909.2204487522504</c:v>
                </c:pt>
                <c:pt idx="3925">
                  <c:v>7845.9595797316169</c:v>
                </c:pt>
                <c:pt idx="3926">
                  <c:v>7868.8850150579092</c:v>
                </c:pt>
                <c:pt idx="3927">
                  <c:v>7907.837223315275</c:v>
                </c:pt>
                <c:pt idx="3928">
                  <c:v>7970.8342186188584</c:v>
                </c:pt>
                <c:pt idx="3929">
                  <c:v>8005.9171258974784</c:v>
                </c:pt>
                <c:pt idx="3930">
                  <c:v>8111.8477535020411</c:v>
                </c:pt>
                <c:pt idx="3931">
                  <c:v>8098.0430354891205</c:v>
                </c:pt>
                <c:pt idx="3932">
                  <c:v>7870.7826854859104</c:v>
                </c:pt>
                <c:pt idx="3933">
                  <c:v>7989.4504641890908</c:v>
                </c:pt>
                <c:pt idx="3934">
                  <c:v>7973.3055424398808</c:v>
                </c:pt>
                <c:pt idx="3935">
                  <c:v>7661.4446369927909</c:v>
                </c:pt>
                <c:pt idx="3936">
                  <c:v>7357.0347435386775</c:v>
                </c:pt>
                <c:pt idx="3937">
                  <c:v>7184.5366466900923</c:v>
                </c:pt>
                <c:pt idx="3938">
                  <c:v>7063.7456157046872</c:v>
                </c:pt>
                <c:pt idx="3939">
                  <c:v>7077.4416896134317</c:v>
                </c:pt>
                <c:pt idx="3940">
                  <c:v>7330.7287474086588</c:v>
                </c:pt>
                <c:pt idx="3941">
                  <c:v>7979.6137736748951</c:v>
                </c:pt>
                <c:pt idx="3942">
                  <c:v>8382.9221276180524</c:v>
                </c:pt>
                <c:pt idx="3943">
                  <c:v>8641.902041741916</c:v>
                </c:pt>
                <c:pt idx="3944">
                  <c:v>8750.9155399508109</c:v>
                </c:pt>
                <c:pt idx="3945">
                  <c:v>8735.8885311706199</c:v>
                </c:pt>
                <c:pt idx="3946">
                  <c:v>8899.4473422418578</c:v>
                </c:pt>
                <c:pt idx="3947">
                  <c:v>8862.2105139677387</c:v>
                </c:pt>
                <c:pt idx="3948">
                  <c:v>8876.2388065486793</c:v>
                </c:pt>
                <c:pt idx="3949">
                  <c:v>8722.5473047487703</c:v>
                </c:pt>
                <c:pt idx="3950">
                  <c:v>8675.4924749137717</c:v>
                </c:pt>
                <c:pt idx="3951">
                  <c:v>8609.0512328537425</c:v>
                </c:pt>
                <c:pt idx="3952">
                  <c:v>8645.2938077140261</c:v>
                </c:pt>
                <c:pt idx="3953">
                  <c:v>8593.2872151314023</c:v>
                </c:pt>
                <c:pt idx="3954">
                  <c:v>8632.4101658490817</c:v>
                </c:pt>
                <c:pt idx="3955">
                  <c:v>8523.7314330939007</c:v>
                </c:pt>
                <c:pt idx="3956">
                  <c:v>8282.6887325050229</c:v>
                </c:pt>
                <c:pt idx="3957">
                  <c:v>8344.0667991794053</c:v>
                </c:pt>
                <c:pt idx="3958">
                  <c:v>8192.4248636067005</c:v>
                </c:pt>
                <c:pt idx="3959">
                  <c:v>7775.1466864639215</c:v>
                </c:pt>
                <c:pt idx="3960">
                  <c:v>7491.4757827663097</c:v>
                </c:pt>
                <c:pt idx="3961">
                  <c:v>7293.0218812616949</c:v>
                </c:pt>
                <c:pt idx="3962">
                  <c:v>7218.3304514217971</c:v>
                </c:pt>
                <c:pt idx="3963">
                  <c:v>7219.6187307996233</c:v>
                </c:pt>
                <c:pt idx="3964">
                  <c:v>7421.617195838744</c:v>
                </c:pt>
                <c:pt idx="3965">
                  <c:v>8105.4512995382174</c:v>
                </c:pt>
                <c:pt idx="3966">
                  <c:v>8534.1137150043651</c:v>
                </c:pt>
                <c:pt idx="3967">
                  <c:v>8796.8574958327063</c:v>
                </c:pt>
                <c:pt idx="3968">
                  <c:v>8921.4044248088976</c:v>
                </c:pt>
                <c:pt idx="3969">
                  <c:v>8949.3875784459269</c:v>
                </c:pt>
                <c:pt idx="3970">
                  <c:v>8999.0805181186133</c:v>
                </c:pt>
                <c:pt idx="3971">
                  <c:v>9048.5826074348297</c:v>
                </c:pt>
                <c:pt idx="3972">
                  <c:v>9000.7210382593912</c:v>
                </c:pt>
                <c:pt idx="3973">
                  <c:v>8930.9507417293989</c:v>
                </c:pt>
                <c:pt idx="3974">
                  <c:v>8771.3533241512414</c:v>
                </c:pt>
                <c:pt idx="3975">
                  <c:v>8757.64770016683</c:v>
                </c:pt>
                <c:pt idx="3976">
                  <c:v>8745.0706175236064</c:v>
                </c:pt>
                <c:pt idx="3977">
                  <c:v>8662.2863547943925</c:v>
                </c:pt>
                <c:pt idx="3978">
                  <c:v>8655.3840267539053</c:v>
                </c:pt>
                <c:pt idx="3979">
                  <c:v>8633.0275056699556</c:v>
                </c:pt>
                <c:pt idx="3980">
                  <c:v>8371.0315382952122</c:v>
                </c:pt>
                <c:pt idx="3981">
                  <c:v>8354.4525454535578</c:v>
                </c:pt>
                <c:pt idx="3982">
                  <c:v>8228.4845479993655</c:v>
                </c:pt>
                <c:pt idx="3983">
                  <c:v>7896.6110848728622</c:v>
                </c:pt>
                <c:pt idx="3984">
                  <c:v>7642.2529263435845</c:v>
                </c:pt>
                <c:pt idx="3985">
                  <c:v>7434.6201177603025</c:v>
                </c:pt>
                <c:pt idx="3986">
                  <c:v>7260.9520374405101</c:v>
                </c:pt>
                <c:pt idx="3987">
                  <c:v>7257.7149260813676</c:v>
                </c:pt>
                <c:pt idx="3988">
                  <c:v>7485.1074411956242</c:v>
                </c:pt>
                <c:pt idx="3989">
                  <c:v>8055.087252387244</c:v>
                </c:pt>
                <c:pt idx="3990">
                  <c:v>8450.6692621685834</c:v>
                </c:pt>
                <c:pt idx="3991">
                  <c:v>8660.8109472750912</c:v>
                </c:pt>
                <c:pt idx="3992">
                  <c:v>8840.5867668776045</c:v>
                </c:pt>
                <c:pt idx="3993">
                  <c:v>8831.0955606708449</c:v>
                </c:pt>
                <c:pt idx="3994">
                  <c:v>8885.6770208529288</c:v>
                </c:pt>
                <c:pt idx="3995">
                  <c:v>8981.1480065322503</c:v>
                </c:pt>
                <c:pt idx="3996">
                  <c:v>8904.9830831483978</c:v>
                </c:pt>
                <c:pt idx="3997">
                  <c:v>8808.4411523858053</c:v>
                </c:pt>
                <c:pt idx="3998">
                  <c:v>8836.7442857194746</c:v>
                </c:pt>
                <c:pt idx="3999">
                  <c:v>8820.2125754495064</c:v>
                </c:pt>
                <c:pt idx="4000">
                  <c:v>8770.6461919372341</c:v>
                </c:pt>
                <c:pt idx="4001">
                  <c:v>8630.2344714327228</c:v>
                </c:pt>
                <c:pt idx="4002">
                  <c:v>8724.1892461775024</c:v>
                </c:pt>
                <c:pt idx="4003">
                  <c:v>8662.2241234253343</c:v>
                </c:pt>
                <c:pt idx="4004">
                  <c:v>8387.2774991679635</c:v>
                </c:pt>
                <c:pt idx="4005">
                  <c:v>8408.5498245931285</c:v>
                </c:pt>
                <c:pt idx="4006">
                  <c:v>8195.7557613628524</c:v>
                </c:pt>
                <c:pt idx="4007">
                  <c:v>7955.9412777412108</c:v>
                </c:pt>
                <c:pt idx="4008">
                  <c:v>7631.1348992588055</c:v>
                </c:pt>
                <c:pt idx="4009">
                  <c:v>7426.5866920881217</c:v>
                </c:pt>
                <c:pt idx="4010">
                  <c:v>7298.4335796980304</c:v>
                </c:pt>
                <c:pt idx="4011">
                  <c:v>7299.6556190344936</c:v>
                </c:pt>
                <c:pt idx="4012">
                  <c:v>7513.7232452884382</c:v>
                </c:pt>
                <c:pt idx="4013">
                  <c:v>8101.331263137231</c:v>
                </c:pt>
                <c:pt idx="4014">
                  <c:v>8524.2455823638957</c:v>
                </c:pt>
                <c:pt idx="4015">
                  <c:v>8698.2522876937437</c:v>
                </c:pt>
                <c:pt idx="4016">
                  <c:v>8798.6554431801105</c:v>
                </c:pt>
                <c:pt idx="4017">
                  <c:v>8744.1261747669578</c:v>
                </c:pt>
                <c:pt idx="4018">
                  <c:v>8783.4247250727803</c:v>
                </c:pt>
                <c:pt idx="4019">
                  <c:v>8880.7985189325846</c:v>
                </c:pt>
                <c:pt idx="4020">
                  <c:v>8867.7082227282026</c:v>
                </c:pt>
                <c:pt idx="4021">
                  <c:v>8817.4966519377249</c:v>
                </c:pt>
                <c:pt idx="4022">
                  <c:v>8842.5270945197353</c:v>
                </c:pt>
                <c:pt idx="4023">
                  <c:v>8813.6964518579352</c:v>
                </c:pt>
                <c:pt idx="4024">
                  <c:v>8820.5824832428752</c:v>
                </c:pt>
                <c:pt idx="4025">
                  <c:v>8830.6474586004369</c:v>
                </c:pt>
                <c:pt idx="4026">
                  <c:v>8812.7039032985231</c:v>
                </c:pt>
                <c:pt idx="4027">
                  <c:v>8774.7388186350418</c:v>
                </c:pt>
                <c:pt idx="4028">
                  <c:v>8514.6498455584679</c:v>
                </c:pt>
                <c:pt idx="4029">
                  <c:v>8453.3483631443469</c:v>
                </c:pt>
                <c:pt idx="4030">
                  <c:v>8295.734076928682</c:v>
                </c:pt>
                <c:pt idx="4031">
                  <c:v>7965.2337814878701</c:v>
                </c:pt>
                <c:pt idx="4032">
                  <c:v>7589.2948146741064</c:v>
                </c:pt>
                <c:pt idx="4033">
                  <c:v>7423.5158403613887</c:v>
                </c:pt>
                <c:pt idx="4034">
                  <c:v>7292.912254212657</c:v>
                </c:pt>
                <c:pt idx="4035">
                  <c:v>7305.1825838717559</c:v>
                </c:pt>
                <c:pt idx="4036">
                  <c:v>7512.4467548950852</c:v>
                </c:pt>
                <c:pt idx="4037">
                  <c:v>8151.4155969512549</c:v>
                </c:pt>
                <c:pt idx="4038">
                  <c:v>8571.2742461815833</c:v>
                </c:pt>
                <c:pt idx="4039">
                  <c:v>8844.1220012369231</c:v>
                </c:pt>
                <c:pt idx="4040">
                  <c:v>9021.5596200641412</c:v>
                </c:pt>
                <c:pt idx="4041">
                  <c:v>9084.9861066534468</c:v>
                </c:pt>
                <c:pt idx="4042">
                  <c:v>9137.7356329890099</c:v>
                </c:pt>
                <c:pt idx="4043">
                  <c:v>9185.7886505083097</c:v>
                </c:pt>
                <c:pt idx="4044">
                  <c:v>9181.8872689242362</c:v>
                </c:pt>
                <c:pt idx="4045">
                  <c:v>9155.4287471083007</c:v>
                </c:pt>
                <c:pt idx="4046">
                  <c:v>9130.6595581742476</c:v>
                </c:pt>
                <c:pt idx="4047">
                  <c:v>9119.7077341976874</c:v>
                </c:pt>
                <c:pt idx="4048">
                  <c:v>9086.5158292424949</c:v>
                </c:pt>
                <c:pt idx="4049">
                  <c:v>8970.1554160231008</c:v>
                </c:pt>
                <c:pt idx="4050">
                  <c:v>8841.0377172978951</c:v>
                </c:pt>
                <c:pt idx="4051">
                  <c:v>8631.8101380360185</c:v>
                </c:pt>
                <c:pt idx="4052">
                  <c:v>8360.6680907960581</c:v>
                </c:pt>
                <c:pt idx="4053">
                  <c:v>8332.5481148337167</c:v>
                </c:pt>
                <c:pt idx="4054">
                  <c:v>8158.5996632668048</c:v>
                </c:pt>
                <c:pt idx="4055">
                  <c:v>7788.7020641676918</c:v>
                </c:pt>
                <c:pt idx="4056">
                  <c:v>7420.6559177091012</c:v>
                </c:pt>
                <c:pt idx="4057">
                  <c:v>7186.4140224720413</c:v>
                </c:pt>
                <c:pt idx="4058">
                  <c:v>7044.2343457459338</c:v>
                </c:pt>
                <c:pt idx="4059">
                  <c:v>6979.25902534948</c:v>
                </c:pt>
                <c:pt idx="4060">
                  <c:v>7040.2528512593008</c:v>
                </c:pt>
                <c:pt idx="4061">
                  <c:v>7256.8694494880128</c:v>
                </c:pt>
                <c:pt idx="4062">
                  <c:v>7573.2808457137307</c:v>
                </c:pt>
                <c:pt idx="4063">
                  <c:v>7841.6614855441148</c:v>
                </c:pt>
                <c:pt idx="4064">
                  <c:v>8101.4294844364031</c:v>
                </c:pt>
                <c:pt idx="4065">
                  <c:v>8261.9150881151072</c:v>
                </c:pt>
                <c:pt idx="4066">
                  <c:v>8318.6129657688616</c:v>
                </c:pt>
                <c:pt idx="4067">
                  <c:v>8303.5273485655489</c:v>
                </c:pt>
                <c:pt idx="4068">
                  <c:v>8275.6810052241253</c:v>
                </c:pt>
                <c:pt idx="4069">
                  <c:v>8286.0043213035187</c:v>
                </c:pt>
                <c:pt idx="4070">
                  <c:v>8321.9184148350323</c:v>
                </c:pt>
                <c:pt idx="4071">
                  <c:v>8419.1303702849</c:v>
                </c:pt>
                <c:pt idx="4072">
                  <c:v>8432.9386469196597</c:v>
                </c:pt>
                <c:pt idx="4073">
                  <c:v>8409.1380765587965</c:v>
                </c:pt>
                <c:pt idx="4074">
                  <c:v>8478.657143312299</c:v>
                </c:pt>
                <c:pt idx="4075">
                  <c:v>8373.7712019484316</c:v>
                </c:pt>
                <c:pt idx="4076">
                  <c:v>8090.6055310598349</c:v>
                </c:pt>
                <c:pt idx="4077">
                  <c:v>8113.4797843481692</c:v>
                </c:pt>
                <c:pt idx="4078">
                  <c:v>8044.2437753531367</c:v>
                </c:pt>
                <c:pt idx="4079">
                  <c:v>7715.2442485899182</c:v>
                </c:pt>
                <c:pt idx="4080">
                  <c:v>7370.6368850806393</c:v>
                </c:pt>
                <c:pt idx="4081">
                  <c:v>7218.043697418042</c:v>
                </c:pt>
                <c:pt idx="4082">
                  <c:v>7012.8382873986129</c:v>
                </c:pt>
                <c:pt idx="4083">
                  <c:v>6928.2854871649561</c:v>
                </c:pt>
                <c:pt idx="4084">
                  <c:v>6970.7471031790119</c:v>
                </c:pt>
                <c:pt idx="4085">
                  <c:v>7077.7990063593634</c:v>
                </c:pt>
                <c:pt idx="4086">
                  <c:v>7267.228388086397</c:v>
                </c:pt>
                <c:pt idx="4087">
                  <c:v>7541.6307600759483</c:v>
                </c:pt>
                <c:pt idx="4088">
                  <c:v>7823.0068952972042</c:v>
                </c:pt>
                <c:pt idx="4089">
                  <c:v>8017.9428150439508</c:v>
                </c:pt>
                <c:pt idx="4090">
                  <c:v>8151.6058324782625</c:v>
                </c:pt>
                <c:pt idx="4091">
                  <c:v>8226.116927503972</c:v>
                </c:pt>
                <c:pt idx="4092">
                  <c:v>8212.3749861371925</c:v>
                </c:pt>
                <c:pt idx="4093">
                  <c:v>8202.265667177162</c:v>
                </c:pt>
                <c:pt idx="4094">
                  <c:v>8176.4731948380149</c:v>
                </c:pt>
                <c:pt idx="4095">
                  <c:v>8166.1771730816945</c:v>
                </c:pt>
                <c:pt idx="4096">
                  <c:v>8243.3596590746474</c:v>
                </c:pt>
                <c:pt idx="4097">
                  <c:v>8184.4414884583721</c:v>
                </c:pt>
                <c:pt idx="4098">
                  <c:v>8175.3697672952076</c:v>
                </c:pt>
                <c:pt idx="4099">
                  <c:v>8144.0392178095944</c:v>
                </c:pt>
                <c:pt idx="4100">
                  <c:v>7945.2018364825162</c:v>
                </c:pt>
                <c:pt idx="4101">
                  <c:v>8037.3675792096528</c:v>
                </c:pt>
                <c:pt idx="4102">
                  <c:v>7916.0300624914653</c:v>
                </c:pt>
                <c:pt idx="4103">
                  <c:v>7560.164492709655</c:v>
                </c:pt>
                <c:pt idx="4104">
                  <c:v>7244.2787697047988</c:v>
                </c:pt>
                <c:pt idx="4105">
                  <c:v>7049.6952989939709</c:v>
                </c:pt>
                <c:pt idx="4106">
                  <c:v>6886.7981249350396</c:v>
                </c:pt>
                <c:pt idx="4107">
                  <c:v>6951.1294785248483</c:v>
                </c:pt>
                <c:pt idx="4108">
                  <c:v>7150.5261541115169</c:v>
                </c:pt>
                <c:pt idx="4109">
                  <c:v>7842.0030273724678</c:v>
                </c:pt>
                <c:pt idx="4110">
                  <c:v>8502.7741479447486</c:v>
                </c:pt>
                <c:pt idx="4111">
                  <c:v>8863.6189853167289</c:v>
                </c:pt>
                <c:pt idx="4112">
                  <c:v>8969.3283091727881</c:v>
                </c:pt>
                <c:pt idx="4113">
                  <c:v>9112.7416458153584</c:v>
                </c:pt>
                <c:pt idx="4114">
                  <c:v>9255.1136394709611</c:v>
                </c:pt>
                <c:pt idx="4115">
                  <c:v>9226.302574335321</c:v>
                </c:pt>
                <c:pt idx="4116">
                  <c:v>9150.2686282415252</c:v>
                </c:pt>
                <c:pt idx="4117">
                  <c:v>9187.7598992781677</c:v>
                </c:pt>
                <c:pt idx="4118">
                  <c:v>9123.1558520941344</c:v>
                </c:pt>
                <c:pt idx="4119">
                  <c:v>8991.0326094430184</c:v>
                </c:pt>
                <c:pt idx="4120">
                  <c:v>8966.2379106846565</c:v>
                </c:pt>
                <c:pt idx="4121">
                  <c:v>8866.67085555214</c:v>
                </c:pt>
                <c:pt idx="4122">
                  <c:v>8668.3566805523114</c:v>
                </c:pt>
                <c:pt idx="4123">
                  <c:v>8733.5267729812767</c:v>
                </c:pt>
                <c:pt idx="4124">
                  <c:v>8549.5557442505924</c:v>
                </c:pt>
                <c:pt idx="4125">
                  <c:v>8568.2237986013206</c:v>
                </c:pt>
                <c:pt idx="4126">
                  <c:v>8311.0582808317504</c:v>
                </c:pt>
                <c:pt idx="4127">
                  <c:v>7898.089118113382</c:v>
                </c:pt>
                <c:pt idx="4128">
                  <c:v>7558.0066072190766</c:v>
                </c:pt>
                <c:pt idx="4129">
                  <c:v>7274.5462879428233</c:v>
                </c:pt>
                <c:pt idx="4130">
                  <c:v>7002.9215319641562</c:v>
                </c:pt>
                <c:pt idx="4131">
                  <c:v>6918.0094426149763</c:v>
                </c:pt>
                <c:pt idx="4132">
                  <c:v>7157.527538047264</c:v>
                </c:pt>
                <c:pt idx="4133">
                  <c:v>7853.4755077012733</c:v>
                </c:pt>
                <c:pt idx="4134">
                  <c:v>8361.3621003319186</c:v>
                </c:pt>
                <c:pt idx="4135">
                  <c:v>8662.8955355890648</c:v>
                </c:pt>
                <c:pt idx="4136">
                  <c:v>8901.2883203540478</c:v>
                </c:pt>
                <c:pt idx="4137">
                  <c:v>8920.619650269211</c:v>
                </c:pt>
                <c:pt idx="4138">
                  <c:v>9080.3329128117402</c:v>
                </c:pt>
                <c:pt idx="4139">
                  <c:v>9103.8264201270104</c:v>
                </c:pt>
                <c:pt idx="4140">
                  <c:v>9038.460731383695</c:v>
                </c:pt>
                <c:pt idx="4141">
                  <c:v>8969.2128906743055</c:v>
                </c:pt>
                <c:pt idx="4142">
                  <c:v>8880.2711354674648</c:v>
                </c:pt>
                <c:pt idx="4143">
                  <c:v>8853.8547108740495</c:v>
                </c:pt>
                <c:pt idx="4144">
                  <c:v>8807.1093723460726</c:v>
                </c:pt>
                <c:pt idx="4145">
                  <c:v>8702.4702718041863</c:v>
                </c:pt>
                <c:pt idx="4146">
                  <c:v>8647.7002904624296</c:v>
                </c:pt>
                <c:pt idx="4147">
                  <c:v>8554.6528513429803</c:v>
                </c:pt>
                <c:pt idx="4148">
                  <c:v>8284.0566151730291</c:v>
                </c:pt>
                <c:pt idx="4149">
                  <c:v>8268.6620410083669</c:v>
                </c:pt>
                <c:pt idx="4150">
                  <c:v>8080.5358328498105</c:v>
                </c:pt>
                <c:pt idx="4151">
                  <c:v>7696.7697341648163</c:v>
                </c:pt>
                <c:pt idx="4152">
                  <c:v>7339.309119321324</c:v>
                </c:pt>
                <c:pt idx="4153">
                  <c:v>7146.2894234258447</c:v>
                </c:pt>
                <c:pt idx="4154">
                  <c:v>7042.3195923754274</c:v>
                </c:pt>
                <c:pt idx="4155">
                  <c:v>7039.2934253550666</c:v>
                </c:pt>
                <c:pt idx="4156">
                  <c:v>7194.4490170266763</c:v>
                </c:pt>
                <c:pt idx="4157">
                  <c:v>7862.4212231705378</c:v>
                </c:pt>
                <c:pt idx="4158">
                  <c:v>8402.3441755490621</c:v>
                </c:pt>
                <c:pt idx="4159">
                  <c:v>8714.2574961429782</c:v>
                </c:pt>
                <c:pt idx="4160">
                  <c:v>8941.6084215183946</c:v>
                </c:pt>
                <c:pt idx="4161">
                  <c:v>8996.248997616276</c:v>
                </c:pt>
                <c:pt idx="4162">
                  <c:v>9069.1985598345327</c:v>
                </c:pt>
                <c:pt idx="4163">
                  <c:v>9141.6115391934945</c:v>
                </c:pt>
                <c:pt idx="4164">
                  <c:v>9077.3976558512622</c:v>
                </c:pt>
                <c:pt idx="4165">
                  <c:v>8902.6484140537359</c:v>
                </c:pt>
                <c:pt idx="4166">
                  <c:v>8782.2279361417623</c:v>
                </c:pt>
                <c:pt idx="4167">
                  <c:v>8761.4597612690468</c:v>
                </c:pt>
                <c:pt idx="4168">
                  <c:v>8714.4868410602194</c:v>
                </c:pt>
                <c:pt idx="4169">
                  <c:v>8610.042191416067</c:v>
                </c:pt>
                <c:pt idx="4170">
                  <c:v>8598.044040770128</c:v>
                </c:pt>
                <c:pt idx="4171">
                  <c:v>8545.2942649497054</c:v>
                </c:pt>
                <c:pt idx="4172">
                  <c:v>8203.189557740825</c:v>
                </c:pt>
                <c:pt idx="4173">
                  <c:v>8205.4040154052236</c:v>
                </c:pt>
                <c:pt idx="4174">
                  <c:v>8055.3743474632665</c:v>
                </c:pt>
                <c:pt idx="4175">
                  <c:v>7572.9973013930648</c:v>
                </c:pt>
                <c:pt idx="4176">
                  <c:v>7271.0263841986198</c:v>
                </c:pt>
                <c:pt idx="4177">
                  <c:v>7046.3972242657928</c:v>
                </c:pt>
                <c:pt idx="4178">
                  <c:v>6892.2707902537522</c:v>
                </c:pt>
                <c:pt idx="4179">
                  <c:v>6834.5866294515508</c:v>
                </c:pt>
                <c:pt idx="4180">
                  <c:v>7058.8466116746786</c:v>
                </c:pt>
                <c:pt idx="4181">
                  <c:v>7585.0165992426428</c:v>
                </c:pt>
                <c:pt idx="4182">
                  <c:v>8082.4891450174982</c:v>
                </c:pt>
                <c:pt idx="4183">
                  <c:v>8344.7951354370634</c:v>
                </c:pt>
                <c:pt idx="4184">
                  <c:v>8502.2974937883373</c:v>
                </c:pt>
                <c:pt idx="4185">
                  <c:v>8566.1106251593919</c:v>
                </c:pt>
                <c:pt idx="4186">
                  <c:v>8562.0351302022809</c:v>
                </c:pt>
                <c:pt idx="4187">
                  <c:v>8610.822054690796</c:v>
                </c:pt>
                <c:pt idx="4188">
                  <c:v>8530.5751001316276</c:v>
                </c:pt>
                <c:pt idx="4189">
                  <c:v>8439.665147944861</c:v>
                </c:pt>
                <c:pt idx="4190">
                  <c:v>8403.5457271488922</c:v>
                </c:pt>
                <c:pt idx="4191">
                  <c:v>8369.0574187526909</c:v>
                </c:pt>
                <c:pt idx="4192">
                  <c:v>8278.772665344115</c:v>
                </c:pt>
                <c:pt idx="4193">
                  <c:v>8225.6575367125133</c:v>
                </c:pt>
                <c:pt idx="4194">
                  <c:v>8219.900115927443</c:v>
                </c:pt>
                <c:pt idx="4195">
                  <c:v>8136.3844422149077</c:v>
                </c:pt>
                <c:pt idx="4196">
                  <c:v>7820.3906385686805</c:v>
                </c:pt>
                <c:pt idx="4197">
                  <c:v>7849.3153559621642</c:v>
                </c:pt>
                <c:pt idx="4198">
                  <c:v>7705.0320387412285</c:v>
                </c:pt>
                <c:pt idx="4199">
                  <c:v>7329.6508192360352</c:v>
                </c:pt>
                <c:pt idx="4200">
                  <c:v>6981.9732842746625</c:v>
                </c:pt>
                <c:pt idx="4201">
                  <c:v>6747.4651731211907</c:v>
                </c:pt>
                <c:pt idx="4202">
                  <c:v>6614.4006816087103</c:v>
                </c:pt>
                <c:pt idx="4203">
                  <c:v>6510.3795648840896</c:v>
                </c:pt>
                <c:pt idx="4204">
                  <c:v>6610.1781899268872</c:v>
                </c:pt>
                <c:pt idx="4205">
                  <c:v>6837.7862504714349</c:v>
                </c:pt>
                <c:pt idx="4206">
                  <c:v>7105.217123598577</c:v>
                </c:pt>
                <c:pt idx="4207">
                  <c:v>7363.6390086160645</c:v>
                </c:pt>
                <c:pt idx="4208">
                  <c:v>7619.9503083785066</c:v>
                </c:pt>
                <c:pt idx="4209">
                  <c:v>7694.7464034632003</c:v>
                </c:pt>
                <c:pt idx="4210">
                  <c:v>7818.4962534016831</c:v>
                </c:pt>
                <c:pt idx="4211">
                  <c:v>7833.7296857719175</c:v>
                </c:pt>
                <c:pt idx="4212">
                  <c:v>7827.95664395517</c:v>
                </c:pt>
                <c:pt idx="4213">
                  <c:v>7842.5658553336416</c:v>
                </c:pt>
                <c:pt idx="4214">
                  <c:v>7911.327671773367</c:v>
                </c:pt>
                <c:pt idx="4215">
                  <c:v>7932.0698835541934</c:v>
                </c:pt>
                <c:pt idx="4216">
                  <c:v>7868.7936761424335</c:v>
                </c:pt>
                <c:pt idx="4217">
                  <c:v>7831.1275101719384</c:v>
                </c:pt>
                <c:pt idx="4218">
                  <c:v>7769.3706242633452</c:v>
                </c:pt>
                <c:pt idx="4219">
                  <c:v>7632.3753565743336</c:v>
                </c:pt>
                <c:pt idx="4220">
                  <c:v>7431.7182628060291</c:v>
                </c:pt>
                <c:pt idx="4221">
                  <c:v>7552.4400031855839</c:v>
                </c:pt>
                <c:pt idx="4222">
                  <c:v>7503.8599408752225</c:v>
                </c:pt>
                <c:pt idx="4223">
                  <c:v>7218.3926632257071</c:v>
                </c:pt>
                <c:pt idx="4224">
                  <c:v>6919.2676553751753</c:v>
                </c:pt>
                <c:pt idx="4225">
                  <c:v>6696.4439910736191</c:v>
                </c:pt>
                <c:pt idx="4226">
                  <c:v>6528.3564275619592</c:v>
                </c:pt>
                <c:pt idx="4227">
                  <c:v>6444.7611420617841</c:v>
                </c:pt>
                <c:pt idx="4228">
                  <c:v>6392.9480036859813</c:v>
                </c:pt>
                <c:pt idx="4229">
                  <c:v>6490.6403635564538</c:v>
                </c:pt>
                <c:pt idx="4230">
                  <c:v>6678.3071592818887</c:v>
                </c:pt>
                <c:pt idx="4231">
                  <c:v>6872.2335403188163</c:v>
                </c:pt>
                <c:pt idx="4232">
                  <c:v>7143.6322083265331</c:v>
                </c:pt>
                <c:pt idx="4233">
                  <c:v>7317.2942465185715</c:v>
                </c:pt>
                <c:pt idx="4234">
                  <c:v>7463.7034121694896</c:v>
                </c:pt>
                <c:pt idx="4235">
                  <c:v>7529.8086763601332</c:v>
                </c:pt>
                <c:pt idx="4236">
                  <c:v>7516.8780114871543</c:v>
                </c:pt>
                <c:pt idx="4237">
                  <c:v>7548.0634801916958</c:v>
                </c:pt>
                <c:pt idx="4238">
                  <c:v>7587.4846628110499</c:v>
                </c:pt>
                <c:pt idx="4239">
                  <c:v>7633.7277243551544</c:v>
                </c:pt>
                <c:pt idx="4240">
                  <c:v>7637.6084140120774</c:v>
                </c:pt>
                <c:pt idx="4241">
                  <c:v>7637.2286958366849</c:v>
                </c:pt>
                <c:pt idx="4242">
                  <c:v>7639.0579608197349</c:v>
                </c:pt>
                <c:pt idx="4243">
                  <c:v>7509.3733941075352</c:v>
                </c:pt>
                <c:pt idx="4244">
                  <c:v>7342.6913844663159</c:v>
                </c:pt>
                <c:pt idx="4245">
                  <c:v>7431.2376757443963</c:v>
                </c:pt>
                <c:pt idx="4246">
                  <c:v>7275.7384786809644</c:v>
                </c:pt>
                <c:pt idx="4247">
                  <c:v>7079.3537349816625</c:v>
                </c:pt>
                <c:pt idx="4248">
                  <c:v>6752.45101443967</c:v>
                </c:pt>
                <c:pt idx="4249">
                  <c:v>6594.7847212697689</c:v>
                </c:pt>
                <c:pt idx="4250">
                  <c:v>6422.8965674483079</c:v>
                </c:pt>
                <c:pt idx="4251">
                  <c:v>6360.0150464884427</c:v>
                </c:pt>
                <c:pt idx="4252">
                  <c:v>6392.1410707038349</c:v>
                </c:pt>
                <c:pt idx="4253">
                  <c:v>6497.2293657578284</c:v>
                </c:pt>
                <c:pt idx="4254">
                  <c:v>6621.6190279842194</c:v>
                </c:pt>
                <c:pt idx="4255">
                  <c:v>6850.5797740898888</c:v>
                </c:pt>
                <c:pt idx="4256">
                  <c:v>7102.7455974868471</c:v>
                </c:pt>
                <c:pt idx="4257">
                  <c:v>7295.721180411002</c:v>
                </c:pt>
                <c:pt idx="4258">
                  <c:v>7393.3506165430472</c:v>
                </c:pt>
                <c:pt idx="4259">
                  <c:v>7506.320469903706</c:v>
                </c:pt>
                <c:pt idx="4260">
                  <c:v>7479.1717167782481</c:v>
                </c:pt>
                <c:pt idx="4261">
                  <c:v>7547.5022040279327</c:v>
                </c:pt>
                <c:pt idx="4262">
                  <c:v>7567.3568137884167</c:v>
                </c:pt>
                <c:pt idx="4263">
                  <c:v>7644.377927245152</c:v>
                </c:pt>
                <c:pt idx="4264">
                  <c:v>7700.7120374094438</c:v>
                </c:pt>
                <c:pt idx="4265">
                  <c:v>7698.2435268411227</c:v>
                </c:pt>
                <c:pt idx="4266">
                  <c:v>7762.8078914253492</c:v>
                </c:pt>
                <c:pt idx="4267">
                  <c:v>7755.0133839074897</c:v>
                </c:pt>
                <c:pt idx="4268">
                  <c:v>7614.2306613905394</c:v>
                </c:pt>
                <c:pt idx="4269">
                  <c:v>7727.892205136116</c:v>
                </c:pt>
                <c:pt idx="4270">
                  <c:v>7616.6318851930482</c:v>
                </c:pt>
                <c:pt idx="4271">
                  <c:v>7291.3713389370141</c:v>
                </c:pt>
                <c:pt idx="4272">
                  <c:v>6943.9743030152604</c:v>
                </c:pt>
                <c:pt idx="4273">
                  <c:v>6766.7743758621327</c:v>
                </c:pt>
                <c:pt idx="4274">
                  <c:v>6608.936252256708</c:v>
                </c:pt>
                <c:pt idx="4275">
                  <c:v>6614.3654352439153</c:v>
                </c:pt>
                <c:pt idx="4276">
                  <c:v>6844.8500728510635</c:v>
                </c:pt>
                <c:pt idx="4277">
                  <c:v>7520.3912936887982</c:v>
                </c:pt>
                <c:pt idx="4278">
                  <c:v>7932.8590856939272</c:v>
                </c:pt>
                <c:pt idx="4279">
                  <c:v>8325.5002599841027</c:v>
                </c:pt>
                <c:pt idx="4280">
                  <c:v>8504.2816921581161</c:v>
                </c:pt>
                <c:pt idx="4281">
                  <c:v>8603.4292988172947</c:v>
                </c:pt>
                <c:pt idx="4282">
                  <c:v>8664.0822406715888</c:v>
                </c:pt>
                <c:pt idx="4283">
                  <c:v>8669.1507853533094</c:v>
                </c:pt>
                <c:pt idx="4284">
                  <c:v>8685.3814148407073</c:v>
                </c:pt>
                <c:pt idx="4285">
                  <c:v>8679.5835956656938</c:v>
                </c:pt>
                <c:pt idx="4286">
                  <c:v>8627.912767028296</c:v>
                </c:pt>
                <c:pt idx="4287">
                  <c:v>8612.25899838646</c:v>
                </c:pt>
                <c:pt idx="4288">
                  <c:v>8537.6988262614541</c:v>
                </c:pt>
                <c:pt idx="4289">
                  <c:v>8448.1463114780327</c:v>
                </c:pt>
                <c:pt idx="4290">
                  <c:v>8453.4051596121008</c:v>
                </c:pt>
                <c:pt idx="4291">
                  <c:v>8383.0547312951185</c:v>
                </c:pt>
                <c:pt idx="4292">
                  <c:v>8004.6193255532526</c:v>
                </c:pt>
                <c:pt idx="4293">
                  <c:v>7984.2859273361792</c:v>
                </c:pt>
                <c:pt idx="4294">
                  <c:v>7859.8507395338793</c:v>
                </c:pt>
                <c:pt idx="4295">
                  <c:v>7565.0304916629921</c:v>
                </c:pt>
                <c:pt idx="4296">
                  <c:v>7223.3585506039299</c:v>
                </c:pt>
                <c:pt idx="4297">
                  <c:v>7020.6475272981879</c:v>
                </c:pt>
                <c:pt idx="4298">
                  <c:v>6771.7570138862284</c:v>
                </c:pt>
                <c:pt idx="4299">
                  <c:v>6756.291122734694</c:v>
                </c:pt>
                <c:pt idx="4300">
                  <c:v>7032.1317675779419</c:v>
                </c:pt>
                <c:pt idx="4301">
                  <c:v>7632.5291776864033</c:v>
                </c:pt>
                <c:pt idx="4302">
                  <c:v>8080.1327840063896</c:v>
                </c:pt>
                <c:pt idx="4303">
                  <c:v>8354.3174896034525</c:v>
                </c:pt>
                <c:pt idx="4304">
                  <c:v>8499.5319993354005</c:v>
                </c:pt>
                <c:pt idx="4305">
                  <c:v>8572.5729970429584</c:v>
                </c:pt>
                <c:pt idx="4306">
                  <c:v>8713.0549148437622</c:v>
                </c:pt>
                <c:pt idx="4307">
                  <c:v>8780.5010635447979</c:v>
                </c:pt>
                <c:pt idx="4308">
                  <c:v>8800.595685245089</c:v>
                </c:pt>
                <c:pt idx="4309">
                  <c:v>8763.3946888657701</c:v>
                </c:pt>
                <c:pt idx="4310">
                  <c:v>8721.4364588202825</c:v>
                </c:pt>
                <c:pt idx="4311">
                  <c:v>8663.034511189242</c:v>
                </c:pt>
                <c:pt idx="4312">
                  <c:v>8749.9821779721642</c:v>
                </c:pt>
                <c:pt idx="4313">
                  <c:v>8673.9481787143504</c:v>
                </c:pt>
                <c:pt idx="4314">
                  <c:v>8673.5141872359891</c:v>
                </c:pt>
                <c:pt idx="4315">
                  <c:v>8489.3232747076854</c:v>
                </c:pt>
                <c:pt idx="4316">
                  <c:v>8275.0572751760992</c:v>
                </c:pt>
                <c:pt idx="4317">
                  <c:v>8257.6574347739006</c:v>
                </c:pt>
                <c:pt idx="4318">
                  <c:v>8076.2066279600522</c:v>
                </c:pt>
                <c:pt idx="4319">
                  <c:v>7743.0865380015612</c:v>
                </c:pt>
                <c:pt idx="4320">
                  <c:v>7345.1518841892848</c:v>
                </c:pt>
                <c:pt idx="4321">
                  <c:v>7152.66238235737</c:v>
                </c:pt>
                <c:pt idx="4322">
                  <c:v>6986.5235327011524</c:v>
                </c:pt>
                <c:pt idx="4323">
                  <c:v>6917.4945037805282</c:v>
                </c:pt>
                <c:pt idx="4324">
                  <c:v>7059.7268478890119</c:v>
                </c:pt>
                <c:pt idx="4325">
                  <c:v>7729.0242336786705</c:v>
                </c:pt>
                <c:pt idx="4326">
                  <c:v>8255.3528371674292</c:v>
                </c:pt>
                <c:pt idx="4327">
                  <c:v>8490.2908974146394</c:v>
                </c:pt>
                <c:pt idx="4328">
                  <c:v>8733.5000401415909</c:v>
                </c:pt>
                <c:pt idx="4329">
                  <c:v>8754.9448070379713</c:v>
                </c:pt>
                <c:pt idx="4330">
                  <c:v>8714.7171343696173</c:v>
                </c:pt>
                <c:pt idx="4331">
                  <c:v>8676.264292249236</c:v>
                </c:pt>
                <c:pt idx="4332">
                  <c:v>8591.519259421897</c:v>
                </c:pt>
                <c:pt idx="4333">
                  <c:v>8680.6062768485026</c:v>
                </c:pt>
                <c:pt idx="4334">
                  <c:v>8823.130503776174</c:v>
                </c:pt>
                <c:pt idx="4335">
                  <c:v>8829.0885166213702</c:v>
                </c:pt>
                <c:pt idx="4336">
                  <c:v>8777.5651925849343</c:v>
                </c:pt>
                <c:pt idx="4337">
                  <c:v>8729.3526568970647</c:v>
                </c:pt>
                <c:pt idx="4338">
                  <c:v>8737.9184997195534</c:v>
                </c:pt>
                <c:pt idx="4339">
                  <c:v>8618.4415193094628</c:v>
                </c:pt>
                <c:pt idx="4340">
                  <c:v>8340.4179905103956</c:v>
                </c:pt>
                <c:pt idx="4341">
                  <c:v>8416.5684387225501</c:v>
                </c:pt>
                <c:pt idx="4342">
                  <c:v>8187.0506413738431</c:v>
                </c:pt>
                <c:pt idx="4343">
                  <c:v>7808.2739452316655</c:v>
                </c:pt>
                <c:pt idx="4344">
                  <c:v>7432.1449608678149</c:v>
                </c:pt>
                <c:pt idx="4345">
                  <c:v>7160.3703734502551</c:v>
                </c:pt>
                <c:pt idx="4346">
                  <c:v>7022.8607122168141</c:v>
                </c:pt>
                <c:pt idx="4347">
                  <c:v>6932.2656896160961</c:v>
                </c:pt>
                <c:pt idx="4348">
                  <c:v>7087.1378378387144</c:v>
                </c:pt>
                <c:pt idx="4349">
                  <c:v>7692.9656414332685</c:v>
                </c:pt>
                <c:pt idx="4350">
                  <c:v>8106.5720507646347</c:v>
                </c:pt>
                <c:pt idx="4351">
                  <c:v>8308.5496213410279</c:v>
                </c:pt>
                <c:pt idx="4352">
                  <c:v>8486.6044992894113</c:v>
                </c:pt>
                <c:pt idx="4353">
                  <c:v>8648.9631169488275</c:v>
                </c:pt>
                <c:pt idx="4354">
                  <c:v>8826.4948641924711</c:v>
                </c:pt>
                <c:pt idx="4355">
                  <c:v>8855.7997921666556</c:v>
                </c:pt>
                <c:pt idx="4356">
                  <c:v>8784.202882292524</c:v>
                </c:pt>
                <c:pt idx="4357">
                  <c:v>8764.4306880684435</c:v>
                </c:pt>
                <c:pt idx="4358">
                  <c:v>8730.727870157074</c:v>
                </c:pt>
                <c:pt idx="4359">
                  <c:v>8711.1788033861067</c:v>
                </c:pt>
                <c:pt idx="4360">
                  <c:v>8742.7894323843011</c:v>
                </c:pt>
                <c:pt idx="4361">
                  <c:v>8666.3909943748222</c:v>
                </c:pt>
                <c:pt idx="4362">
                  <c:v>8665.5513216900126</c:v>
                </c:pt>
                <c:pt idx="4363">
                  <c:v>8632.1801394406539</c:v>
                </c:pt>
                <c:pt idx="4364">
                  <c:v>8406.9520624684337</c:v>
                </c:pt>
                <c:pt idx="4365">
                  <c:v>8450.3485646445079</c:v>
                </c:pt>
                <c:pt idx="4366">
                  <c:v>8247.4135072059635</c:v>
                </c:pt>
                <c:pt idx="4367">
                  <c:v>7886.563726105659</c:v>
                </c:pt>
                <c:pt idx="4368">
                  <c:v>7558.5662187534217</c:v>
                </c:pt>
                <c:pt idx="4369">
                  <c:v>7411.9395185206758</c:v>
                </c:pt>
                <c:pt idx="4370">
                  <c:v>7281.3153008121853</c:v>
                </c:pt>
                <c:pt idx="4371">
                  <c:v>7243.2565543288529</c:v>
                </c:pt>
                <c:pt idx="4372">
                  <c:v>7442.0068221791498</c:v>
                </c:pt>
                <c:pt idx="4373">
                  <c:v>8016.5360003626492</c:v>
                </c:pt>
                <c:pt idx="4374">
                  <c:v>8420.6000352966512</c:v>
                </c:pt>
                <c:pt idx="4375">
                  <c:v>8720.0352214285285</c:v>
                </c:pt>
                <c:pt idx="4376">
                  <c:v>8984.5427884085238</c:v>
                </c:pt>
                <c:pt idx="4377">
                  <c:v>9044.564072042831</c:v>
                </c:pt>
                <c:pt idx="4378">
                  <c:v>9114.8377870879667</c:v>
                </c:pt>
                <c:pt idx="4379">
                  <c:v>9107.7620745304102</c:v>
                </c:pt>
                <c:pt idx="4380">
                  <c:v>8997.149951983778</c:v>
                </c:pt>
                <c:pt idx="4381">
                  <c:v>8966.2893627371323</c:v>
                </c:pt>
                <c:pt idx="4382">
                  <c:v>8908.6403890646197</c:v>
                </c:pt>
                <c:pt idx="4383">
                  <c:v>8795.8553510564197</c:v>
                </c:pt>
                <c:pt idx="4384">
                  <c:v>8702.3149844884847</c:v>
                </c:pt>
                <c:pt idx="4385">
                  <c:v>8598.7531390352779</c:v>
                </c:pt>
                <c:pt idx="4386">
                  <c:v>8558.5325160736793</c:v>
                </c:pt>
                <c:pt idx="4387">
                  <c:v>8431.7822722421333</c:v>
                </c:pt>
                <c:pt idx="4388">
                  <c:v>8181.2754075107387</c:v>
                </c:pt>
                <c:pt idx="4389">
                  <c:v>8236.1848870808717</c:v>
                </c:pt>
                <c:pt idx="4390">
                  <c:v>8136.8082213156067</c:v>
                </c:pt>
                <c:pt idx="4391">
                  <c:v>7747.8568578861614</c:v>
                </c:pt>
                <c:pt idx="4392">
                  <c:v>7371.7359030372027</c:v>
                </c:pt>
                <c:pt idx="4393">
                  <c:v>7080.0269270449116</c:v>
                </c:pt>
                <c:pt idx="4394">
                  <c:v>7033.5200954297625</c:v>
                </c:pt>
                <c:pt idx="4395">
                  <c:v>6970.689021640349</c:v>
                </c:pt>
                <c:pt idx="4396">
                  <c:v>7010.1729086097503</c:v>
                </c:pt>
                <c:pt idx="4397">
                  <c:v>7274.0929383221383</c:v>
                </c:pt>
                <c:pt idx="4398">
                  <c:v>7526.815082130237</c:v>
                </c:pt>
                <c:pt idx="4399">
                  <c:v>7781.1871487662083</c:v>
                </c:pt>
                <c:pt idx="4400">
                  <c:v>8037.0048147460739</c:v>
                </c:pt>
                <c:pt idx="4401">
                  <c:v>8256.4228596885478</c:v>
                </c:pt>
                <c:pt idx="4402">
                  <c:v>8292.274072911554</c:v>
                </c:pt>
                <c:pt idx="4403">
                  <c:v>8300.2308341100052</c:v>
                </c:pt>
                <c:pt idx="4404">
                  <c:v>8325.8545450158363</c:v>
                </c:pt>
                <c:pt idx="4405">
                  <c:v>8300.0905451551971</c:v>
                </c:pt>
                <c:pt idx="4406">
                  <c:v>8306.0835773262206</c:v>
                </c:pt>
                <c:pt idx="4407">
                  <c:v>8326.081616685191</c:v>
                </c:pt>
                <c:pt idx="4408">
                  <c:v>8349.1432658165686</c:v>
                </c:pt>
                <c:pt idx="4409">
                  <c:v>8354.8631062585555</c:v>
                </c:pt>
                <c:pt idx="4410">
                  <c:v>8353.0421695637397</c:v>
                </c:pt>
                <c:pt idx="4411">
                  <c:v>8298.9911799960209</c:v>
                </c:pt>
                <c:pt idx="4412">
                  <c:v>8131.6125814447487</c:v>
                </c:pt>
                <c:pt idx="4413">
                  <c:v>8200.3138332020571</c:v>
                </c:pt>
                <c:pt idx="4414">
                  <c:v>8085.2217174265434</c:v>
                </c:pt>
                <c:pt idx="4415">
                  <c:v>7739.6091990969899</c:v>
                </c:pt>
                <c:pt idx="4416">
                  <c:v>7390.0657924299076</c:v>
                </c:pt>
                <c:pt idx="4417">
                  <c:v>7196.8391821901132</c:v>
                </c:pt>
                <c:pt idx="4418">
                  <c:v>7031.0854460851651</c:v>
                </c:pt>
                <c:pt idx="4419">
                  <c:v>6908.8890558496369</c:v>
                </c:pt>
                <c:pt idx="4420">
                  <c:v>6935.165577913489</c:v>
                </c:pt>
                <c:pt idx="4421">
                  <c:v>7095.3944543821208</c:v>
                </c:pt>
                <c:pt idx="4422">
                  <c:v>7267.4067946943433</c:v>
                </c:pt>
                <c:pt idx="4423">
                  <c:v>7517.6694609072774</c:v>
                </c:pt>
                <c:pt idx="4424">
                  <c:v>7788.9821437715173</c:v>
                </c:pt>
                <c:pt idx="4425">
                  <c:v>8013.531469484441</c:v>
                </c:pt>
                <c:pt idx="4426">
                  <c:v>8184.2821248805158</c:v>
                </c:pt>
                <c:pt idx="4427">
                  <c:v>8239.596082729684</c:v>
                </c:pt>
                <c:pt idx="4428">
                  <c:v>8214.6918178743435</c:v>
                </c:pt>
                <c:pt idx="4429">
                  <c:v>8158.6458716828583</c:v>
                </c:pt>
                <c:pt idx="4430">
                  <c:v>8217.8535272810659</c:v>
                </c:pt>
                <c:pt idx="4431">
                  <c:v>8246.6509323768787</c:v>
                </c:pt>
                <c:pt idx="4432">
                  <c:v>8235.2352914652856</c:v>
                </c:pt>
                <c:pt idx="4433">
                  <c:v>8224.1202574043728</c:v>
                </c:pt>
                <c:pt idx="4434">
                  <c:v>8272.4751769157319</c:v>
                </c:pt>
                <c:pt idx="4435">
                  <c:v>8231.1307477589999</c:v>
                </c:pt>
                <c:pt idx="4436">
                  <c:v>8065.7680442772798</c:v>
                </c:pt>
                <c:pt idx="4437">
                  <c:v>8220.2286276587311</c:v>
                </c:pt>
                <c:pt idx="4438">
                  <c:v>8137.0402461971335</c:v>
                </c:pt>
                <c:pt idx="4439">
                  <c:v>7811.0787229141797</c:v>
                </c:pt>
                <c:pt idx="4440">
                  <c:v>7502.0327585522591</c:v>
                </c:pt>
                <c:pt idx="4441">
                  <c:v>7360.1306128063361</c:v>
                </c:pt>
                <c:pt idx="4442">
                  <c:v>7222.5208450684549</c:v>
                </c:pt>
                <c:pt idx="4443">
                  <c:v>7200.607870136595</c:v>
                </c:pt>
                <c:pt idx="4444">
                  <c:v>7412.1507919573305</c:v>
                </c:pt>
                <c:pt idx="4445">
                  <c:v>7992.9105304565701</c:v>
                </c:pt>
                <c:pt idx="4446">
                  <c:v>8448.2009668669343</c:v>
                </c:pt>
                <c:pt idx="4447">
                  <c:v>8800.4106681215526</c:v>
                </c:pt>
                <c:pt idx="4448">
                  <c:v>8979.525675762945</c:v>
                </c:pt>
                <c:pt idx="4449">
                  <c:v>9114.4435462080637</c:v>
                </c:pt>
                <c:pt idx="4450">
                  <c:v>9149.9329092898861</c:v>
                </c:pt>
                <c:pt idx="4451">
                  <c:v>9295.5406128000923</c:v>
                </c:pt>
                <c:pt idx="4452">
                  <c:v>9281.7153353208832</c:v>
                </c:pt>
                <c:pt idx="4453">
                  <c:v>9233.1058579512173</c:v>
                </c:pt>
                <c:pt idx="4454">
                  <c:v>9160.4500943874227</c:v>
                </c:pt>
                <c:pt idx="4455">
                  <c:v>9081.3615929130174</c:v>
                </c:pt>
                <c:pt idx="4456">
                  <c:v>9038.5562218049454</c:v>
                </c:pt>
                <c:pt idx="4457">
                  <c:v>8909.6890359272802</c:v>
                </c:pt>
                <c:pt idx="4458">
                  <c:v>8920.4406259847601</c:v>
                </c:pt>
                <c:pt idx="4459">
                  <c:v>8778.9082386261543</c:v>
                </c:pt>
                <c:pt idx="4460">
                  <c:v>8564.2525781443437</c:v>
                </c:pt>
                <c:pt idx="4461">
                  <c:v>8575.4202934539626</c:v>
                </c:pt>
                <c:pt idx="4462">
                  <c:v>8357.1082026958666</c:v>
                </c:pt>
                <c:pt idx="4463">
                  <c:v>7892.2005147631371</c:v>
                </c:pt>
                <c:pt idx="4464">
                  <c:v>7627.5311046175993</c:v>
                </c:pt>
                <c:pt idx="4465">
                  <c:v>7470.1893405518585</c:v>
                </c:pt>
                <c:pt idx="4466">
                  <c:v>7412.2146836813608</c:v>
                </c:pt>
                <c:pt idx="4467">
                  <c:v>7312.4549087579135</c:v>
                </c:pt>
                <c:pt idx="4468">
                  <c:v>7457.5796800445678</c:v>
                </c:pt>
                <c:pt idx="4469">
                  <c:v>8053.3565645856343</c:v>
                </c:pt>
                <c:pt idx="4470">
                  <c:v>8465.5475024891075</c:v>
                </c:pt>
                <c:pt idx="4471">
                  <c:v>8724.5791899907617</c:v>
                </c:pt>
                <c:pt idx="4472">
                  <c:v>8919.2116159403467</c:v>
                </c:pt>
                <c:pt idx="4473">
                  <c:v>9029.3545650329797</c:v>
                </c:pt>
                <c:pt idx="4474">
                  <c:v>9102.3050637590204</c:v>
                </c:pt>
                <c:pt idx="4475">
                  <c:v>9120.1737202545792</c:v>
                </c:pt>
                <c:pt idx="4476">
                  <c:v>9029.3118390342279</c:v>
                </c:pt>
                <c:pt idx="4477">
                  <c:v>9018.4734311020238</c:v>
                </c:pt>
                <c:pt idx="4478">
                  <c:v>9003.300096531646</c:v>
                </c:pt>
                <c:pt idx="4479">
                  <c:v>8898.4121450955463</c:v>
                </c:pt>
                <c:pt idx="4480">
                  <c:v>8918.3731404914433</c:v>
                </c:pt>
                <c:pt idx="4481">
                  <c:v>8806.116621706642</c:v>
                </c:pt>
                <c:pt idx="4482">
                  <c:v>8829.6477068235163</c:v>
                </c:pt>
                <c:pt idx="4483">
                  <c:v>8770.5872662258225</c:v>
                </c:pt>
                <c:pt idx="4484">
                  <c:v>8467.3865942340435</c:v>
                </c:pt>
                <c:pt idx="4485">
                  <c:v>8579.584435304947</c:v>
                </c:pt>
                <c:pt idx="4486">
                  <c:v>8424.4971009079582</c:v>
                </c:pt>
                <c:pt idx="4487">
                  <c:v>7987.7842993126442</c:v>
                </c:pt>
                <c:pt idx="4488">
                  <c:v>7668.508723995983</c:v>
                </c:pt>
                <c:pt idx="4489">
                  <c:v>7469.6057032642229</c:v>
                </c:pt>
                <c:pt idx="4490">
                  <c:v>7334.8101657636089</c:v>
                </c:pt>
                <c:pt idx="4491">
                  <c:v>7233.4151032596983</c:v>
                </c:pt>
                <c:pt idx="4492">
                  <c:v>7395.6211430656003</c:v>
                </c:pt>
                <c:pt idx="4493">
                  <c:v>7936.6636417743166</c:v>
                </c:pt>
                <c:pt idx="4494">
                  <c:v>8336.9012997498285</c:v>
                </c:pt>
                <c:pt idx="4495">
                  <c:v>8649.9733896541675</c:v>
                </c:pt>
                <c:pt idx="4496">
                  <c:v>8859.2048877158013</c:v>
                </c:pt>
                <c:pt idx="4497">
                  <c:v>8918.0176400157143</c:v>
                </c:pt>
                <c:pt idx="4498">
                  <c:v>8979.9225697184174</c:v>
                </c:pt>
                <c:pt idx="4499">
                  <c:v>8970.478159088234</c:v>
                </c:pt>
                <c:pt idx="4500">
                  <c:v>8929.442008651431</c:v>
                </c:pt>
                <c:pt idx="4501">
                  <c:v>8905.8406607119723</c:v>
                </c:pt>
                <c:pt idx="4502">
                  <c:v>8907.8747532276047</c:v>
                </c:pt>
                <c:pt idx="4503">
                  <c:v>8947.7198586729173</c:v>
                </c:pt>
                <c:pt idx="4504">
                  <c:v>9012.5667871382575</c:v>
                </c:pt>
                <c:pt idx="4505">
                  <c:v>8935.6192583850207</c:v>
                </c:pt>
                <c:pt idx="4506">
                  <c:v>8835.5292220812044</c:v>
                </c:pt>
                <c:pt idx="4507">
                  <c:v>8799.2644087539029</c:v>
                </c:pt>
                <c:pt idx="4508">
                  <c:v>8546.7507075487429</c:v>
                </c:pt>
                <c:pt idx="4509">
                  <c:v>8634.7035371767161</c:v>
                </c:pt>
                <c:pt idx="4510">
                  <c:v>8505.3300858929433</c:v>
                </c:pt>
                <c:pt idx="4511">
                  <c:v>8094.4075121099777</c:v>
                </c:pt>
                <c:pt idx="4512">
                  <c:v>7773.1633370014761</c:v>
                </c:pt>
                <c:pt idx="4513">
                  <c:v>7573.5797231458082</c:v>
                </c:pt>
                <c:pt idx="4514">
                  <c:v>7450.5194414846164</c:v>
                </c:pt>
                <c:pt idx="4515">
                  <c:v>7399.6159777544326</c:v>
                </c:pt>
                <c:pt idx="4516">
                  <c:v>7551.5331386172475</c:v>
                </c:pt>
                <c:pt idx="4517">
                  <c:v>8064.9286281868417</c:v>
                </c:pt>
                <c:pt idx="4518">
                  <c:v>8571.6205931362565</c:v>
                </c:pt>
                <c:pt idx="4519">
                  <c:v>8820.9457706628818</c:v>
                </c:pt>
                <c:pt idx="4520">
                  <c:v>8989.9910195310731</c:v>
                </c:pt>
                <c:pt idx="4521">
                  <c:v>9059.3808598297528</c:v>
                </c:pt>
                <c:pt idx="4522">
                  <c:v>9184.2228726479225</c:v>
                </c:pt>
                <c:pt idx="4523">
                  <c:v>9293.3161300241591</c:v>
                </c:pt>
                <c:pt idx="4524">
                  <c:v>9208.0946741523894</c:v>
                </c:pt>
                <c:pt idx="4525">
                  <c:v>9207.443714354964</c:v>
                </c:pt>
                <c:pt idx="4526">
                  <c:v>9169.1842151528344</c:v>
                </c:pt>
                <c:pt idx="4527">
                  <c:v>9082.1580345738876</c:v>
                </c:pt>
                <c:pt idx="4528">
                  <c:v>8996.7882223506695</c:v>
                </c:pt>
                <c:pt idx="4529">
                  <c:v>8836.9759014964347</c:v>
                </c:pt>
                <c:pt idx="4530">
                  <c:v>8857.9437207800729</c:v>
                </c:pt>
                <c:pt idx="4531">
                  <c:v>8750.4481197191872</c:v>
                </c:pt>
                <c:pt idx="4532">
                  <c:v>8486.9563019728612</c:v>
                </c:pt>
                <c:pt idx="4533">
                  <c:v>8498.1160642994255</c:v>
                </c:pt>
                <c:pt idx="4534">
                  <c:v>8287.7625216965043</c:v>
                </c:pt>
                <c:pt idx="4535">
                  <c:v>7890.8358636401072</c:v>
                </c:pt>
                <c:pt idx="4536">
                  <c:v>7525.5863534259479</c:v>
                </c:pt>
                <c:pt idx="4537">
                  <c:v>7388.5195973643122</c:v>
                </c:pt>
                <c:pt idx="4538">
                  <c:v>7232.1571963966953</c:v>
                </c:pt>
                <c:pt idx="4539">
                  <c:v>7143.7756661787971</c:v>
                </c:pt>
                <c:pt idx="4540">
                  <c:v>7361.5444292106231</c:v>
                </c:pt>
                <c:pt idx="4541">
                  <c:v>7796.2463516833968</c:v>
                </c:pt>
                <c:pt idx="4542">
                  <c:v>8171.8242480408453</c:v>
                </c:pt>
                <c:pt idx="4543">
                  <c:v>8463.1787531160608</c:v>
                </c:pt>
                <c:pt idx="4544">
                  <c:v>8736.6693029053531</c:v>
                </c:pt>
                <c:pt idx="4545">
                  <c:v>8811.8079310445592</c:v>
                </c:pt>
                <c:pt idx="4546">
                  <c:v>8918.0341597999795</c:v>
                </c:pt>
                <c:pt idx="4547">
                  <c:v>8981.4640499509333</c:v>
                </c:pt>
                <c:pt idx="4548">
                  <c:v>8947.6555158095289</c:v>
                </c:pt>
                <c:pt idx="4549">
                  <c:v>8919.441751147695</c:v>
                </c:pt>
                <c:pt idx="4550">
                  <c:v>8865.9793457561136</c:v>
                </c:pt>
                <c:pt idx="4551">
                  <c:v>8825.239494550382</c:v>
                </c:pt>
                <c:pt idx="4552">
                  <c:v>8820.3775831077037</c:v>
                </c:pt>
                <c:pt idx="4553">
                  <c:v>8715.9669415618355</c:v>
                </c:pt>
                <c:pt idx="4554">
                  <c:v>8732.137556211328</c:v>
                </c:pt>
                <c:pt idx="4555">
                  <c:v>8561.5828210429263</c:v>
                </c:pt>
                <c:pt idx="4556">
                  <c:v>8267.0329449884448</c:v>
                </c:pt>
                <c:pt idx="4557">
                  <c:v>8335.8306493602104</c:v>
                </c:pt>
                <c:pt idx="4558">
                  <c:v>8173.8182343726639</c:v>
                </c:pt>
                <c:pt idx="4559">
                  <c:v>7785.6332293147525</c:v>
                </c:pt>
                <c:pt idx="4560">
                  <c:v>7445.6442216034156</c:v>
                </c:pt>
                <c:pt idx="4561">
                  <c:v>7291.8449657113479</c:v>
                </c:pt>
                <c:pt idx="4562">
                  <c:v>7182.5456066126571</c:v>
                </c:pt>
                <c:pt idx="4563">
                  <c:v>7084.2960724235745</c:v>
                </c:pt>
                <c:pt idx="4564">
                  <c:v>7077.7599621950139</c:v>
                </c:pt>
                <c:pt idx="4565">
                  <c:v>7302.8953904640684</c:v>
                </c:pt>
                <c:pt idx="4566">
                  <c:v>7487.8597675993469</c:v>
                </c:pt>
                <c:pt idx="4567">
                  <c:v>7775.5611830200914</c:v>
                </c:pt>
                <c:pt idx="4568">
                  <c:v>8041.9527792872896</c:v>
                </c:pt>
                <c:pt idx="4569">
                  <c:v>8219.5346697375771</c:v>
                </c:pt>
                <c:pt idx="4570">
                  <c:v>8341.7311235630841</c:v>
                </c:pt>
                <c:pt idx="4571">
                  <c:v>8436.806719017648</c:v>
                </c:pt>
                <c:pt idx="4572">
                  <c:v>8427.8729484298583</c:v>
                </c:pt>
                <c:pt idx="4573">
                  <c:v>8456.1602412570701</c:v>
                </c:pt>
                <c:pt idx="4574">
                  <c:v>8436.5377113559771</c:v>
                </c:pt>
                <c:pt idx="4575">
                  <c:v>8501.4113415136198</c:v>
                </c:pt>
                <c:pt idx="4576">
                  <c:v>8555.6595062453471</c:v>
                </c:pt>
                <c:pt idx="4577">
                  <c:v>8470.3233489930972</c:v>
                </c:pt>
                <c:pt idx="4578">
                  <c:v>8420.0589039344977</c:v>
                </c:pt>
                <c:pt idx="4579">
                  <c:v>8370.3869979211468</c:v>
                </c:pt>
                <c:pt idx="4580">
                  <c:v>8115.8333805633492</c:v>
                </c:pt>
                <c:pt idx="4581">
                  <c:v>8188.0180014558164</c:v>
                </c:pt>
                <c:pt idx="4582">
                  <c:v>8121.5246045496424</c:v>
                </c:pt>
                <c:pt idx="4583">
                  <c:v>7815.4459203607312</c:v>
                </c:pt>
                <c:pt idx="4584">
                  <c:v>7498.8364663575803</c:v>
                </c:pt>
                <c:pt idx="4585">
                  <c:v>7280.3542057579834</c:v>
                </c:pt>
                <c:pt idx="4586">
                  <c:v>7172.584659019949</c:v>
                </c:pt>
                <c:pt idx="4587">
                  <c:v>7042.7431746882166</c:v>
                </c:pt>
                <c:pt idx="4588">
                  <c:v>7049.5254542174271</c:v>
                </c:pt>
                <c:pt idx="4589">
                  <c:v>7182.630667507382</c:v>
                </c:pt>
                <c:pt idx="4590">
                  <c:v>7359.2066391227308</c:v>
                </c:pt>
                <c:pt idx="4591">
                  <c:v>7609.2886302659044</c:v>
                </c:pt>
                <c:pt idx="4592">
                  <c:v>7865.1276136106189</c:v>
                </c:pt>
                <c:pt idx="4593">
                  <c:v>8014.2594424053495</c:v>
                </c:pt>
                <c:pt idx="4594">
                  <c:v>8201.4232068234232</c:v>
                </c:pt>
                <c:pt idx="4595">
                  <c:v>8237.1380400287853</c:v>
                </c:pt>
                <c:pt idx="4596">
                  <c:v>8196.1265731165677</c:v>
                </c:pt>
                <c:pt idx="4597">
                  <c:v>8150.01041689473</c:v>
                </c:pt>
                <c:pt idx="4598">
                  <c:v>8220.9510193120059</c:v>
                </c:pt>
                <c:pt idx="4599">
                  <c:v>8239.3755579916506</c:v>
                </c:pt>
                <c:pt idx="4600">
                  <c:v>8224.9404947390831</c:v>
                </c:pt>
                <c:pt idx="4601">
                  <c:v>8188.4915754579742</c:v>
                </c:pt>
                <c:pt idx="4602">
                  <c:v>8208.9916873481561</c:v>
                </c:pt>
                <c:pt idx="4603">
                  <c:v>8213.2976360894008</c:v>
                </c:pt>
                <c:pt idx="4604">
                  <c:v>8014.4025517291411</c:v>
                </c:pt>
                <c:pt idx="4605">
                  <c:v>8109.7174094912625</c:v>
                </c:pt>
                <c:pt idx="4606">
                  <c:v>8039.9696524282072</c:v>
                </c:pt>
                <c:pt idx="4607">
                  <c:v>7687.3257313054455</c:v>
                </c:pt>
                <c:pt idx="4608">
                  <c:v>7293.8885443746149</c:v>
                </c:pt>
                <c:pt idx="4609">
                  <c:v>7159.5057331353655</c:v>
                </c:pt>
                <c:pt idx="4610">
                  <c:v>6994.1251664723204</c:v>
                </c:pt>
                <c:pt idx="4611">
                  <c:v>6937.332984033842</c:v>
                </c:pt>
                <c:pt idx="4612">
                  <c:v>7128.2003832648879</c:v>
                </c:pt>
                <c:pt idx="4613">
                  <c:v>7649.763857746445</c:v>
                </c:pt>
                <c:pt idx="4614">
                  <c:v>8008.9450200216725</c:v>
                </c:pt>
                <c:pt idx="4615">
                  <c:v>8267.6470455676463</c:v>
                </c:pt>
                <c:pt idx="4616">
                  <c:v>8525.9876093840721</c:v>
                </c:pt>
                <c:pt idx="4617">
                  <c:v>8673.4841778444843</c:v>
                </c:pt>
                <c:pt idx="4618">
                  <c:v>8789.0327813918757</c:v>
                </c:pt>
                <c:pt idx="4619">
                  <c:v>8905.7576751027555</c:v>
                </c:pt>
                <c:pt idx="4620">
                  <c:v>8897.2234076551795</c:v>
                </c:pt>
                <c:pt idx="4621">
                  <c:v>8863.1121223170303</c:v>
                </c:pt>
                <c:pt idx="4622">
                  <c:v>8881.2686722002309</c:v>
                </c:pt>
                <c:pt idx="4623">
                  <c:v>8798.181373270676</c:v>
                </c:pt>
                <c:pt idx="4624">
                  <c:v>8744.4137998791975</c:v>
                </c:pt>
                <c:pt idx="4625">
                  <c:v>8660.2872442239604</c:v>
                </c:pt>
                <c:pt idx="4626">
                  <c:v>8595.2524804462992</c:v>
                </c:pt>
                <c:pt idx="4627">
                  <c:v>8559.431146062685</c:v>
                </c:pt>
                <c:pt idx="4628">
                  <c:v>8307.3533852359924</c:v>
                </c:pt>
                <c:pt idx="4629">
                  <c:v>8326.225366811841</c:v>
                </c:pt>
                <c:pt idx="4630">
                  <c:v>8135.652561699485</c:v>
                </c:pt>
                <c:pt idx="4631">
                  <c:v>7729.1547940091068</c:v>
                </c:pt>
                <c:pt idx="4632">
                  <c:v>7434.1937957461414</c:v>
                </c:pt>
                <c:pt idx="4633">
                  <c:v>7223.4270517495506</c:v>
                </c:pt>
                <c:pt idx="4634">
                  <c:v>7096.9406793400494</c:v>
                </c:pt>
                <c:pt idx="4635">
                  <c:v>6998.5450453456397</c:v>
                </c:pt>
                <c:pt idx="4636">
                  <c:v>7075.5143977150037</c:v>
                </c:pt>
                <c:pt idx="4637">
                  <c:v>7518.5458568376662</c:v>
                </c:pt>
                <c:pt idx="4638">
                  <c:v>7970.3219952949376</c:v>
                </c:pt>
                <c:pt idx="4639">
                  <c:v>8337.2700434809231</c:v>
                </c:pt>
                <c:pt idx="4640">
                  <c:v>8519.7873211752212</c:v>
                </c:pt>
                <c:pt idx="4641">
                  <c:v>8677.1820261684425</c:v>
                </c:pt>
                <c:pt idx="4642">
                  <c:v>8788.6797327856093</c:v>
                </c:pt>
                <c:pt idx="4643">
                  <c:v>8803.7318207577046</c:v>
                </c:pt>
                <c:pt idx="4644">
                  <c:v>8777.426140041398</c:v>
                </c:pt>
                <c:pt idx="4645">
                  <c:v>8744.9953479561027</c:v>
                </c:pt>
                <c:pt idx="4646">
                  <c:v>8697.3072430139218</c:v>
                </c:pt>
                <c:pt idx="4647">
                  <c:v>8678.9656908549769</c:v>
                </c:pt>
                <c:pt idx="4648">
                  <c:v>8668.032550640628</c:v>
                </c:pt>
                <c:pt idx="4649">
                  <c:v>8576.6605187716505</c:v>
                </c:pt>
                <c:pt idx="4650">
                  <c:v>8573.7718564473707</c:v>
                </c:pt>
                <c:pt idx="4651">
                  <c:v>8484.510231225473</c:v>
                </c:pt>
                <c:pt idx="4652">
                  <c:v>8201.4073245245909</c:v>
                </c:pt>
                <c:pt idx="4653">
                  <c:v>8280.6333125970195</c:v>
                </c:pt>
                <c:pt idx="4654">
                  <c:v>8112.1978065101284</c:v>
                </c:pt>
                <c:pt idx="4655">
                  <c:v>7737.0597224051717</c:v>
                </c:pt>
                <c:pt idx="4656">
                  <c:v>7427.424122577052</c:v>
                </c:pt>
                <c:pt idx="4657">
                  <c:v>7222.2008988823327</c:v>
                </c:pt>
                <c:pt idx="4658">
                  <c:v>7116.5369886985836</c:v>
                </c:pt>
                <c:pt idx="4659">
                  <c:v>6983.8325419045477</c:v>
                </c:pt>
                <c:pt idx="4660">
                  <c:v>7098.0127671541013</c:v>
                </c:pt>
                <c:pt idx="4661">
                  <c:v>7584.3324168411746</c:v>
                </c:pt>
                <c:pt idx="4662">
                  <c:v>8025.1732910360761</c:v>
                </c:pt>
                <c:pt idx="4663">
                  <c:v>8348.8183505599882</c:v>
                </c:pt>
                <c:pt idx="4664">
                  <c:v>8569.464760376859</c:v>
                </c:pt>
                <c:pt idx="4665">
                  <c:v>8626.1998277890561</c:v>
                </c:pt>
                <c:pt idx="4666">
                  <c:v>8813.3628156695959</c:v>
                </c:pt>
                <c:pt idx="4667">
                  <c:v>8850.2936903920036</c:v>
                </c:pt>
                <c:pt idx="4668">
                  <c:v>8843.0899863092127</c:v>
                </c:pt>
                <c:pt idx="4669">
                  <c:v>8841.2576093912085</c:v>
                </c:pt>
                <c:pt idx="4670">
                  <c:v>8829.3052500119193</c:v>
                </c:pt>
                <c:pt idx="4671">
                  <c:v>8724.2185803430366</c:v>
                </c:pt>
                <c:pt idx="4672">
                  <c:v>8735.1601601781113</c:v>
                </c:pt>
                <c:pt idx="4673">
                  <c:v>8689.9434862344679</c:v>
                </c:pt>
                <c:pt idx="4674">
                  <c:v>8674.0727544797755</c:v>
                </c:pt>
                <c:pt idx="4675">
                  <c:v>8536.4239735664705</c:v>
                </c:pt>
                <c:pt idx="4676">
                  <c:v>8302.6215593940233</c:v>
                </c:pt>
                <c:pt idx="4677">
                  <c:v>8357.6104547202503</c:v>
                </c:pt>
                <c:pt idx="4678">
                  <c:v>8252.5549518223033</c:v>
                </c:pt>
                <c:pt idx="4679">
                  <c:v>7792.5865768068543</c:v>
                </c:pt>
                <c:pt idx="4680">
                  <c:v>7425.0345352744152</c:v>
                </c:pt>
                <c:pt idx="4681">
                  <c:v>7181.5710085191331</c:v>
                </c:pt>
                <c:pt idx="4682">
                  <c:v>7067.712260340928</c:v>
                </c:pt>
                <c:pt idx="4683">
                  <c:v>6998.0873047478408</c:v>
                </c:pt>
                <c:pt idx="4684">
                  <c:v>7203.5765494917177</c:v>
                </c:pt>
                <c:pt idx="4685">
                  <c:v>7644.5094713385261</c:v>
                </c:pt>
                <c:pt idx="4686">
                  <c:v>8100.5917470475033</c:v>
                </c:pt>
                <c:pt idx="4687">
                  <c:v>8410.0966591214492</c:v>
                </c:pt>
                <c:pt idx="4688">
                  <c:v>8674.8857782546092</c:v>
                </c:pt>
                <c:pt idx="4689">
                  <c:v>8839.3144019257743</c:v>
                </c:pt>
                <c:pt idx="4690">
                  <c:v>8958.5966376466276</c:v>
                </c:pt>
                <c:pt idx="4691">
                  <c:v>8967.418661310905</c:v>
                </c:pt>
                <c:pt idx="4692">
                  <c:v>8958.5377931919302</c:v>
                </c:pt>
                <c:pt idx="4693">
                  <c:v>8908.2343147070769</c:v>
                </c:pt>
                <c:pt idx="4694">
                  <c:v>8916.965390407373</c:v>
                </c:pt>
                <c:pt idx="4695">
                  <c:v>8878.8219734475024</c:v>
                </c:pt>
                <c:pt idx="4696">
                  <c:v>8754.9370100511533</c:v>
                </c:pt>
                <c:pt idx="4697">
                  <c:v>8700.4598270805091</c:v>
                </c:pt>
                <c:pt idx="4698">
                  <c:v>8694.4932393624204</c:v>
                </c:pt>
                <c:pt idx="4699">
                  <c:v>8609.4937609781427</c:v>
                </c:pt>
                <c:pt idx="4700">
                  <c:v>8374.3784991332159</c:v>
                </c:pt>
                <c:pt idx="4701">
                  <c:v>8388.6250178184364</c:v>
                </c:pt>
                <c:pt idx="4702">
                  <c:v>8300.2366825376466</c:v>
                </c:pt>
                <c:pt idx="4703">
                  <c:v>7864.8605948030008</c:v>
                </c:pt>
                <c:pt idx="4704">
                  <c:v>7602.4988606445686</c:v>
                </c:pt>
                <c:pt idx="4705">
                  <c:v>7479.8417735536668</c:v>
                </c:pt>
                <c:pt idx="4706">
                  <c:v>7306.4882176813971</c:v>
                </c:pt>
                <c:pt idx="4707">
                  <c:v>7188.9248392460495</c:v>
                </c:pt>
                <c:pt idx="4708">
                  <c:v>7356.8995949011014</c:v>
                </c:pt>
                <c:pt idx="4709">
                  <c:v>7818.8393936307448</c:v>
                </c:pt>
                <c:pt idx="4710">
                  <c:v>8242.5953459916946</c:v>
                </c:pt>
                <c:pt idx="4711">
                  <c:v>8466.1950370325867</c:v>
                </c:pt>
                <c:pt idx="4712">
                  <c:v>8689.154118617691</c:v>
                </c:pt>
                <c:pt idx="4713">
                  <c:v>8753.8063337738258</c:v>
                </c:pt>
                <c:pt idx="4714">
                  <c:v>8871.9340000239372</c:v>
                </c:pt>
                <c:pt idx="4715">
                  <c:v>8870.531311883251</c:v>
                </c:pt>
                <c:pt idx="4716">
                  <c:v>8703.7134055403731</c:v>
                </c:pt>
                <c:pt idx="4717">
                  <c:v>8685.3908487176668</c:v>
                </c:pt>
                <c:pt idx="4718">
                  <c:v>8718.592981186086</c:v>
                </c:pt>
                <c:pt idx="4719">
                  <c:v>8652.023150190671</c:v>
                </c:pt>
                <c:pt idx="4720">
                  <c:v>8627.9871610364444</c:v>
                </c:pt>
                <c:pt idx="4721">
                  <c:v>8541.254166120385</c:v>
                </c:pt>
                <c:pt idx="4722">
                  <c:v>8453.1424482605398</c:v>
                </c:pt>
                <c:pt idx="4723">
                  <c:v>8314.6680511178038</c:v>
                </c:pt>
                <c:pt idx="4724">
                  <c:v>8006.8017854740574</c:v>
                </c:pt>
                <c:pt idx="4725">
                  <c:v>8113.8083332740489</c:v>
                </c:pt>
                <c:pt idx="4726">
                  <c:v>7999.1726705244882</c:v>
                </c:pt>
                <c:pt idx="4727">
                  <c:v>7624.9179841846162</c:v>
                </c:pt>
                <c:pt idx="4728">
                  <c:v>7284.8276351561835</c:v>
                </c:pt>
                <c:pt idx="4729">
                  <c:v>7166.5778612971735</c:v>
                </c:pt>
                <c:pt idx="4730">
                  <c:v>7034.0799968544015</c:v>
                </c:pt>
                <c:pt idx="4731">
                  <c:v>6921.0370766843271</c:v>
                </c:pt>
                <c:pt idx="4732">
                  <c:v>6898.6697186967858</c:v>
                </c:pt>
                <c:pt idx="4733">
                  <c:v>7055.7853023391308</c:v>
                </c:pt>
                <c:pt idx="4734">
                  <c:v>7266.5057504566694</c:v>
                </c:pt>
                <c:pt idx="4735">
                  <c:v>7443.1666969780636</c:v>
                </c:pt>
                <c:pt idx="4736">
                  <c:v>7669.2899648287948</c:v>
                </c:pt>
                <c:pt idx="4737">
                  <c:v>7802.4666085972021</c:v>
                </c:pt>
                <c:pt idx="4738">
                  <c:v>7921.0550323878197</c:v>
                </c:pt>
                <c:pt idx="4739">
                  <c:v>7947.9758126364059</c:v>
                </c:pt>
                <c:pt idx="4740">
                  <c:v>7984.7422635617731</c:v>
                </c:pt>
                <c:pt idx="4741">
                  <c:v>7963.6553736152746</c:v>
                </c:pt>
                <c:pt idx="4742">
                  <c:v>7898.798754182154</c:v>
                </c:pt>
                <c:pt idx="4743">
                  <c:v>8011.0419254603057</c:v>
                </c:pt>
                <c:pt idx="4744">
                  <c:v>8062.209165536965</c:v>
                </c:pt>
                <c:pt idx="4745">
                  <c:v>8046.9877694479683</c:v>
                </c:pt>
                <c:pt idx="4746">
                  <c:v>8043.5971278057514</c:v>
                </c:pt>
                <c:pt idx="4747">
                  <c:v>7918.0203496137792</c:v>
                </c:pt>
                <c:pt idx="4748">
                  <c:v>7729.0676791440774</c:v>
                </c:pt>
                <c:pt idx="4749">
                  <c:v>7854.1210722429287</c:v>
                </c:pt>
                <c:pt idx="4750">
                  <c:v>7776.9401136541856</c:v>
                </c:pt>
                <c:pt idx="4751">
                  <c:v>7424.1350872209005</c:v>
                </c:pt>
                <c:pt idx="4752">
                  <c:v>7099.232883653297</c:v>
                </c:pt>
                <c:pt idx="4753">
                  <c:v>6985.8301643733612</c:v>
                </c:pt>
                <c:pt idx="4754">
                  <c:v>6881.8629895788863</c:v>
                </c:pt>
                <c:pt idx="4755">
                  <c:v>6732.2786201615436</c:v>
                </c:pt>
                <c:pt idx="4756">
                  <c:v>6698.7124163667568</c:v>
                </c:pt>
                <c:pt idx="4757">
                  <c:v>6901.6264146932308</c:v>
                </c:pt>
                <c:pt idx="4758">
                  <c:v>7059.1854331839986</c:v>
                </c:pt>
                <c:pt idx="4759">
                  <c:v>7264.8654028787532</c:v>
                </c:pt>
                <c:pt idx="4760">
                  <c:v>7455.3436175039651</c:v>
                </c:pt>
                <c:pt idx="4761">
                  <c:v>7702.9069969282164</c:v>
                </c:pt>
                <c:pt idx="4762">
                  <c:v>7834.0941195424039</c:v>
                </c:pt>
                <c:pt idx="4763">
                  <c:v>7808.6877259018884</c:v>
                </c:pt>
                <c:pt idx="4764">
                  <c:v>7795.8620347736705</c:v>
                </c:pt>
                <c:pt idx="4765">
                  <c:v>7805.1996187766699</c:v>
                </c:pt>
                <c:pt idx="4766">
                  <c:v>7792.7422220600311</c:v>
                </c:pt>
                <c:pt idx="4767">
                  <c:v>7793.0832660385313</c:v>
                </c:pt>
                <c:pt idx="4768">
                  <c:v>7869.9284023195178</c:v>
                </c:pt>
                <c:pt idx="4769">
                  <c:v>7831.8780159882199</c:v>
                </c:pt>
                <c:pt idx="4770">
                  <c:v>7888.8150429411062</c:v>
                </c:pt>
                <c:pt idx="4771">
                  <c:v>7856.47174353843</c:v>
                </c:pt>
                <c:pt idx="4772">
                  <c:v>7670.1404325454332</c:v>
                </c:pt>
                <c:pt idx="4773">
                  <c:v>7784.748140630486</c:v>
                </c:pt>
                <c:pt idx="4774">
                  <c:v>7734.6240073473791</c:v>
                </c:pt>
                <c:pt idx="4775">
                  <c:v>7418.3393964946918</c:v>
                </c:pt>
                <c:pt idx="4776">
                  <c:v>7125.7908456377027</c:v>
                </c:pt>
                <c:pt idx="4777">
                  <c:v>7008.8210848515537</c:v>
                </c:pt>
                <c:pt idx="4778">
                  <c:v>6923.1313880386715</c:v>
                </c:pt>
                <c:pt idx="4779">
                  <c:v>6792.7247396217699</c:v>
                </c:pt>
                <c:pt idx="4780">
                  <c:v>6941.2867293555237</c:v>
                </c:pt>
                <c:pt idx="4781">
                  <c:v>7435.8184631128161</c:v>
                </c:pt>
                <c:pt idx="4782">
                  <c:v>7756.6910614126336</c:v>
                </c:pt>
                <c:pt idx="4783">
                  <c:v>8047.2492759223051</c:v>
                </c:pt>
                <c:pt idx="4784">
                  <c:v>8220.9747692161563</c:v>
                </c:pt>
                <c:pt idx="4785">
                  <c:v>8284.0289374770073</c:v>
                </c:pt>
                <c:pt idx="4786">
                  <c:v>8403.4189644813814</c:v>
                </c:pt>
                <c:pt idx="4787">
                  <c:v>8462.9066015183635</c:v>
                </c:pt>
                <c:pt idx="4788">
                  <c:v>8485.9496543919031</c:v>
                </c:pt>
                <c:pt idx="4789">
                  <c:v>8494.7995959213531</c:v>
                </c:pt>
                <c:pt idx="4790">
                  <c:v>8433.9355793495306</c:v>
                </c:pt>
                <c:pt idx="4791">
                  <c:v>8393.5285162515938</c:v>
                </c:pt>
                <c:pt idx="4792">
                  <c:v>8371.5750975289611</c:v>
                </c:pt>
                <c:pt idx="4793">
                  <c:v>8348.7726249690641</c:v>
                </c:pt>
                <c:pt idx="4794">
                  <c:v>8366.3918175649414</c:v>
                </c:pt>
                <c:pt idx="4795">
                  <c:v>8301.2303883258828</c:v>
                </c:pt>
                <c:pt idx="4796">
                  <c:v>8019.0263692732788</c:v>
                </c:pt>
                <c:pt idx="4797">
                  <c:v>8051.3403250004112</c:v>
                </c:pt>
                <c:pt idx="4798">
                  <c:v>7949.2433081689396</c:v>
                </c:pt>
                <c:pt idx="4799">
                  <c:v>7588.3426786401187</c:v>
                </c:pt>
                <c:pt idx="4800">
                  <c:v>7239.5140697970346</c:v>
                </c:pt>
                <c:pt idx="4801">
                  <c:v>7133.6067243528905</c:v>
                </c:pt>
                <c:pt idx="4802">
                  <c:v>7049.7357023440654</c:v>
                </c:pt>
                <c:pt idx="4803">
                  <c:v>6970.317848076269</c:v>
                </c:pt>
                <c:pt idx="4804">
                  <c:v>7144.0492099915828</c:v>
                </c:pt>
                <c:pt idx="4805">
                  <c:v>7588.4578019165201</c:v>
                </c:pt>
                <c:pt idx="4806">
                  <c:v>7982.0776962310656</c:v>
                </c:pt>
                <c:pt idx="4807">
                  <c:v>8154.6446568497495</c:v>
                </c:pt>
                <c:pt idx="4808">
                  <c:v>8321.4591652486833</c:v>
                </c:pt>
                <c:pt idx="4809">
                  <c:v>8468.5744530438424</c:v>
                </c:pt>
                <c:pt idx="4810">
                  <c:v>8521.7675271710905</c:v>
                </c:pt>
                <c:pt idx="4811">
                  <c:v>8542.5332963200035</c:v>
                </c:pt>
                <c:pt idx="4812">
                  <c:v>8533.4059058247785</c:v>
                </c:pt>
                <c:pt idx="4813">
                  <c:v>8486.6662399778215</c:v>
                </c:pt>
                <c:pt idx="4814">
                  <c:v>8420.4024594023122</c:v>
                </c:pt>
                <c:pt idx="4815">
                  <c:v>8371.1217076541943</c:v>
                </c:pt>
                <c:pt idx="4816">
                  <c:v>8378.0179023318851</c:v>
                </c:pt>
                <c:pt idx="4817">
                  <c:v>8309.2668040093249</c:v>
                </c:pt>
                <c:pt idx="4818">
                  <c:v>8369.387646551244</c:v>
                </c:pt>
                <c:pt idx="4819">
                  <c:v>8333.8455245021378</c:v>
                </c:pt>
                <c:pt idx="4820">
                  <c:v>8044.0302124989385</c:v>
                </c:pt>
                <c:pt idx="4821">
                  <c:v>8097.7485985294925</c:v>
                </c:pt>
                <c:pt idx="4822">
                  <c:v>7982.3405282470658</c:v>
                </c:pt>
                <c:pt idx="4823">
                  <c:v>7577.5156627329361</c:v>
                </c:pt>
                <c:pt idx="4824">
                  <c:v>7300.0271569817705</c:v>
                </c:pt>
                <c:pt idx="4825">
                  <c:v>7190.6812312182783</c:v>
                </c:pt>
                <c:pt idx="4826">
                  <c:v>7126.1632484872016</c:v>
                </c:pt>
                <c:pt idx="4827">
                  <c:v>6998.2732108997043</c:v>
                </c:pt>
                <c:pt idx="4828">
                  <c:v>7113.9910883922112</c:v>
                </c:pt>
                <c:pt idx="4829">
                  <c:v>7541.3464863640775</c:v>
                </c:pt>
                <c:pt idx="4830">
                  <c:v>7845.7082506779625</c:v>
                </c:pt>
                <c:pt idx="4831">
                  <c:v>8074.9181045219129</c:v>
                </c:pt>
                <c:pt idx="4832">
                  <c:v>8204.0742597191693</c:v>
                </c:pt>
                <c:pt idx="4833">
                  <c:v>8373.0675813514063</c:v>
                </c:pt>
                <c:pt idx="4834">
                  <c:v>8432.4409456280773</c:v>
                </c:pt>
                <c:pt idx="4835">
                  <c:v>8377.034863481671</c:v>
                </c:pt>
                <c:pt idx="4836">
                  <c:v>8354.451738036656</c:v>
                </c:pt>
                <c:pt idx="4837">
                  <c:v>8401.6423472852548</c:v>
                </c:pt>
                <c:pt idx="4838">
                  <c:v>8395.6687027627686</c:v>
                </c:pt>
                <c:pt idx="4839">
                  <c:v>8453.4248195760701</c:v>
                </c:pt>
                <c:pt idx="4840">
                  <c:v>8449.4803988851309</c:v>
                </c:pt>
                <c:pt idx="4841">
                  <c:v>8427.9086413766781</c:v>
                </c:pt>
                <c:pt idx="4842">
                  <c:v>8542.7962247579926</c:v>
                </c:pt>
                <c:pt idx="4843">
                  <c:v>8496.6861355364672</c:v>
                </c:pt>
                <c:pt idx="4844">
                  <c:v>8219.9551346421867</c:v>
                </c:pt>
                <c:pt idx="4845">
                  <c:v>8294.6213405534454</c:v>
                </c:pt>
                <c:pt idx="4846">
                  <c:v>8145.8266944388743</c:v>
                </c:pt>
                <c:pt idx="4847">
                  <c:v>7686.6229504108596</c:v>
                </c:pt>
                <c:pt idx="4848">
                  <c:v>7343.1447650506689</c:v>
                </c:pt>
                <c:pt idx="4849">
                  <c:v>7231.4685134399297</c:v>
                </c:pt>
                <c:pt idx="4850">
                  <c:v>7143.5381981459695</c:v>
                </c:pt>
                <c:pt idx="4851">
                  <c:v>7055.6884526562062</c:v>
                </c:pt>
                <c:pt idx="4852">
                  <c:v>7160.2902096874977</c:v>
                </c:pt>
                <c:pt idx="4853">
                  <c:v>7643.3887349827737</c:v>
                </c:pt>
                <c:pt idx="4854">
                  <c:v>7982.381400193608</c:v>
                </c:pt>
                <c:pt idx="4855">
                  <c:v>8157.2669193186566</c:v>
                </c:pt>
                <c:pt idx="4856">
                  <c:v>8358.2443755922559</c:v>
                </c:pt>
                <c:pt idx="4857">
                  <c:v>8502.1823245471533</c:v>
                </c:pt>
                <c:pt idx="4858">
                  <c:v>8545.9417997822293</c:v>
                </c:pt>
                <c:pt idx="4859">
                  <c:v>8496.1608329495448</c:v>
                </c:pt>
                <c:pt idx="4860">
                  <c:v>8456.9762890361581</c:v>
                </c:pt>
                <c:pt idx="4861">
                  <c:v>8456.930611681526</c:v>
                </c:pt>
                <c:pt idx="4862">
                  <c:v>8452.4993139381877</c:v>
                </c:pt>
                <c:pt idx="4863">
                  <c:v>8456.2879372030038</c:v>
                </c:pt>
                <c:pt idx="4864">
                  <c:v>8370.6237890326884</c:v>
                </c:pt>
                <c:pt idx="4865">
                  <c:v>8309.1478123076049</c:v>
                </c:pt>
                <c:pt idx="4866">
                  <c:v>8346.9730273004661</c:v>
                </c:pt>
                <c:pt idx="4867">
                  <c:v>8348.2825611413118</c:v>
                </c:pt>
                <c:pt idx="4868">
                  <c:v>8093.0073511050759</c:v>
                </c:pt>
                <c:pt idx="4869">
                  <c:v>8183.7767034678564</c:v>
                </c:pt>
                <c:pt idx="4870">
                  <c:v>8095.0536494817161</c:v>
                </c:pt>
                <c:pt idx="4871">
                  <c:v>7629.1373551471943</c:v>
                </c:pt>
                <c:pt idx="4872">
                  <c:v>7253.4944603536733</c:v>
                </c:pt>
                <c:pt idx="4873">
                  <c:v>7105.9324891518118</c:v>
                </c:pt>
                <c:pt idx="4874">
                  <c:v>7024.8625304216739</c:v>
                </c:pt>
                <c:pt idx="4875">
                  <c:v>6978.983268721463</c:v>
                </c:pt>
                <c:pt idx="4876">
                  <c:v>7126.1407438344368</c:v>
                </c:pt>
                <c:pt idx="4877">
                  <c:v>7518.1349375110567</c:v>
                </c:pt>
                <c:pt idx="4878">
                  <c:v>7836.7491409704871</c:v>
                </c:pt>
                <c:pt idx="4879">
                  <c:v>8034.3315044888232</c:v>
                </c:pt>
                <c:pt idx="4880">
                  <c:v>8181.3570602797226</c:v>
                </c:pt>
                <c:pt idx="4881">
                  <c:v>8366.6624446197875</c:v>
                </c:pt>
                <c:pt idx="4882">
                  <c:v>8411.8076466281054</c:v>
                </c:pt>
                <c:pt idx="4883">
                  <c:v>8448.9361903625268</c:v>
                </c:pt>
                <c:pt idx="4884">
                  <c:v>8382.9848014347972</c:v>
                </c:pt>
                <c:pt idx="4885">
                  <c:v>8349.6000205149776</c:v>
                </c:pt>
                <c:pt idx="4886">
                  <c:v>8313.4273596451858</c:v>
                </c:pt>
                <c:pt idx="4887">
                  <c:v>8332.4261421451538</c:v>
                </c:pt>
                <c:pt idx="4888">
                  <c:v>8215.7030931849276</c:v>
                </c:pt>
                <c:pt idx="4889">
                  <c:v>8185.6818233000886</c:v>
                </c:pt>
                <c:pt idx="4890">
                  <c:v>8222.761667033199</c:v>
                </c:pt>
                <c:pt idx="4891">
                  <c:v>8214.4803818255259</c:v>
                </c:pt>
                <c:pt idx="4892">
                  <c:v>7959.315973333205</c:v>
                </c:pt>
                <c:pt idx="4893">
                  <c:v>8067.7417550304062</c:v>
                </c:pt>
                <c:pt idx="4894">
                  <c:v>7947.3054225649539</c:v>
                </c:pt>
                <c:pt idx="4895">
                  <c:v>7563.7993132221982</c:v>
                </c:pt>
                <c:pt idx="4896">
                  <c:v>7310.2099727429941</c:v>
                </c:pt>
                <c:pt idx="4897">
                  <c:v>7120.1150239079861</c:v>
                </c:pt>
                <c:pt idx="4898">
                  <c:v>7044.4752781390325</c:v>
                </c:pt>
                <c:pt idx="4899">
                  <c:v>6970.11322587627</c:v>
                </c:pt>
                <c:pt idx="4900">
                  <c:v>6990.2472034942575</c:v>
                </c:pt>
                <c:pt idx="4901">
                  <c:v>7164.7683415100173</c:v>
                </c:pt>
                <c:pt idx="4902">
                  <c:v>7252.8186355349389</c:v>
                </c:pt>
                <c:pt idx="4903">
                  <c:v>7448.9020474677509</c:v>
                </c:pt>
                <c:pt idx="4904">
                  <c:v>7654.2919453638378</c:v>
                </c:pt>
                <c:pt idx="4905">
                  <c:v>7790.4846312023055</c:v>
                </c:pt>
                <c:pt idx="4906">
                  <c:v>7869.5674884325799</c:v>
                </c:pt>
                <c:pt idx="4907">
                  <c:v>7875.409446881682</c:v>
                </c:pt>
                <c:pt idx="4908">
                  <c:v>7883.826991806668</c:v>
                </c:pt>
                <c:pt idx="4909">
                  <c:v>7869.3766463150087</c:v>
                </c:pt>
                <c:pt idx="4910">
                  <c:v>7882.1330440147231</c:v>
                </c:pt>
                <c:pt idx="4911">
                  <c:v>7942.3144675359208</c:v>
                </c:pt>
                <c:pt idx="4912">
                  <c:v>7992.6581131096727</c:v>
                </c:pt>
                <c:pt idx="4913">
                  <c:v>8056.6750138529005</c:v>
                </c:pt>
                <c:pt idx="4914">
                  <c:v>8090.7985353087115</c:v>
                </c:pt>
                <c:pt idx="4915">
                  <c:v>8028.1785300208358</c:v>
                </c:pt>
                <c:pt idx="4916">
                  <c:v>7697.1488566662865</c:v>
                </c:pt>
                <c:pt idx="4917">
                  <c:v>7850.0477159191287</c:v>
                </c:pt>
                <c:pt idx="4918">
                  <c:v>7846.0751339737253</c:v>
                </c:pt>
                <c:pt idx="4919">
                  <c:v>7463.0228118732484</c:v>
                </c:pt>
                <c:pt idx="4920">
                  <c:v>7153.9735798186321</c:v>
                </c:pt>
                <c:pt idx="4921">
                  <c:v>6951.5995478246678</c:v>
                </c:pt>
                <c:pt idx="4922">
                  <c:v>6820.3542100080731</c:v>
                </c:pt>
                <c:pt idx="4923">
                  <c:v>6725.0767811571977</c:v>
                </c:pt>
                <c:pt idx="4924">
                  <c:v>6766.8427226555159</c:v>
                </c:pt>
                <c:pt idx="4925">
                  <c:v>6923.5177103069491</c:v>
                </c:pt>
                <c:pt idx="4926">
                  <c:v>7028.2638142887872</c:v>
                </c:pt>
                <c:pt idx="4927">
                  <c:v>7268.1025171791653</c:v>
                </c:pt>
                <c:pt idx="4928">
                  <c:v>7477.9741230339614</c:v>
                </c:pt>
                <c:pt idx="4929">
                  <c:v>7614.4673815566948</c:v>
                </c:pt>
                <c:pt idx="4930">
                  <c:v>7736.3581946362128</c:v>
                </c:pt>
                <c:pt idx="4931">
                  <c:v>7806.4624915487993</c:v>
                </c:pt>
                <c:pt idx="4932">
                  <c:v>7824.9502195724226</c:v>
                </c:pt>
                <c:pt idx="4933">
                  <c:v>7795.7182519075468</c:v>
                </c:pt>
                <c:pt idx="4934">
                  <c:v>7803.5262064939006</c:v>
                </c:pt>
                <c:pt idx="4935">
                  <c:v>7848.5944614683158</c:v>
                </c:pt>
                <c:pt idx="4936">
                  <c:v>7923.5020858474045</c:v>
                </c:pt>
                <c:pt idx="4937">
                  <c:v>7946.1128056283214</c:v>
                </c:pt>
                <c:pt idx="4938">
                  <c:v>7990.5743496967989</c:v>
                </c:pt>
                <c:pt idx="4939">
                  <c:v>7969.3535751799564</c:v>
                </c:pt>
                <c:pt idx="4940">
                  <c:v>7748.129209107301</c:v>
                </c:pt>
                <c:pt idx="4941">
                  <c:v>7976.1451152659838</c:v>
                </c:pt>
                <c:pt idx="4942">
                  <c:v>7887.2924446195802</c:v>
                </c:pt>
                <c:pt idx="4943">
                  <c:v>7507.0895419942144</c:v>
                </c:pt>
                <c:pt idx="4944">
                  <c:v>7122.9881568680676</c:v>
                </c:pt>
                <c:pt idx="4945">
                  <c:v>7010.5851826075295</c:v>
                </c:pt>
                <c:pt idx="4946">
                  <c:v>6957.9700642530615</c:v>
                </c:pt>
                <c:pt idx="4947">
                  <c:v>6884.8489186587094</c:v>
                </c:pt>
                <c:pt idx="4948">
                  <c:v>6995.5281238110128</c:v>
                </c:pt>
                <c:pt idx="4949">
                  <c:v>7472.8841210309492</c:v>
                </c:pt>
                <c:pt idx="4950">
                  <c:v>7939.9643449110181</c:v>
                </c:pt>
                <c:pt idx="4951">
                  <c:v>8311.4151811837164</c:v>
                </c:pt>
                <c:pt idx="4952">
                  <c:v>8611.7166951534673</c:v>
                </c:pt>
                <c:pt idx="4953">
                  <c:v>8712.7116433562951</c:v>
                </c:pt>
                <c:pt idx="4954">
                  <c:v>8870.4312839884205</c:v>
                </c:pt>
                <c:pt idx="4955">
                  <c:v>8887.5404200956709</c:v>
                </c:pt>
                <c:pt idx="4956">
                  <c:v>8826.440041557822</c:v>
                </c:pt>
                <c:pt idx="4957">
                  <c:v>8835.612904679454</c:v>
                </c:pt>
                <c:pt idx="4958">
                  <c:v>8754.1114670148709</c:v>
                </c:pt>
                <c:pt idx="4959">
                  <c:v>8733.4714621147887</c:v>
                </c:pt>
                <c:pt idx="4960">
                  <c:v>8682.8503633962264</c:v>
                </c:pt>
                <c:pt idx="4961">
                  <c:v>8564.5235337548856</c:v>
                </c:pt>
                <c:pt idx="4962">
                  <c:v>8575.578969916498</c:v>
                </c:pt>
                <c:pt idx="4963">
                  <c:v>8497.3026900775531</c:v>
                </c:pt>
                <c:pt idx="4964">
                  <c:v>8229.3687450476755</c:v>
                </c:pt>
                <c:pt idx="4965">
                  <c:v>8280.7416506784266</c:v>
                </c:pt>
                <c:pt idx="4966">
                  <c:v>8093.9716420541463</c:v>
                </c:pt>
                <c:pt idx="4967">
                  <c:v>7600.8924861081969</c:v>
                </c:pt>
                <c:pt idx="4968">
                  <c:v>7251.9817676489474</c:v>
                </c:pt>
                <c:pt idx="4969">
                  <c:v>7150.3135848258689</c:v>
                </c:pt>
                <c:pt idx="4970">
                  <c:v>7065.0191214182487</c:v>
                </c:pt>
                <c:pt idx="4971">
                  <c:v>6873.4929048725826</c:v>
                </c:pt>
                <c:pt idx="4972">
                  <c:v>6954.4895628558652</c:v>
                </c:pt>
                <c:pt idx="4973">
                  <c:v>7525.314134366261</c:v>
                </c:pt>
                <c:pt idx="4974">
                  <c:v>7968.0599517523324</c:v>
                </c:pt>
                <c:pt idx="4975">
                  <c:v>8287.8326131948161</c:v>
                </c:pt>
                <c:pt idx="4976">
                  <c:v>8532.9008698820944</c:v>
                </c:pt>
                <c:pt idx="4977">
                  <c:v>8635.9882703468193</c:v>
                </c:pt>
                <c:pt idx="4978">
                  <c:v>8675.9664148945885</c:v>
                </c:pt>
                <c:pt idx="4979">
                  <c:v>8776.9429583695292</c:v>
                </c:pt>
                <c:pt idx="4980">
                  <c:v>8731.7018222748375</c:v>
                </c:pt>
                <c:pt idx="4981">
                  <c:v>8641.1020575437251</c:v>
                </c:pt>
                <c:pt idx="4982">
                  <c:v>8640.2261534516711</c:v>
                </c:pt>
                <c:pt idx="4983">
                  <c:v>8673.4901918702235</c:v>
                </c:pt>
                <c:pt idx="4984">
                  <c:v>8635.6184760995384</c:v>
                </c:pt>
                <c:pt idx="4985">
                  <c:v>8561.1675713496315</c:v>
                </c:pt>
                <c:pt idx="4986">
                  <c:v>8536.3821356912013</c:v>
                </c:pt>
                <c:pt idx="4987">
                  <c:v>8403.8614215335365</c:v>
                </c:pt>
                <c:pt idx="4988">
                  <c:v>8122.2123547705705</c:v>
                </c:pt>
                <c:pt idx="4989">
                  <c:v>8218.1963041773088</c:v>
                </c:pt>
                <c:pt idx="4990">
                  <c:v>8091.1386140723926</c:v>
                </c:pt>
                <c:pt idx="4991">
                  <c:v>7622.5502295196693</c:v>
                </c:pt>
                <c:pt idx="4992">
                  <c:v>7284.8828366964599</c:v>
                </c:pt>
                <c:pt idx="4993">
                  <c:v>7083.2910285406233</c:v>
                </c:pt>
                <c:pt idx="4994">
                  <c:v>6981.7147795016144</c:v>
                </c:pt>
                <c:pt idx="4995">
                  <c:v>6946.7913043567669</c:v>
                </c:pt>
                <c:pt idx="4996">
                  <c:v>7069.5482282920138</c:v>
                </c:pt>
                <c:pt idx="4997">
                  <c:v>7542.0465100155488</c:v>
                </c:pt>
                <c:pt idx="4998">
                  <c:v>7900.5111188934452</c:v>
                </c:pt>
                <c:pt idx="4999">
                  <c:v>8246.9662540119534</c:v>
                </c:pt>
                <c:pt idx="5000">
                  <c:v>8483.0490398790353</c:v>
                </c:pt>
                <c:pt idx="5001">
                  <c:v>8626.7214126205054</c:v>
                </c:pt>
                <c:pt idx="5002">
                  <c:v>8688.6355316468671</c:v>
                </c:pt>
                <c:pt idx="5003">
                  <c:v>8715.8552933947212</c:v>
                </c:pt>
                <c:pt idx="5004">
                  <c:v>8686.3051195340322</c:v>
                </c:pt>
                <c:pt idx="5005">
                  <c:v>8686.1034274448957</c:v>
                </c:pt>
                <c:pt idx="5006">
                  <c:v>8678.7938253301545</c:v>
                </c:pt>
                <c:pt idx="5007">
                  <c:v>8680.0648376171466</c:v>
                </c:pt>
                <c:pt idx="5008">
                  <c:v>8686.0780599921181</c:v>
                </c:pt>
                <c:pt idx="5009">
                  <c:v>8627.019639503309</c:v>
                </c:pt>
                <c:pt idx="5010">
                  <c:v>8624.4435524825349</c:v>
                </c:pt>
                <c:pt idx="5011">
                  <c:v>8571.9549864533947</c:v>
                </c:pt>
                <c:pt idx="5012">
                  <c:v>8267.9600852317071</c:v>
                </c:pt>
                <c:pt idx="5013">
                  <c:v>8347.1334318342415</c:v>
                </c:pt>
                <c:pt idx="5014">
                  <c:v>8145.6526812596767</c:v>
                </c:pt>
                <c:pt idx="5015">
                  <c:v>7753.7861484230943</c:v>
                </c:pt>
                <c:pt idx="5016">
                  <c:v>7384.9371737631318</c:v>
                </c:pt>
                <c:pt idx="5017">
                  <c:v>7280.8857014633177</c:v>
                </c:pt>
                <c:pt idx="5018">
                  <c:v>7203.5316212597472</c:v>
                </c:pt>
                <c:pt idx="5019">
                  <c:v>7146.8318990156131</c:v>
                </c:pt>
                <c:pt idx="5020">
                  <c:v>7216.5629774215467</c:v>
                </c:pt>
                <c:pt idx="5021">
                  <c:v>7637.2879936068766</c:v>
                </c:pt>
                <c:pt idx="5022">
                  <c:v>8038.4403349723334</c:v>
                </c:pt>
                <c:pt idx="5023">
                  <c:v>8342.252263409624</c:v>
                </c:pt>
                <c:pt idx="5024">
                  <c:v>8546.8463151346459</c:v>
                </c:pt>
                <c:pt idx="5025">
                  <c:v>8700.7958433021595</c:v>
                </c:pt>
                <c:pt idx="5026">
                  <c:v>8760.6636168384812</c:v>
                </c:pt>
                <c:pt idx="5027">
                  <c:v>8706.9517113391521</c:v>
                </c:pt>
                <c:pt idx="5028">
                  <c:v>8765.8200240691294</c:v>
                </c:pt>
                <c:pt idx="5029">
                  <c:v>8747.5684077767128</c:v>
                </c:pt>
                <c:pt idx="5030">
                  <c:v>8673.9333023555391</c:v>
                </c:pt>
                <c:pt idx="5031">
                  <c:v>8616.7335147156009</c:v>
                </c:pt>
                <c:pt idx="5032">
                  <c:v>8568.4040854281211</c:v>
                </c:pt>
                <c:pt idx="5033">
                  <c:v>8563.299802755073</c:v>
                </c:pt>
                <c:pt idx="5034">
                  <c:v>8639.3269088521738</c:v>
                </c:pt>
                <c:pt idx="5035">
                  <c:v>8549.6044034714978</c:v>
                </c:pt>
                <c:pt idx="5036">
                  <c:v>8257.960765725813</c:v>
                </c:pt>
                <c:pt idx="5037">
                  <c:v>8395.7788340710849</c:v>
                </c:pt>
                <c:pt idx="5038">
                  <c:v>8224.6859192545762</c:v>
                </c:pt>
                <c:pt idx="5039">
                  <c:v>7859.0958197025811</c:v>
                </c:pt>
                <c:pt idx="5040">
                  <c:v>7530.4690671314829</c:v>
                </c:pt>
                <c:pt idx="5041">
                  <c:v>7340.1165586829411</c:v>
                </c:pt>
                <c:pt idx="5042">
                  <c:v>7318.6115359766864</c:v>
                </c:pt>
                <c:pt idx="5043">
                  <c:v>7254.2994238456768</c:v>
                </c:pt>
                <c:pt idx="5044">
                  <c:v>7343.5542116797587</c:v>
                </c:pt>
                <c:pt idx="5045">
                  <c:v>7787.0865637939542</c:v>
                </c:pt>
                <c:pt idx="5046">
                  <c:v>8174.1104995025034</c:v>
                </c:pt>
                <c:pt idx="5047">
                  <c:v>8407.3962992818997</c:v>
                </c:pt>
                <c:pt idx="5048">
                  <c:v>8601.7496165863122</c:v>
                </c:pt>
                <c:pt idx="5049">
                  <c:v>8740.7918245307847</c:v>
                </c:pt>
                <c:pt idx="5050">
                  <c:v>8816.7977162977695</c:v>
                </c:pt>
                <c:pt idx="5051">
                  <c:v>8868.5157726906327</c:v>
                </c:pt>
                <c:pt idx="5052">
                  <c:v>8775.9840204246193</c:v>
                </c:pt>
                <c:pt idx="5053">
                  <c:v>8688.4077033930935</c:v>
                </c:pt>
                <c:pt idx="5054">
                  <c:v>8617.201185795795</c:v>
                </c:pt>
                <c:pt idx="5055">
                  <c:v>8628.9337351490522</c:v>
                </c:pt>
                <c:pt idx="5056">
                  <c:v>8605.0862575756528</c:v>
                </c:pt>
                <c:pt idx="5057">
                  <c:v>8499.5106859892167</c:v>
                </c:pt>
                <c:pt idx="5058">
                  <c:v>8479.3082902427104</c:v>
                </c:pt>
                <c:pt idx="5059">
                  <c:v>8452.0054171200263</c:v>
                </c:pt>
                <c:pt idx="5060">
                  <c:v>8183.8760030592348</c:v>
                </c:pt>
                <c:pt idx="5061">
                  <c:v>8288.8359619777129</c:v>
                </c:pt>
                <c:pt idx="5062">
                  <c:v>8092.8795057529142</c:v>
                </c:pt>
                <c:pt idx="5063">
                  <c:v>7649.9590917804626</c:v>
                </c:pt>
                <c:pt idx="5064">
                  <c:v>7363.0577926779315</c:v>
                </c:pt>
                <c:pt idx="5065">
                  <c:v>7211.4492378021987</c:v>
                </c:pt>
                <c:pt idx="5066">
                  <c:v>7170.2388863486012</c:v>
                </c:pt>
                <c:pt idx="5067">
                  <c:v>7094.0704390122619</c:v>
                </c:pt>
                <c:pt idx="5068">
                  <c:v>6996.6795355095792</c:v>
                </c:pt>
                <c:pt idx="5069">
                  <c:v>7200.2999219949625</c:v>
                </c:pt>
                <c:pt idx="5070">
                  <c:v>7338.8626320550766</c:v>
                </c:pt>
                <c:pt idx="5071">
                  <c:v>7569.9292277732166</c:v>
                </c:pt>
                <c:pt idx="5072">
                  <c:v>7790.1086574428546</c:v>
                </c:pt>
                <c:pt idx="5073">
                  <c:v>7925.4854933102797</c:v>
                </c:pt>
                <c:pt idx="5074">
                  <c:v>8056.3957738654044</c:v>
                </c:pt>
                <c:pt idx="5075">
                  <c:v>8099.8676321255425</c:v>
                </c:pt>
                <c:pt idx="5076">
                  <c:v>8066.9619797168398</c:v>
                </c:pt>
                <c:pt idx="5077">
                  <c:v>8063.4089034246845</c:v>
                </c:pt>
                <c:pt idx="5078">
                  <c:v>8093.5319142242397</c:v>
                </c:pt>
                <c:pt idx="5079">
                  <c:v>8108.1019133310056</c:v>
                </c:pt>
                <c:pt idx="5080">
                  <c:v>8207.9349769948858</c:v>
                </c:pt>
                <c:pt idx="5081">
                  <c:v>8298.8616002686867</c:v>
                </c:pt>
                <c:pt idx="5082">
                  <c:v>8319.5230062706814</c:v>
                </c:pt>
                <c:pt idx="5083">
                  <c:v>8250.8657131193377</c:v>
                </c:pt>
                <c:pt idx="5084">
                  <c:v>7964.1579718123703</c:v>
                </c:pt>
                <c:pt idx="5085">
                  <c:v>8125.0534287103856</c:v>
                </c:pt>
                <c:pt idx="5086">
                  <c:v>8018.8847323008658</c:v>
                </c:pt>
                <c:pt idx="5087">
                  <c:v>7611.993563993602</c:v>
                </c:pt>
                <c:pt idx="5088">
                  <c:v>7244.4839944396226</c:v>
                </c:pt>
                <c:pt idx="5089">
                  <c:v>7080.0547917604063</c:v>
                </c:pt>
                <c:pt idx="5090">
                  <c:v>6984.2421868799274</c:v>
                </c:pt>
                <c:pt idx="5091">
                  <c:v>6900.2399015948558</c:v>
                </c:pt>
                <c:pt idx="5092">
                  <c:v>6815.7703434038149</c:v>
                </c:pt>
                <c:pt idx="5093">
                  <c:v>6940.5178032876829</c:v>
                </c:pt>
                <c:pt idx="5094">
                  <c:v>7104.9259170991345</c:v>
                </c:pt>
                <c:pt idx="5095">
                  <c:v>7364.1211822174355</c:v>
                </c:pt>
                <c:pt idx="5096">
                  <c:v>7594.7783341542763</c:v>
                </c:pt>
                <c:pt idx="5097">
                  <c:v>7827.1074664718362</c:v>
                </c:pt>
                <c:pt idx="5098">
                  <c:v>7941.4861995584097</c:v>
                </c:pt>
                <c:pt idx="5099">
                  <c:v>7996.7134411210391</c:v>
                </c:pt>
                <c:pt idx="5100">
                  <c:v>7981.0325388757365</c:v>
                </c:pt>
                <c:pt idx="5101">
                  <c:v>7980.4572916668185</c:v>
                </c:pt>
                <c:pt idx="5102">
                  <c:v>8024.7638625753343</c:v>
                </c:pt>
                <c:pt idx="5103">
                  <c:v>7964.6761089786305</c:v>
                </c:pt>
                <c:pt idx="5104">
                  <c:v>8008.5223382549611</c:v>
                </c:pt>
                <c:pt idx="5105">
                  <c:v>8050.4870260392954</c:v>
                </c:pt>
                <c:pt idx="5106">
                  <c:v>8167.5660215792022</c:v>
                </c:pt>
                <c:pt idx="5107">
                  <c:v>8077.60438624989</c:v>
                </c:pt>
                <c:pt idx="5108">
                  <c:v>7869.3246014720698</c:v>
                </c:pt>
                <c:pt idx="5109">
                  <c:v>8125.352318350785</c:v>
                </c:pt>
                <c:pt idx="5110">
                  <c:v>7941.9697674247564</c:v>
                </c:pt>
                <c:pt idx="5111">
                  <c:v>7535.9902449154652</c:v>
                </c:pt>
                <c:pt idx="5112">
                  <c:v>7202.8970686360935</c:v>
                </c:pt>
                <c:pt idx="5113">
                  <c:v>7039.1873685233368</c:v>
                </c:pt>
                <c:pt idx="5114">
                  <c:v>7067.086034902577</c:v>
                </c:pt>
                <c:pt idx="5115">
                  <c:v>7072.8039543692003</c:v>
                </c:pt>
                <c:pt idx="5116">
                  <c:v>7201.0275608718784</c:v>
                </c:pt>
                <c:pt idx="5117">
                  <c:v>7686.7739885825567</c:v>
                </c:pt>
                <c:pt idx="5118">
                  <c:v>8183.0085962077128</c:v>
                </c:pt>
                <c:pt idx="5119">
                  <c:v>8507.0717287193729</c:v>
                </c:pt>
                <c:pt idx="5120">
                  <c:v>8716.8255451551177</c:v>
                </c:pt>
                <c:pt idx="5121">
                  <c:v>8744.3435738591816</c:v>
                </c:pt>
                <c:pt idx="5122">
                  <c:v>8836.2764270745993</c:v>
                </c:pt>
                <c:pt idx="5123">
                  <c:v>8863.7397182299446</c:v>
                </c:pt>
                <c:pt idx="5124">
                  <c:v>8810.8680053919907</c:v>
                </c:pt>
                <c:pt idx="5125">
                  <c:v>8746.124103740658</c:v>
                </c:pt>
                <c:pt idx="5126">
                  <c:v>8664.6538218838105</c:v>
                </c:pt>
                <c:pt idx="5127">
                  <c:v>8645.7327768668983</c:v>
                </c:pt>
                <c:pt idx="5128">
                  <c:v>8572.4079946042857</c:v>
                </c:pt>
                <c:pt idx="5129">
                  <c:v>8561.5656966652623</c:v>
                </c:pt>
                <c:pt idx="5130">
                  <c:v>8621.4034480260034</c:v>
                </c:pt>
                <c:pt idx="5131">
                  <c:v>8603.8832002149211</c:v>
                </c:pt>
                <c:pt idx="5132">
                  <c:v>8369.4109398836099</c:v>
                </c:pt>
                <c:pt idx="5133">
                  <c:v>8520.2443221241792</c:v>
                </c:pt>
                <c:pt idx="5134">
                  <c:v>8227.8355774207539</c:v>
                </c:pt>
                <c:pt idx="5135">
                  <c:v>7719.0452272697494</c:v>
                </c:pt>
                <c:pt idx="5136">
                  <c:v>7371.1308489487819</c:v>
                </c:pt>
                <c:pt idx="5137">
                  <c:v>7208.1045452763774</c:v>
                </c:pt>
                <c:pt idx="5138">
                  <c:v>7161.7241552597661</c:v>
                </c:pt>
                <c:pt idx="5139">
                  <c:v>7136.6808839522791</c:v>
                </c:pt>
                <c:pt idx="5140">
                  <c:v>7288.2750448488441</c:v>
                </c:pt>
                <c:pt idx="5141">
                  <c:v>7821.2545961466158</c:v>
                </c:pt>
                <c:pt idx="5142">
                  <c:v>8252.890049009673</c:v>
                </c:pt>
                <c:pt idx="5143">
                  <c:v>8556.8315681745808</c:v>
                </c:pt>
                <c:pt idx="5144">
                  <c:v>8738.311352857274</c:v>
                </c:pt>
                <c:pt idx="5145">
                  <c:v>8732.6206656916274</c:v>
                </c:pt>
                <c:pt idx="5146">
                  <c:v>8797.5034063559488</c:v>
                </c:pt>
                <c:pt idx="5147">
                  <c:v>8971.96550467614</c:v>
                </c:pt>
                <c:pt idx="5148">
                  <c:v>8900.1229364555711</c:v>
                </c:pt>
                <c:pt idx="5149">
                  <c:v>8837.039855697536</c:v>
                </c:pt>
                <c:pt idx="5150">
                  <c:v>8771.6033959826163</c:v>
                </c:pt>
                <c:pt idx="5151">
                  <c:v>8712.7374670472218</c:v>
                </c:pt>
                <c:pt idx="5152">
                  <c:v>8638.2463931763359</c:v>
                </c:pt>
                <c:pt idx="5153">
                  <c:v>8577.7372555737111</c:v>
                </c:pt>
                <c:pt idx="5154">
                  <c:v>8590.6389913653529</c:v>
                </c:pt>
                <c:pt idx="5155">
                  <c:v>8543.3793810650277</c:v>
                </c:pt>
                <c:pt idx="5156">
                  <c:v>8285.4488370857434</c:v>
                </c:pt>
                <c:pt idx="5157">
                  <c:v>8452.5902866634424</c:v>
                </c:pt>
                <c:pt idx="5158">
                  <c:v>8264.9926630330301</c:v>
                </c:pt>
                <c:pt idx="5159">
                  <c:v>7763.5854324978318</c:v>
                </c:pt>
                <c:pt idx="5160">
                  <c:v>7465.558281906252</c:v>
                </c:pt>
                <c:pt idx="5161">
                  <c:v>7308.2771366062289</c:v>
                </c:pt>
                <c:pt idx="5162">
                  <c:v>7315.5760306025595</c:v>
                </c:pt>
                <c:pt idx="5163">
                  <c:v>7271.8803471189412</c:v>
                </c:pt>
                <c:pt idx="5164">
                  <c:v>7351.7415990189629</c:v>
                </c:pt>
                <c:pt idx="5165">
                  <c:v>7888.0569000182595</c:v>
                </c:pt>
                <c:pt idx="5166">
                  <c:v>8387.8511031012531</c:v>
                </c:pt>
                <c:pt idx="5167">
                  <c:v>8603.2069314165783</c:v>
                </c:pt>
                <c:pt idx="5168">
                  <c:v>8739.4555808759123</c:v>
                </c:pt>
                <c:pt idx="5169">
                  <c:v>8770.0977761723825</c:v>
                </c:pt>
                <c:pt idx="5170">
                  <c:v>8830.2743246776881</c:v>
                </c:pt>
                <c:pt idx="5171">
                  <c:v>8844.9876096561966</c:v>
                </c:pt>
                <c:pt idx="5172">
                  <c:v>8838.5954777692314</c:v>
                </c:pt>
                <c:pt idx="5173">
                  <c:v>8777.0172189055447</c:v>
                </c:pt>
                <c:pt idx="5174">
                  <c:v>8707.9633879951871</c:v>
                </c:pt>
                <c:pt idx="5175">
                  <c:v>8596.934346876269</c:v>
                </c:pt>
                <c:pt idx="5176">
                  <c:v>8535.599114888726</c:v>
                </c:pt>
                <c:pt idx="5177">
                  <c:v>8494.019103184186</c:v>
                </c:pt>
                <c:pt idx="5178">
                  <c:v>8575.4406430156359</c:v>
                </c:pt>
                <c:pt idx="5179">
                  <c:v>8539.2378831502538</c:v>
                </c:pt>
                <c:pt idx="5180">
                  <c:v>8258.6856776945751</c:v>
                </c:pt>
                <c:pt idx="5181">
                  <c:v>8472.377789061411</c:v>
                </c:pt>
                <c:pt idx="5182">
                  <c:v>8260.3120101897221</c:v>
                </c:pt>
                <c:pt idx="5183">
                  <c:v>7829.6182537264986</c:v>
                </c:pt>
                <c:pt idx="5184">
                  <c:v>7575.044141850648</c:v>
                </c:pt>
                <c:pt idx="5185">
                  <c:v>7423.8552509303199</c:v>
                </c:pt>
                <c:pt idx="5186">
                  <c:v>7400.5430078414729</c:v>
                </c:pt>
                <c:pt idx="5187">
                  <c:v>7418.887297541306</c:v>
                </c:pt>
                <c:pt idx="5188">
                  <c:v>7495.3860914093311</c:v>
                </c:pt>
                <c:pt idx="5189">
                  <c:v>7972.0906662260886</c:v>
                </c:pt>
                <c:pt idx="5190">
                  <c:v>8302.6508758295477</c:v>
                </c:pt>
                <c:pt idx="5191">
                  <c:v>8427.1093858632084</c:v>
                </c:pt>
                <c:pt idx="5192">
                  <c:v>8554.3874054592325</c:v>
                </c:pt>
                <c:pt idx="5193">
                  <c:v>8722.4103127557519</c:v>
                </c:pt>
                <c:pt idx="5194">
                  <c:v>8854.186014092058</c:v>
                </c:pt>
                <c:pt idx="5195">
                  <c:v>8861.3955969539002</c:v>
                </c:pt>
                <c:pt idx="5196">
                  <c:v>8857.8437866522272</c:v>
                </c:pt>
                <c:pt idx="5197">
                  <c:v>8793.95128571036</c:v>
                </c:pt>
                <c:pt idx="5198">
                  <c:v>8722.3520201678566</c:v>
                </c:pt>
                <c:pt idx="5199">
                  <c:v>8651.6863920496617</c:v>
                </c:pt>
                <c:pt idx="5200">
                  <c:v>8621.9899289194273</c:v>
                </c:pt>
                <c:pt idx="5201">
                  <c:v>8602.8522585641967</c:v>
                </c:pt>
                <c:pt idx="5202">
                  <c:v>8620.1300815025879</c:v>
                </c:pt>
                <c:pt idx="5203">
                  <c:v>8569.0600974020272</c:v>
                </c:pt>
                <c:pt idx="5204">
                  <c:v>8318.7373795270451</c:v>
                </c:pt>
                <c:pt idx="5205">
                  <c:v>8478.1012208725206</c:v>
                </c:pt>
                <c:pt idx="5206">
                  <c:v>8308.6943896342455</c:v>
                </c:pt>
                <c:pt idx="5207">
                  <c:v>7851.923244296353</c:v>
                </c:pt>
                <c:pt idx="5208">
                  <c:v>7535.0712402517365</c:v>
                </c:pt>
                <c:pt idx="5209">
                  <c:v>7368.085951768664</c:v>
                </c:pt>
                <c:pt idx="5210">
                  <c:v>7329.8501384751771</c:v>
                </c:pt>
                <c:pt idx="5211">
                  <c:v>7374.1199830514879</c:v>
                </c:pt>
                <c:pt idx="5212">
                  <c:v>7474.0920325470988</c:v>
                </c:pt>
                <c:pt idx="5213">
                  <c:v>7994.1812472979609</c:v>
                </c:pt>
                <c:pt idx="5214">
                  <c:v>8378.3123542300236</c:v>
                </c:pt>
                <c:pt idx="5215">
                  <c:v>8577.2274817550406</c:v>
                </c:pt>
                <c:pt idx="5216">
                  <c:v>8787.5514977331986</c:v>
                </c:pt>
                <c:pt idx="5217">
                  <c:v>8854.4915340011103</c:v>
                </c:pt>
                <c:pt idx="5218">
                  <c:v>8868.5401845145534</c:v>
                </c:pt>
                <c:pt idx="5219">
                  <c:v>8911.5370143355376</c:v>
                </c:pt>
                <c:pt idx="5220">
                  <c:v>8784.4030194429615</c:v>
                </c:pt>
                <c:pt idx="5221">
                  <c:v>8731.000501163413</c:v>
                </c:pt>
                <c:pt idx="5222">
                  <c:v>8778.3100133077969</c:v>
                </c:pt>
                <c:pt idx="5223">
                  <c:v>8745.7564277836718</c:v>
                </c:pt>
                <c:pt idx="5224">
                  <c:v>8676.7333711884858</c:v>
                </c:pt>
                <c:pt idx="5225">
                  <c:v>8618.9807673003943</c:v>
                </c:pt>
                <c:pt idx="5226">
                  <c:v>8551.5688631571957</c:v>
                </c:pt>
                <c:pt idx="5227">
                  <c:v>8472.6314993980395</c:v>
                </c:pt>
                <c:pt idx="5228">
                  <c:v>8283.9802504271902</c:v>
                </c:pt>
                <c:pt idx="5229">
                  <c:v>8448.0223660444935</c:v>
                </c:pt>
                <c:pt idx="5230">
                  <c:v>8211.3177360145273</c:v>
                </c:pt>
                <c:pt idx="5231">
                  <c:v>7761.2727001761614</c:v>
                </c:pt>
                <c:pt idx="5232">
                  <c:v>7422.7032719353519</c:v>
                </c:pt>
                <c:pt idx="5233">
                  <c:v>7249.7756267428886</c:v>
                </c:pt>
                <c:pt idx="5234">
                  <c:v>7191.7382700872095</c:v>
                </c:pt>
                <c:pt idx="5235">
                  <c:v>7183.1817855870895</c:v>
                </c:pt>
                <c:pt idx="5236">
                  <c:v>7110.4299397932946</c:v>
                </c:pt>
                <c:pt idx="5237">
                  <c:v>7234.2844754223106</c:v>
                </c:pt>
                <c:pt idx="5238">
                  <c:v>7452.0278039752775</c:v>
                </c:pt>
                <c:pt idx="5239">
                  <c:v>7646.1958123550276</c:v>
                </c:pt>
                <c:pt idx="5240">
                  <c:v>7839.5481593597233</c:v>
                </c:pt>
                <c:pt idx="5241">
                  <c:v>8021.5656583782074</c:v>
                </c:pt>
                <c:pt idx="5242">
                  <c:v>8139.339221103508</c:v>
                </c:pt>
                <c:pt idx="5243">
                  <c:v>8169.2993974885403</c:v>
                </c:pt>
                <c:pt idx="5244">
                  <c:v>8161.7584285001667</c:v>
                </c:pt>
                <c:pt idx="5245">
                  <c:v>8149.5584881467821</c:v>
                </c:pt>
                <c:pt idx="5246">
                  <c:v>8203.1478778749934</c:v>
                </c:pt>
                <c:pt idx="5247">
                  <c:v>8301.1904587700628</c:v>
                </c:pt>
                <c:pt idx="5248">
                  <c:v>8401.7860658835853</c:v>
                </c:pt>
                <c:pt idx="5249">
                  <c:v>8544.4646175715152</c:v>
                </c:pt>
                <c:pt idx="5250">
                  <c:v>8547.3587316744324</c:v>
                </c:pt>
                <c:pt idx="5251">
                  <c:v>8394.0792004174436</c:v>
                </c:pt>
                <c:pt idx="5252">
                  <c:v>8142.0383326558422</c:v>
                </c:pt>
                <c:pt idx="5253">
                  <c:v>8327.5019944292253</c:v>
                </c:pt>
                <c:pt idx="5254">
                  <c:v>8054.3276892301692</c:v>
                </c:pt>
                <c:pt idx="5255">
                  <c:v>7636.6589248637029</c:v>
                </c:pt>
                <c:pt idx="5256">
                  <c:v>7261.3082983314516</c:v>
                </c:pt>
                <c:pt idx="5257">
                  <c:v>7098.7397437910849</c:v>
                </c:pt>
                <c:pt idx="5258">
                  <c:v>7049.5211701229146</c:v>
                </c:pt>
                <c:pt idx="5259">
                  <c:v>7050.086905439317</c:v>
                </c:pt>
                <c:pt idx="5260">
                  <c:v>6947.7444419661133</c:v>
                </c:pt>
                <c:pt idx="5261">
                  <c:v>7009.783386283726</c:v>
                </c:pt>
                <c:pt idx="5262">
                  <c:v>7155.0424320999937</c:v>
                </c:pt>
                <c:pt idx="5263">
                  <c:v>7433.982652932903</c:v>
                </c:pt>
                <c:pt idx="5264">
                  <c:v>7715.9439994684071</c:v>
                </c:pt>
                <c:pt idx="5265">
                  <c:v>7975.6159935397172</c:v>
                </c:pt>
                <c:pt idx="5266">
                  <c:v>8084.7273086394525</c:v>
                </c:pt>
                <c:pt idx="5267">
                  <c:v>8089.8308886713548</c:v>
                </c:pt>
                <c:pt idx="5268">
                  <c:v>8087.9792821666906</c:v>
                </c:pt>
                <c:pt idx="5269">
                  <c:v>8058.5683641880823</c:v>
                </c:pt>
                <c:pt idx="5270">
                  <c:v>8074.0479401682705</c:v>
                </c:pt>
                <c:pt idx="5271">
                  <c:v>8047.12328860874</c:v>
                </c:pt>
                <c:pt idx="5272">
                  <c:v>8076.3077730734467</c:v>
                </c:pt>
                <c:pt idx="5273">
                  <c:v>8196.4682410978985</c:v>
                </c:pt>
                <c:pt idx="5274">
                  <c:v>8278.3663944631098</c:v>
                </c:pt>
                <c:pt idx="5275">
                  <c:v>8229.353568699973</c:v>
                </c:pt>
                <c:pt idx="5276">
                  <c:v>8028.8544082656645</c:v>
                </c:pt>
                <c:pt idx="5277">
                  <c:v>8250.9818290566454</c:v>
                </c:pt>
                <c:pt idx="5278">
                  <c:v>8001.7305481088888</c:v>
                </c:pt>
                <c:pt idx="5279">
                  <c:v>7496.2791420989815</c:v>
                </c:pt>
                <c:pt idx="5280">
                  <c:v>7251.6067157606267</c:v>
                </c:pt>
                <c:pt idx="5281">
                  <c:v>7100.0206781032557</c:v>
                </c:pt>
                <c:pt idx="5282">
                  <c:v>7066.6132212435195</c:v>
                </c:pt>
                <c:pt idx="5283">
                  <c:v>7111.2985072512083</c:v>
                </c:pt>
                <c:pt idx="5284">
                  <c:v>7252.1172551914542</c:v>
                </c:pt>
                <c:pt idx="5285">
                  <c:v>7808.2344759211128</c:v>
                </c:pt>
                <c:pt idx="5286">
                  <c:v>8304.6868479270452</c:v>
                </c:pt>
                <c:pt idx="5287">
                  <c:v>8758.2173396160215</c:v>
                </c:pt>
                <c:pt idx="5288">
                  <c:v>9015.6308944933917</c:v>
                </c:pt>
                <c:pt idx="5289">
                  <c:v>9081.3008541104464</c:v>
                </c:pt>
                <c:pt idx="5290">
                  <c:v>9113.2493018627847</c:v>
                </c:pt>
                <c:pt idx="5291">
                  <c:v>9117.8085358394146</c:v>
                </c:pt>
                <c:pt idx="5292">
                  <c:v>9090.072507296929</c:v>
                </c:pt>
                <c:pt idx="5293">
                  <c:v>9051.7575428389373</c:v>
                </c:pt>
                <c:pt idx="5294">
                  <c:v>8980.1442300158287</c:v>
                </c:pt>
                <c:pt idx="5295">
                  <c:v>8918.742113875418</c:v>
                </c:pt>
                <c:pt idx="5296">
                  <c:v>8863.4884010476781</c:v>
                </c:pt>
                <c:pt idx="5297">
                  <c:v>8763.0727999228038</c:v>
                </c:pt>
                <c:pt idx="5298">
                  <c:v>8757.2241758474283</c:v>
                </c:pt>
                <c:pt idx="5299">
                  <c:v>8660.5238624547292</c:v>
                </c:pt>
                <c:pt idx="5300">
                  <c:v>8437.0837799295896</c:v>
                </c:pt>
                <c:pt idx="5301">
                  <c:v>8574.0929172031665</c:v>
                </c:pt>
                <c:pt idx="5302">
                  <c:v>8225.0009126809546</c:v>
                </c:pt>
                <c:pt idx="5303">
                  <c:v>7771.0942367967964</c:v>
                </c:pt>
                <c:pt idx="5304">
                  <c:v>7431.3787852741798</c:v>
                </c:pt>
                <c:pt idx="5305">
                  <c:v>7273.8536275893775</c:v>
                </c:pt>
                <c:pt idx="5306">
                  <c:v>7256.2796668469655</c:v>
                </c:pt>
                <c:pt idx="5307">
                  <c:v>7308.1634316071022</c:v>
                </c:pt>
                <c:pt idx="5308">
                  <c:v>7329.7672626925905</c:v>
                </c:pt>
                <c:pt idx="5309">
                  <c:v>7809.6097370418165</c:v>
                </c:pt>
                <c:pt idx="5310">
                  <c:v>8317.970682538069</c:v>
                </c:pt>
                <c:pt idx="5311">
                  <c:v>8624.5666492940054</c:v>
                </c:pt>
                <c:pt idx="5312">
                  <c:v>8752.7255807532183</c:v>
                </c:pt>
                <c:pt idx="5313">
                  <c:v>8793.470224345976</c:v>
                </c:pt>
                <c:pt idx="5314">
                  <c:v>8901.6512372602829</c:v>
                </c:pt>
                <c:pt idx="5315">
                  <c:v>8924.0980708426978</c:v>
                </c:pt>
                <c:pt idx="5316">
                  <c:v>8829.6934325851707</c:v>
                </c:pt>
                <c:pt idx="5317">
                  <c:v>8831.6869595456155</c:v>
                </c:pt>
                <c:pt idx="5318">
                  <c:v>8825.8693059590514</c:v>
                </c:pt>
                <c:pt idx="5319">
                  <c:v>8755.8161446477934</c:v>
                </c:pt>
                <c:pt idx="5320">
                  <c:v>8715.8256231481264</c:v>
                </c:pt>
                <c:pt idx="5321">
                  <c:v>8619.9670634369777</c:v>
                </c:pt>
                <c:pt idx="5322">
                  <c:v>8785.5868562392825</c:v>
                </c:pt>
                <c:pt idx="5323">
                  <c:v>8707.4300079397872</c:v>
                </c:pt>
                <c:pt idx="5324">
                  <c:v>8497.9488917114268</c:v>
                </c:pt>
                <c:pt idx="5325">
                  <c:v>8603.3010144197851</c:v>
                </c:pt>
                <c:pt idx="5326">
                  <c:v>8308.5715243951545</c:v>
                </c:pt>
                <c:pt idx="5327">
                  <c:v>7812.0258701955408</c:v>
                </c:pt>
                <c:pt idx="5328">
                  <c:v>7517.6788620675143</c:v>
                </c:pt>
                <c:pt idx="5329">
                  <c:v>7380.3350380317279</c:v>
                </c:pt>
                <c:pt idx="5330">
                  <c:v>7330.5629798805476</c:v>
                </c:pt>
                <c:pt idx="5331">
                  <c:v>7373.8578602117541</c:v>
                </c:pt>
                <c:pt idx="5332">
                  <c:v>7495.9472931247255</c:v>
                </c:pt>
                <c:pt idx="5333">
                  <c:v>8020.8659993200254</c:v>
                </c:pt>
                <c:pt idx="5334">
                  <c:v>8558.7442756588498</c:v>
                </c:pt>
                <c:pt idx="5335">
                  <c:v>8889.5117954870875</c:v>
                </c:pt>
                <c:pt idx="5336">
                  <c:v>9080.5945224601492</c:v>
                </c:pt>
                <c:pt idx="5337">
                  <c:v>9127.0842534469157</c:v>
                </c:pt>
                <c:pt idx="5338">
                  <c:v>9134.8831723209696</c:v>
                </c:pt>
                <c:pt idx="5339">
                  <c:v>9169.1616694739751</c:v>
                </c:pt>
                <c:pt idx="5340">
                  <c:v>9132.8624961672194</c:v>
                </c:pt>
                <c:pt idx="5341">
                  <c:v>9035.9255089973703</c:v>
                </c:pt>
                <c:pt idx="5342">
                  <c:v>8973.2457715918117</c:v>
                </c:pt>
                <c:pt idx="5343">
                  <c:v>8890.6109420791909</c:v>
                </c:pt>
                <c:pt idx="5344">
                  <c:v>8823.1047411014843</c:v>
                </c:pt>
                <c:pt idx="5345">
                  <c:v>8786.9105928359222</c:v>
                </c:pt>
                <c:pt idx="5346">
                  <c:v>8863.3245305499731</c:v>
                </c:pt>
                <c:pt idx="5347">
                  <c:v>8807.662004210677</c:v>
                </c:pt>
                <c:pt idx="5348">
                  <c:v>8569.8891385497463</c:v>
                </c:pt>
                <c:pt idx="5349">
                  <c:v>8676.5982268510834</c:v>
                </c:pt>
                <c:pt idx="5350">
                  <c:v>8362.2014895446264</c:v>
                </c:pt>
                <c:pt idx="5351">
                  <c:v>7888.3460865465731</c:v>
                </c:pt>
                <c:pt idx="5352">
                  <c:v>7550.9575021803976</c:v>
                </c:pt>
                <c:pt idx="5353">
                  <c:v>7383.2558996712314</c:v>
                </c:pt>
                <c:pt idx="5354">
                  <c:v>7301.879984340082</c:v>
                </c:pt>
                <c:pt idx="5355">
                  <c:v>7366.4011781593344</c:v>
                </c:pt>
                <c:pt idx="5356">
                  <c:v>7450.7490489031788</c:v>
                </c:pt>
                <c:pt idx="5357">
                  <c:v>7988.8590099303947</c:v>
                </c:pt>
                <c:pt idx="5358">
                  <c:v>8543.4682446369297</c:v>
                </c:pt>
                <c:pt idx="5359">
                  <c:v>8825.5784766546494</c:v>
                </c:pt>
                <c:pt idx="5360">
                  <c:v>8971.319464412205</c:v>
                </c:pt>
                <c:pt idx="5361">
                  <c:v>8979.0949860883138</c:v>
                </c:pt>
                <c:pt idx="5362">
                  <c:v>9070.9364083736527</c:v>
                </c:pt>
                <c:pt idx="5363">
                  <c:v>9081.2391051700361</c:v>
                </c:pt>
                <c:pt idx="5364">
                  <c:v>8999.4409906143319</c:v>
                </c:pt>
                <c:pt idx="5365">
                  <c:v>8951.7090305528982</c:v>
                </c:pt>
                <c:pt idx="5366">
                  <c:v>8926.3137945764302</c:v>
                </c:pt>
                <c:pt idx="5367">
                  <c:v>8876.6655076327534</c:v>
                </c:pt>
                <c:pt idx="5368">
                  <c:v>8874.9431849488374</c:v>
                </c:pt>
                <c:pt idx="5369">
                  <c:v>8721.2972862156294</c:v>
                </c:pt>
                <c:pt idx="5370">
                  <c:v>8727.8780181064103</c:v>
                </c:pt>
                <c:pt idx="5371">
                  <c:v>8687.1926855487727</c:v>
                </c:pt>
                <c:pt idx="5372">
                  <c:v>8437.0047761281858</c:v>
                </c:pt>
                <c:pt idx="5373">
                  <c:v>8614.078019960145</c:v>
                </c:pt>
                <c:pt idx="5374">
                  <c:v>8258.3409638203284</c:v>
                </c:pt>
                <c:pt idx="5375">
                  <c:v>7829.8724168052568</c:v>
                </c:pt>
                <c:pt idx="5376">
                  <c:v>7508.3717794870836</c:v>
                </c:pt>
                <c:pt idx="5377">
                  <c:v>7323.0270997303614</c:v>
                </c:pt>
                <c:pt idx="5378">
                  <c:v>7345.8178035172332</c:v>
                </c:pt>
                <c:pt idx="5379">
                  <c:v>7424.0403963857234</c:v>
                </c:pt>
                <c:pt idx="5380">
                  <c:v>7568.2333179213201</c:v>
                </c:pt>
                <c:pt idx="5381">
                  <c:v>8127.373984775938</c:v>
                </c:pt>
                <c:pt idx="5382">
                  <c:v>8682.2325761704069</c:v>
                </c:pt>
                <c:pt idx="5383">
                  <c:v>8966.8440195584681</c:v>
                </c:pt>
                <c:pt idx="5384">
                  <c:v>9160.5652843377684</c:v>
                </c:pt>
                <c:pt idx="5385">
                  <c:v>9216.5960919575846</c:v>
                </c:pt>
                <c:pt idx="5386">
                  <c:v>9192.3349026140113</c:v>
                </c:pt>
                <c:pt idx="5387">
                  <c:v>9124.3102152938372</c:v>
                </c:pt>
                <c:pt idx="5388">
                  <c:v>9031.9708354409158</c:v>
                </c:pt>
                <c:pt idx="5389">
                  <c:v>8962.2216355290548</c:v>
                </c:pt>
                <c:pt idx="5390">
                  <c:v>8904.9709444088694</c:v>
                </c:pt>
                <c:pt idx="5391">
                  <c:v>8884.9395883210145</c:v>
                </c:pt>
                <c:pt idx="5392">
                  <c:v>8801.8970179031694</c:v>
                </c:pt>
                <c:pt idx="5393">
                  <c:v>8736.2766588879822</c:v>
                </c:pt>
                <c:pt idx="5394">
                  <c:v>8692.3568681407505</c:v>
                </c:pt>
                <c:pt idx="5395">
                  <c:v>8588.4007919971773</c:v>
                </c:pt>
                <c:pt idx="5396">
                  <c:v>8378.415049032672</c:v>
                </c:pt>
                <c:pt idx="5397">
                  <c:v>8547.7993950981781</c:v>
                </c:pt>
                <c:pt idx="5398">
                  <c:v>8185.800731022171</c:v>
                </c:pt>
                <c:pt idx="5399">
                  <c:v>7715.941361031113</c:v>
                </c:pt>
                <c:pt idx="5400">
                  <c:v>7367.2566252637744</c:v>
                </c:pt>
                <c:pt idx="5401">
                  <c:v>7184.1698131585817</c:v>
                </c:pt>
                <c:pt idx="5402">
                  <c:v>7080.5020425548992</c:v>
                </c:pt>
                <c:pt idx="5403">
                  <c:v>7015.84820426226</c:v>
                </c:pt>
                <c:pt idx="5404">
                  <c:v>7017.2884826844474</c:v>
                </c:pt>
                <c:pt idx="5405">
                  <c:v>7157.8365700287595</c:v>
                </c:pt>
                <c:pt idx="5406">
                  <c:v>7351.0540290086092</c:v>
                </c:pt>
                <c:pt idx="5407">
                  <c:v>7676.3350902538486</c:v>
                </c:pt>
                <c:pt idx="5408">
                  <c:v>7920.8166113633815</c:v>
                </c:pt>
                <c:pt idx="5409">
                  <c:v>8184.1793273346429</c:v>
                </c:pt>
                <c:pt idx="5410">
                  <c:v>8291.1213271022461</c:v>
                </c:pt>
                <c:pt idx="5411">
                  <c:v>8332.9395955224936</c:v>
                </c:pt>
                <c:pt idx="5412">
                  <c:v>8274.6749611726627</c:v>
                </c:pt>
                <c:pt idx="5413">
                  <c:v>8211.4813354985727</c:v>
                </c:pt>
                <c:pt idx="5414">
                  <c:v>8283.7346541725728</c:v>
                </c:pt>
                <c:pt idx="5415">
                  <c:v>8355.2962971378638</c:v>
                </c:pt>
                <c:pt idx="5416">
                  <c:v>8469.4859872389607</c:v>
                </c:pt>
                <c:pt idx="5417">
                  <c:v>8507.2976135396966</c:v>
                </c:pt>
                <c:pt idx="5418">
                  <c:v>8472.3102507190633</c:v>
                </c:pt>
                <c:pt idx="5419">
                  <c:v>8377.8633949224186</c:v>
                </c:pt>
                <c:pt idx="5420">
                  <c:v>8158.2619840154684</c:v>
                </c:pt>
                <c:pt idx="5421">
                  <c:v>8320.1894461257289</c:v>
                </c:pt>
                <c:pt idx="5422">
                  <c:v>8002.3200245951575</c:v>
                </c:pt>
                <c:pt idx="5423">
                  <c:v>7534.6401358826552</c:v>
                </c:pt>
                <c:pt idx="5424">
                  <c:v>7210.7840653421417</c:v>
                </c:pt>
                <c:pt idx="5425">
                  <c:v>7038.7294089866691</c:v>
                </c:pt>
                <c:pt idx="5426">
                  <c:v>6970.126755666076</c:v>
                </c:pt>
                <c:pt idx="5427">
                  <c:v>6947.3774784256148</c:v>
                </c:pt>
                <c:pt idx="5428">
                  <c:v>6866.4124820492652</c:v>
                </c:pt>
                <c:pt idx="5429">
                  <c:v>6915.4062468551201</c:v>
                </c:pt>
                <c:pt idx="5430">
                  <c:v>7068.8088328798349</c:v>
                </c:pt>
                <c:pt idx="5431">
                  <c:v>7347.6152344932198</c:v>
                </c:pt>
                <c:pt idx="5432">
                  <c:v>7555.0446062721385</c:v>
                </c:pt>
                <c:pt idx="5433">
                  <c:v>7809.6974010109934</c:v>
                </c:pt>
                <c:pt idx="5434">
                  <c:v>7938.2519670370766</c:v>
                </c:pt>
                <c:pt idx="5435">
                  <c:v>8025.9455966257701</c:v>
                </c:pt>
                <c:pt idx="5436">
                  <c:v>8038.2882496978918</c:v>
                </c:pt>
                <c:pt idx="5437">
                  <c:v>8071.1839528029841</c:v>
                </c:pt>
                <c:pt idx="5438">
                  <c:v>8033.959077483436</c:v>
                </c:pt>
                <c:pt idx="5439">
                  <c:v>8059.5033248474138</c:v>
                </c:pt>
                <c:pt idx="5440">
                  <c:v>8116.5848316952888</c:v>
                </c:pt>
                <c:pt idx="5441">
                  <c:v>8188.801412335235</c:v>
                </c:pt>
                <c:pt idx="5442">
                  <c:v>8306.5538708507956</c:v>
                </c:pt>
                <c:pt idx="5443">
                  <c:v>8274.3732966433054</c:v>
                </c:pt>
                <c:pt idx="5444">
                  <c:v>8075.3634502476698</c:v>
                </c:pt>
                <c:pt idx="5445">
                  <c:v>8281.0119697613209</c:v>
                </c:pt>
                <c:pt idx="5446">
                  <c:v>8087.4290996932414</c:v>
                </c:pt>
                <c:pt idx="5447">
                  <c:v>7667.0094537252062</c:v>
                </c:pt>
                <c:pt idx="5448">
                  <c:v>7329.9055178064236</c:v>
                </c:pt>
                <c:pt idx="5449">
                  <c:v>7162.6052639248037</c:v>
                </c:pt>
                <c:pt idx="5450">
                  <c:v>7147.4856479038735</c:v>
                </c:pt>
                <c:pt idx="5451">
                  <c:v>7196.3563629232121</c:v>
                </c:pt>
                <c:pt idx="5452">
                  <c:v>7320.8627410629588</c:v>
                </c:pt>
                <c:pt idx="5453">
                  <c:v>7946.4748473548234</c:v>
                </c:pt>
                <c:pt idx="5454">
                  <c:v>8563.7768285014681</c:v>
                </c:pt>
                <c:pt idx="5455">
                  <c:v>8802.3047174071671</c:v>
                </c:pt>
                <c:pt idx="5456">
                  <c:v>8878.1441374707501</c:v>
                </c:pt>
                <c:pt idx="5457">
                  <c:v>8963.6226755644493</c:v>
                </c:pt>
                <c:pt idx="5458">
                  <c:v>9015.3705718880356</c:v>
                </c:pt>
                <c:pt idx="5459">
                  <c:v>8968.8272120915444</c:v>
                </c:pt>
                <c:pt idx="5460">
                  <c:v>9022.8725462833736</c:v>
                </c:pt>
                <c:pt idx="5461">
                  <c:v>8971.1756908660609</c:v>
                </c:pt>
                <c:pt idx="5462">
                  <c:v>8872.6744866336503</c:v>
                </c:pt>
                <c:pt idx="5463">
                  <c:v>8772.8409323889609</c:v>
                </c:pt>
                <c:pt idx="5464">
                  <c:v>8722.6019357465575</c:v>
                </c:pt>
                <c:pt idx="5465">
                  <c:v>8684.7663305563219</c:v>
                </c:pt>
                <c:pt idx="5466">
                  <c:v>8778.6104584257919</c:v>
                </c:pt>
                <c:pt idx="5467">
                  <c:v>8741.9108899706716</c:v>
                </c:pt>
                <c:pt idx="5468">
                  <c:v>8563.3723877856864</c:v>
                </c:pt>
                <c:pt idx="5469">
                  <c:v>8628.1258631478231</c:v>
                </c:pt>
                <c:pt idx="5470">
                  <c:v>8279.5721648402669</c:v>
                </c:pt>
                <c:pt idx="5471">
                  <c:v>7757.9173743893552</c:v>
                </c:pt>
                <c:pt idx="5472">
                  <c:v>7466.658960241557</c:v>
                </c:pt>
                <c:pt idx="5473">
                  <c:v>7379.2289973517773</c:v>
                </c:pt>
                <c:pt idx="5474">
                  <c:v>7295.4741664679859</c:v>
                </c:pt>
                <c:pt idx="5475">
                  <c:v>7404.2820985002763</c:v>
                </c:pt>
                <c:pt idx="5476">
                  <c:v>7584.114212283921</c:v>
                </c:pt>
                <c:pt idx="5477">
                  <c:v>8123.9875615497849</c:v>
                </c:pt>
                <c:pt idx="5478">
                  <c:v>8678.8758499012438</c:v>
                </c:pt>
                <c:pt idx="5479">
                  <c:v>8932.1442860656862</c:v>
                </c:pt>
                <c:pt idx="5480">
                  <c:v>9098.8958830054544</c:v>
                </c:pt>
                <c:pt idx="5481">
                  <c:v>9180.7289895188842</c:v>
                </c:pt>
                <c:pt idx="5482">
                  <c:v>9193.0303702982401</c:v>
                </c:pt>
                <c:pt idx="5483">
                  <c:v>9217.4579572189523</c:v>
                </c:pt>
                <c:pt idx="5484">
                  <c:v>9107.38871219459</c:v>
                </c:pt>
                <c:pt idx="5485">
                  <c:v>9078.2132818214177</c:v>
                </c:pt>
                <c:pt idx="5486">
                  <c:v>8982.8253476512546</c:v>
                </c:pt>
                <c:pt idx="5487">
                  <c:v>8958.4864253393789</c:v>
                </c:pt>
                <c:pt idx="5488">
                  <c:v>9035.4273664685697</c:v>
                </c:pt>
                <c:pt idx="5489">
                  <c:v>9033.5126220080838</c:v>
                </c:pt>
                <c:pt idx="5490">
                  <c:v>9081.841900841695</c:v>
                </c:pt>
                <c:pt idx="5491">
                  <c:v>8990.4386694274508</c:v>
                </c:pt>
                <c:pt idx="5492">
                  <c:v>8802.9828459835426</c:v>
                </c:pt>
                <c:pt idx="5493">
                  <c:v>8739.6478523240639</c:v>
                </c:pt>
                <c:pt idx="5494">
                  <c:v>8369.0393902704436</c:v>
                </c:pt>
                <c:pt idx="5495">
                  <c:v>7851.3673585096021</c:v>
                </c:pt>
                <c:pt idx="5496">
                  <c:v>7542.4964847633719</c:v>
                </c:pt>
                <c:pt idx="5497">
                  <c:v>7396.7894458578703</c:v>
                </c:pt>
                <c:pt idx="5498">
                  <c:v>7323.908465568431</c:v>
                </c:pt>
                <c:pt idx="5499">
                  <c:v>7380.0282632434873</c:v>
                </c:pt>
                <c:pt idx="5500">
                  <c:v>7497.4031152623302</c:v>
                </c:pt>
                <c:pt idx="5501">
                  <c:v>8060.3853635601872</c:v>
                </c:pt>
                <c:pt idx="5502">
                  <c:v>8622.1389155032684</c:v>
                </c:pt>
                <c:pt idx="5503">
                  <c:v>8891.2994876876546</c:v>
                </c:pt>
                <c:pt idx="5504">
                  <c:v>9015.434413646808</c:v>
                </c:pt>
                <c:pt idx="5505">
                  <c:v>9028.8236678202175</c:v>
                </c:pt>
                <c:pt idx="5506">
                  <c:v>9124.8015578432587</c:v>
                </c:pt>
                <c:pt idx="5507">
                  <c:v>9178.4512867063659</c:v>
                </c:pt>
                <c:pt idx="5508">
                  <c:v>9119.7410342122439</c:v>
                </c:pt>
                <c:pt idx="5509">
                  <c:v>9095.9162409558758</c:v>
                </c:pt>
                <c:pt idx="5510">
                  <c:v>9078.2771363681004</c:v>
                </c:pt>
                <c:pt idx="5511">
                  <c:v>9069.5610873181504</c:v>
                </c:pt>
                <c:pt idx="5512">
                  <c:v>9077.140465041075</c:v>
                </c:pt>
                <c:pt idx="5513">
                  <c:v>9039.9909467852849</c:v>
                </c:pt>
                <c:pt idx="5514">
                  <c:v>9147.800246970899</c:v>
                </c:pt>
                <c:pt idx="5515">
                  <c:v>8961.5528239616888</c:v>
                </c:pt>
                <c:pt idx="5516">
                  <c:v>8674.5015877681308</c:v>
                </c:pt>
                <c:pt idx="5517">
                  <c:v>8609.7846307150667</c:v>
                </c:pt>
                <c:pt idx="5518">
                  <c:v>8234.3088083176754</c:v>
                </c:pt>
                <c:pt idx="5519">
                  <c:v>7715.417039581559</c:v>
                </c:pt>
                <c:pt idx="5520">
                  <c:v>7402.6775017589734</c:v>
                </c:pt>
                <c:pt idx="5521">
                  <c:v>7290.8499744784549</c:v>
                </c:pt>
                <c:pt idx="5522">
                  <c:v>7219.0364380197279</c:v>
                </c:pt>
                <c:pt idx="5523">
                  <c:v>7379.6061183318798</c:v>
                </c:pt>
                <c:pt idx="5524">
                  <c:v>7515.8299591553332</c:v>
                </c:pt>
                <c:pt idx="5525">
                  <c:v>8123.2745704357285</c:v>
                </c:pt>
                <c:pt idx="5526">
                  <c:v>8721.3340393964736</c:v>
                </c:pt>
                <c:pt idx="5527">
                  <c:v>8988.9824716745879</c:v>
                </c:pt>
                <c:pt idx="5528">
                  <c:v>9157.1552308554292</c:v>
                </c:pt>
                <c:pt idx="5529">
                  <c:v>9254.0234945762695</c:v>
                </c:pt>
                <c:pt idx="5530">
                  <c:v>9307.9470096022869</c:v>
                </c:pt>
                <c:pt idx="5531">
                  <c:v>9291.9618954051602</c:v>
                </c:pt>
                <c:pt idx="5532">
                  <c:v>9152.365717300263</c:v>
                </c:pt>
                <c:pt idx="5533">
                  <c:v>9070.3705438737852</c:v>
                </c:pt>
                <c:pt idx="5534">
                  <c:v>9022.401492001376</c:v>
                </c:pt>
                <c:pt idx="5535">
                  <c:v>8893.6641003576242</c:v>
                </c:pt>
                <c:pt idx="5536">
                  <c:v>8951.4727062774909</c:v>
                </c:pt>
                <c:pt idx="5537">
                  <c:v>8885.6434811317649</c:v>
                </c:pt>
                <c:pt idx="5538">
                  <c:v>8949.1696807684966</c:v>
                </c:pt>
                <c:pt idx="5539">
                  <c:v>8910.3544714404125</c:v>
                </c:pt>
                <c:pt idx="5540">
                  <c:v>8715.4503033824549</c:v>
                </c:pt>
                <c:pt idx="5541">
                  <c:v>8676.8626560516186</c:v>
                </c:pt>
                <c:pt idx="5542">
                  <c:v>8286.0744410641728</c:v>
                </c:pt>
                <c:pt idx="5543">
                  <c:v>7821.8261718847771</c:v>
                </c:pt>
                <c:pt idx="5544">
                  <c:v>7488.5574903507159</c:v>
                </c:pt>
                <c:pt idx="5545">
                  <c:v>7363.8136601684755</c:v>
                </c:pt>
                <c:pt idx="5546">
                  <c:v>7364.5687396892854</c:v>
                </c:pt>
                <c:pt idx="5547">
                  <c:v>7452.5227846092439</c:v>
                </c:pt>
                <c:pt idx="5548">
                  <c:v>7574.3729856740201</c:v>
                </c:pt>
                <c:pt idx="5549">
                  <c:v>8184.5918241945692</c:v>
                </c:pt>
                <c:pt idx="5550">
                  <c:v>8736.2686776096652</c:v>
                </c:pt>
                <c:pt idx="5551">
                  <c:v>9018.989637493858</c:v>
                </c:pt>
                <c:pt idx="5552">
                  <c:v>9044.1916027117368</c:v>
                </c:pt>
                <c:pt idx="5553">
                  <c:v>9137.3431970387428</c:v>
                </c:pt>
                <c:pt idx="5554">
                  <c:v>9198.5916917760169</c:v>
                </c:pt>
                <c:pt idx="5555">
                  <c:v>9163.725814746309</c:v>
                </c:pt>
                <c:pt idx="5556">
                  <c:v>9060.4640934093823</c:v>
                </c:pt>
                <c:pt idx="5557">
                  <c:v>9000.5444331997642</c:v>
                </c:pt>
                <c:pt idx="5558">
                  <c:v>9004.2809589592525</c:v>
                </c:pt>
                <c:pt idx="5559">
                  <c:v>8946.8991247451704</c:v>
                </c:pt>
                <c:pt idx="5560">
                  <c:v>8884.8520362845866</c:v>
                </c:pt>
                <c:pt idx="5561">
                  <c:v>8857.8522507094131</c:v>
                </c:pt>
                <c:pt idx="5562">
                  <c:v>8850.6228901609193</c:v>
                </c:pt>
                <c:pt idx="5563">
                  <c:v>8793.1054636498066</c:v>
                </c:pt>
                <c:pt idx="5564">
                  <c:v>8641.2639445987988</c:v>
                </c:pt>
                <c:pt idx="5565">
                  <c:v>8625.1500204420008</c:v>
                </c:pt>
                <c:pt idx="5566">
                  <c:v>8255.6986824512187</c:v>
                </c:pt>
                <c:pt idx="5567">
                  <c:v>7782.5015212060734</c:v>
                </c:pt>
                <c:pt idx="5568">
                  <c:v>7330.9740990184519</c:v>
                </c:pt>
                <c:pt idx="5569">
                  <c:v>7221.4716801159911</c:v>
                </c:pt>
                <c:pt idx="5570">
                  <c:v>7208.6303190550079</c:v>
                </c:pt>
                <c:pt idx="5571">
                  <c:v>7248.7689525822034</c:v>
                </c:pt>
                <c:pt idx="5572">
                  <c:v>7248.3880748476959</c:v>
                </c:pt>
                <c:pt idx="5573">
                  <c:v>7264.6537579329097</c:v>
                </c:pt>
                <c:pt idx="5574">
                  <c:v>7523.8855281754531</c:v>
                </c:pt>
                <c:pt idx="5575">
                  <c:v>7813.596659624689</c:v>
                </c:pt>
                <c:pt idx="5576">
                  <c:v>8006.7588461157939</c:v>
                </c:pt>
                <c:pt idx="5577">
                  <c:v>8201.8640991500615</c:v>
                </c:pt>
                <c:pt idx="5578">
                  <c:v>8338.9837190318431</c:v>
                </c:pt>
                <c:pt idx="5579">
                  <c:v>8331.8633552709598</c:v>
                </c:pt>
                <c:pt idx="5580">
                  <c:v>8319.5111988690132</c:v>
                </c:pt>
                <c:pt idx="5581">
                  <c:v>8213.0203107977377</c:v>
                </c:pt>
                <c:pt idx="5582">
                  <c:v>8318.2050290870447</c:v>
                </c:pt>
                <c:pt idx="5583">
                  <c:v>8365.8432867205556</c:v>
                </c:pt>
                <c:pt idx="5584">
                  <c:v>8474.3887722291838</c:v>
                </c:pt>
                <c:pt idx="5585">
                  <c:v>8627.9600443959789</c:v>
                </c:pt>
                <c:pt idx="5586">
                  <c:v>8675.1742096253911</c:v>
                </c:pt>
                <c:pt idx="5587">
                  <c:v>8581.9131247639634</c:v>
                </c:pt>
                <c:pt idx="5588">
                  <c:v>8472.7418560433543</c:v>
                </c:pt>
                <c:pt idx="5589">
                  <c:v>8503.7277933451787</c:v>
                </c:pt>
                <c:pt idx="5590">
                  <c:v>8239.3122327222463</c:v>
                </c:pt>
                <c:pt idx="5591">
                  <c:v>7745.2364168882068</c:v>
                </c:pt>
                <c:pt idx="5592">
                  <c:v>7372.1549994252282</c:v>
                </c:pt>
                <c:pt idx="5593">
                  <c:v>7230.2689235812477</c:v>
                </c:pt>
                <c:pt idx="5594">
                  <c:v>7161.3442382910625</c:v>
                </c:pt>
                <c:pt idx="5595">
                  <c:v>7181.8463004704099</c:v>
                </c:pt>
                <c:pt idx="5596">
                  <c:v>7142.793238694333</c:v>
                </c:pt>
                <c:pt idx="5597">
                  <c:v>7131.8746571742786</c:v>
                </c:pt>
                <c:pt idx="5598">
                  <c:v>7252.6174086503452</c:v>
                </c:pt>
                <c:pt idx="5599">
                  <c:v>7544.4413336268181</c:v>
                </c:pt>
                <c:pt idx="5600">
                  <c:v>7834.9213821953872</c:v>
                </c:pt>
                <c:pt idx="5601">
                  <c:v>8056.8490604667877</c:v>
                </c:pt>
                <c:pt idx="5602">
                  <c:v>8180.8194733682403</c:v>
                </c:pt>
                <c:pt idx="5603">
                  <c:v>8245.0258985292185</c:v>
                </c:pt>
                <c:pt idx="5604">
                  <c:v>8205.7248053542789</c:v>
                </c:pt>
                <c:pt idx="5605">
                  <c:v>8153.7555761639596</c:v>
                </c:pt>
                <c:pt idx="5606">
                  <c:v>8167.3665676567698</c:v>
                </c:pt>
                <c:pt idx="5607">
                  <c:v>8199.819552540428</c:v>
                </c:pt>
                <c:pt idx="5608">
                  <c:v>8276.2925906914461</c:v>
                </c:pt>
                <c:pt idx="5609">
                  <c:v>8367.8846444192441</c:v>
                </c:pt>
                <c:pt idx="5610">
                  <c:v>8435.1569077014301</c:v>
                </c:pt>
                <c:pt idx="5611">
                  <c:v>8443.0954459685217</c:v>
                </c:pt>
                <c:pt idx="5612">
                  <c:v>8379.6049199755525</c:v>
                </c:pt>
                <c:pt idx="5613">
                  <c:v>8547.4010420372069</c:v>
                </c:pt>
                <c:pt idx="5614">
                  <c:v>8234.0738107683392</c:v>
                </c:pt>
                <c:pt idx="5615">
                  <c:v>7781.7681103264449</c:v>
                </c:pt>
                <c:pt idx="5616">
                  <c:v>7522.2660794300518</c:v>
                </c:pt>
                <c:pt idx="5617">
                  <c:v>7403.6115899073648</c:v>
                </c:pt>
                <c:pt idx="5618">
                  <c:v>7333.787633655741</c:v>
                </c:pt>
                <c:pt idx="5619">
                  <c:v>7362.8480278873258</c:v>
                </c:pt>
                <c:pt idx="5620">
                  <c:v>7562.5734242322733</c:v>
                </c:pt>
                <c:pt idx="5621">
                  <c:v>8126.4008317110347</c:v>
                </c:pt>
                <c:pt idx="5622">
                  <c:v>8763.2157570660111</c:v>
                </c:pt>
                <c:pt idx="5623">
                  <c:v>9114.5683908839437</c:v>
                </c:pt>
                <c:pt idx="5624">
                  <c:v>9120.481110221368</c:v>
                </c:pt>
                <c:pt idx="5625">
                  <c:v>9105.8480375429463</c:v>
                </c:pt>
                <c:pt idx="5626">
                  <c:v>9165.7798013740194</c:v>
                </c:pt>
                <c:pt idx="5627">
                  <c:v>9199.4245608592428</c:v>
                </c:pt>
                <c:pt idx="5628">
                  <c:v>9066.3248503702762</c:v>
                </c:pt>
                <c:pt idx="5629">
                  <c:v>8990.9668242647294</c:v>
                </c:pt>
                <c:pt idx="5630">
                  <c:v>8901.5162178389783</c:v>
                </c:pt>
                <c:pt idx="5631">
                  <c:v>8882.5565365021685</c:v>
                </c:pt>
                <c:pt idx="5632">
                  <c:v>8910.4670331626694</c:v>
                </c:pt>
                <c:pt idx="5633">
                  <c:v>8991.96821343581</c:v>
                </c:pt>
                <c:pt idx="5634">
                  <c:v>9095.365891602607</c:v>
                </c:pt>
                <c:pt idx="5635">
                  <c:v>9054.4484462876171</c:v>
                </c:pt>
                <c:pt idx="5636">
                  <c:v>8939.4449703281061</c:v>
                </c:pt>
                <c:pt idx="5637">
                  <c:v>8877.8400954995886</c:v>
                </c:pt>
                <c:pt idx="5638">
                  <c:v>8582.3503911320149</c:v>
                </c:pt>
                <c:pt idx="5639">
                  <c:v>7985.9628582511878</c:v>
                </c:pt>
                <c:pt idx="5640">
                  <c:v>7719.3365311221241</c:v>
                </c:pt>
                <c:pt idx="5641">
                  <c:v>7563.0426704106894</c:v>
                </c:pt>
                <c:pt idx="5642">
                  <c:v>7562.8480193278647</c:v>
                </c:pt>
                <c:pt idx="5643">
                  <c:v>7667.4113080962697</c:v>
                </c:pt>
                <c:pt idx="5644">
                  <c:v>7831.7467898496989</c:v>
                </c:pt>
                <c:pt idx="5645">
                  <c:v>8446.2153333557999</c:v>
                </c:pt>
                <c:pt idx="5646">
                  <c:v>8898.650447269154</c:v>
                </c:pt>
                <c:pt idx="5647">
                  <c:v>9060.5242983012176</c:v>
                </c:pt>
                <c:pt idx="5648">
                  <c:v>9120.080674400062</c:v>
                </c:pt>
                <c:pt idx="5649">
                  <c:v>9049.9656280821873</c:v>
                </c:pt>
                <c:pt idx="5650">
                  <c:v>9041.0282247662999</c:v>
                </c:pt>
                <c:pt idx="5651">
                  <c:v>9070.766956976011</c:v>
                </c:pt>
                <c:pt idx="5652">
                  <c:v>8906.576887888843</c:v>
                </c:pt>
                <c:pt idx="5653">
                  <c:v>8834.4433977735371</c:v>
                </c:pt>
                <c:pt idx="5654">
                  <c:v>8830.1714021409716</c:v>
                </c:pt>
                <c:pt idx="5655">
                  <c:v>8832.7956516361428</c:v>
                </c:pt>
                <c:pt idx="5656">
                  <c:v>8930.2268501600483</c:v>
                </c:pt>
                <c:pt idx="5657">
                  <c:v>8935.3134602648479</c:v>
                </c:pt>
                <c:pt idx="5658">
                  <c:v>9072.1675213810977</c:v>
                </c:pt>
                <c:pt idx="5659">
                  <c:v>9114.0448619672188</c:v>
                </c:pt>
                <c:pt idx="5660">
                  <c:v>9048.8524447954023</c:v>
                </c:pt>
                <c:pt idx="5661">
                  <c:v>8979.9278711281295</c:v>
                </c:pt>
                <c:pt idx="5662">
                  <c:v>8620.0382473825921</c:v>
                </c:pt>
                <c:pt idx="5663">
                  <c:v>8086.5954988026724</c:v>
                </c:pt>
                <c:pt idx="5664">
                  <c:v>7739.4569512836688</c:v>
                </c:pt>
                <c:pt idx="5665">
                  <c:v>7553.3791206326996</c:v>
                </c:pt>
                <c:pt idx="5666">
                  <c:v>7548.5787864007552</c:v>
                </c:pt>
                <c:pt idx="5667">
                  <c:v>7619.1962761011864</c:v>
                </c:pt>
                <c:pt idx="5668">
                  <c:v>7874.7258332276288</c:v>
                </c:pt>
                <c:pt idx="5669">
                  <c:v>8419.8684912145636</c:v>
                </c:pt>
                <c:pt idx="5670">
                  <c:v>8986.6595110738908</c:v>
                </c:pt>
                <c:pt idx="5671">
                  <c:v>9310.8727680053908</c:v>
                </c:pt>
                <c:pt idx="5672">
                  <c:v>9469.6240483416132</c:v>
                </c:pt>
                <c:pt idx="5673">
                  <c:v>9503.5598407858688</c:v>
                </c:pt>
                <c:pt idx="5674">
                  <c:v>9584.8568229162138</c:v>
                </c:pt>
                <c:pt idx="5675">
                  <c:v>9581.2998381978578</c:v>
                </c:pt>
                <c:pt idx="5676">
                  <c:v>9444.9747107800395</c:v>
                </c:pt>
                <c:pt idx="5677">
                  <c:v>9389.9709525592934</c:v>
                </c:pt>
                <c:pt idx="5678">
                  <c:v>9373.8858077383757</c:v>
                </c:pt>
                <c:pt idx="5679">
                  <c:v>9335.7059688469635</c:v>
                </c:pt>
                <c:pt idx="5680">
                  <c:v>9315.8326560341538</c:v>
                </c:pt>
                <c:pt idx="5681">
                  <c:v>9398.9779114300145</c:v>
                </c:pt>
                <c:pt idx="5682">
                  <c:v>9511.9781233089707</c:v>
                </c:pt>
                <c:pt idx="5683">
                  <c:v>9395.5592676148972</c:v>
                </c:pt>
                <c:pt idx="5684">
                  <c:v>9193.6042783383818</c:v>
                </c:pt>
                <c:pt idx="5685">
                  <c:v>9043.089953425042</c:v>
                </c:pt>
                <c:pt idx="5686">
                  <c:v>8648.3751525770658</c:v>
                </c:pt>
                <c:pt idx="5687">
                  <c:v>8195.5671761357171</c:v>
                </c:pt>
                <c:pt idx="5688">
                  <c:v>7873.1771956374587</c:v>
                </c:pt>
                <c:pt idx="5689">
                  <c:v>7738.5756544370452</c:v>
                </c:pt>
                <c:pt idx="5690">
                  <c:v>7715.3416415349266</c:v>
                </c:pt>
                <c:pt idx="5691">
                  <c:v>7790.0797475146846</c:v>
                </c:pt>
                <c:pt idx="5692">
                  <c:v>8000.1640326536981</c:v>
                </c:pt>
                <c:pt idx="5693">
                  <c:v>8524.4934292344242</c:v>
                </c:pt>
                <c:pt idx="5694">
                  <c:v>8902.8245508668515</c:v>
                </c:pt>
                <c:pt idx="5695">
                  <c:v>9275.1843530027199</c:v>
                </c:pt>
                <c:pt idx="5696">
                  <c:v>9424.5088220818452</c:v>
                </c:pt>
                <c:pt idx="5697">
                  <c:v>9452.4013071132922</c:v>
                </c:pt>
                <c:pt idx="5698">
                  <c:v>9499.8308810240196</c:v>
                </c:pt>
                <c:pt idx="5699">
                  <c:v>9564.0947069002159</c:v>
                </c:pt>
                <c:pt idx="5700">
                  <c:v>9443.5615243606662</c:v>
                </c:pt>
                <c:pt idx="5701">
                  <c:v>9337.4414823087718</c:v>
                </c:pt>
                <c:pt idx="5702">
                  <c:v>9292.9232427927764</c:v>
                </c:pt>
                <c:pt idx="5703">
                  <c:v>9237.3011391760319</c:v>
                </c:pt>
                <c:pt idx="5704">
                  <c:v>9174.904849836319</c:v>
                </c:pt>
                <c:pt idx="5705">
                  <c:v>9113.8799259844145</c:v>
                </c:pt>
                <c:pt idx="5706">
                  <c:v>9225.0848077845967</c:v>
                </c:pt>
                <c:pt idx="5707">
                  <c:v>9188.9907055853382</c:v>
                </c:pt>
                <c:pt idx="5708">
                  <c:v>9009.6992465540588</c:v>
                </c:pt>
                <c:pt idx="5709">
                  <c:v>8930.6530974206289</c:v>
                </c:pt>
                <c:pt idx="5710">
                  <c:v>8553.2445797317614</c:v>
                </c:pt>
                <c:pt idx="5711">
                  <c:v>8076.9214292000506</c:v>
                </c:pt>
                <c:pt idx="5712">
                  <c:v>7730.0624261268949</c:v>
                </c:pt>
                <c:pt idx="5713">
                  <c:v>7613.8254519623861</c:v>
                </c:pt>
                <c:pt idx="5714">
                  <c:v>7593.0263576857633</c:v>
                </c:pt>
                <c:pt idx="5715">
                  <c:v>7650.3330116934549</c:v>
                </c:pt>
                <c:pt idx="5716">
                  <c:v>7890.7153278678561</c:v>
                </c:pt>
                <c:pt idx="5717">
                  <c:v>8443.4116004819971</c:v>
                </c:pt>
                <c:pt idx="5718">
                  <c:v>8970.3215022516561</c:v>
                </c:pt>
                <c:pt idx="5719">
                  <c:v>9260.4065633077716</c:v>
                </c:pt>
                <c:pt idx="5720">
                  <c:v>9400.6949836048807</c:v>
                </c:pt>
                <c:pt idx="5721">
                  <c:v>9359.6764877825444</c:v>
                </c:pt>
                <c:pt idx="5722">
                  <c:v>9308.5569367954158</c:v>
                </c:pt>
                <c:pt idx="5723">
                  <c:v>9277.2011764576418</c:v>
                </c:pt>
                <c:pt idx="5724">
                  <c:v>9195.7713845766484</c:v>
                </c:pt>
                <c:pt idx="5725">
                  <c:v>9093.2513238897336</c:v>
                </c:pt>
                <c:pt idx="5726">
                  <c:v>9033.5365925200422</c:v>
                </c:pt>
                <c:pt idx="5727">
                  <c:v>9049.5473462066002</c:v>
                </c:pt>
                <c:pt idx="5728">
                  <c:v>9038.178190182909</c:v>
                </c:pt>
                <c:pt idx="5729">
                  <c:v>9093.5978015296314</c:v>
                </c:pt>
                <c:pt idx="5730">
                  <c:v>9147.1233881645639</c:v>
                </c:pt>
                <c:pt idx="5731">
                  <c:v>9038.4815395041587</c:v>
                </c:pt>
                <c:pt idx="5732">
                  <c:v>8923.0773801458745</c:v>
                </c:pt>
                <c:pt idx="5733">
                  <c:v>8860.1209813460555</c:v>
                </c:pt>
                <c:pt idx="5734">
                  <c:v>8577.8893476863504</c:v>
                </c:pt>
                <c:pt idx="5735">
                  <c:v>8104.4513846608706</c:v>
                </c:pt>
                <c:pt idx="5736">
                  <c:v>7724.0804161609312</c:v>
                </c:pt>
                <c:pt idx="5737">
                  <c:v>7582.9135459186473</c:v>
                </c:pt>
                <c:pt idx="5738">
                  <c:v>7552.5228652301594</c:v>
                </c:pt>
                <c:pt idx="5739">
                  <c:v>7577.904380526229</c:v>
                </c:pt>
                <c:pt idx="5740">
                  <c:v>7626.8099586153112</c:v>
                </c:pt>
                <c:pt idx="5741">
                  <c:v>7695.1101720938259</c:v>
                </c:pt>
                <c:pt idx="5742">
                  <c:v>7848.2042253378449</c:v>
                </c:pt>
                <c:pt idx="5743">
                  <c:v>8167.152439161584</c:v>
                </c:pt>
                <c:pt idx="5744">
                  <c:v>8381.4409095445681</c:v>
                </c:pt>
                <c:pt idx="5745">
                  <c:v>8508.1556798804504</c:v>
                </c:pt>
                <c:pt idx="5746">
                  <c:v>8545.8686141385606</c:v>
                </c:pt>
                <c:pt idx="5747">
                  <c:v>8475.8199472255928</c:v>
                </c:pt>
                <c:pt idx="5748">
                  <c:v>8413.4403300491849</c:v>
                </c:pt>
                <c:pt idx="5749">
                  <c:v>8375.9875303796471</c:v>
                </c:pt>
                <c:pt idx="5750">
                  <c:v>8367.9351137481026</c:v>
                </c:pt>
                <c:pt idx="5751">
                  <c:v>8409.6020473428398</c:v>
                </c:pt>
                <c:pt idx="5752">
                  <c:v>8469.7429728137395</c:v>
                </c:pt>
                <c:pt idx="5753">
                  <c:v>8547.7095356447498</c:v>
                </c:pt>
                <c:pt idx="5754">
                  <c:v>8603.3219485632089</c:v>
                </c:pt>
                <c:pt idx="5755">
                  <c:v>8529.0705866486605</c:v>
                </c:pt>
                <c:pt idx="5756">
                  <c:v>8515.5060664774737</c:v>
                </c:pt>
                <c:pt idx="5757">
                  <c:v>8518.1233918391408</c:v>
                </c:pt>
                <c:pt idx="5758">
                  <c:v>8285.8029188881992</c:v>
                </c:pt>
                <c:pt idx="5759">
                  <c:v>7822.4651525402041</c:v>
                </c:pt>
                <c:pt idx="5760">
                  <c:v>7493.9266885750912</c:v>
                </c:pt>
                <c:pt idx="5761">
                  <c:v>7319.2425949230465</c:v>
                </c:pt>
                <c:pt idx="5762">
                  <c:v>7282.8274544234737</c:v>
                </c:pt>
                <c:pt idx="5763">
                  <c:v>7311.8865881555839</c:v>
                </c:pt>
                <c:pt idx="5764">
                  <c:v>7336.4878543693212</c:v>
                </c:pt>
                <c:pt idx="5765">
                  <c:v>7299.5304360937826</c:v>
                </c:pt>
                <c:pt idx="5766">
                  <c:v>7370.7174230960682</c:v>
                </c:pt>
                <c:pt idx="5767">
                  <c:v>7634.9561048534633</c:v>
                </c:pt>
                <c:pt idx="5768">
                  <c:v>7813.3090197390829</c:v>
                </c:pt>
                <c:pt idx="5769">
                  <c:v>7936.052099556754</c:v>
                </c:pt>
                <c:pt idx="5770">
                  <c:v>8027.1730753700449</c:v>
                </c:pt>
                <c:pt idx="5771">
                  <c:v>8018.3172729947719</c:v>
                </c:pt>
                <c:pt idx="5772">
                  <c:v>7998.8104492889343</c:v>
                </c:pt>
                <c:pt idx="5773">
                  <c:v>7991.8665204541885</c:v>
                </c:pt>
                <c:pt idx="5774">
                  <c:v>8002.2541490660433</c:v>
                </c:pt>
                <c:pt idx="5775">
                  <c:v>7994.7623687780342</c:v>
                </c:pt>
                <c:pt idx="5776">
                  <c:v>8021.0658515673167</c:v>
                </c:pt>
                <c:pt idx="5777">
                  <c:v>8141.4731293997265</c:v>
                </c:pt>
                <c:pt idx="5778">
                  <c:v>8287.2784389332191</c:v>
                </c:pt>
                <c:pt idx="5779">
                  <c:v>8287.8842448380819</c:v>
                </c:pt>
                <c:pt idx="5780">
                  <c:v>8307.9120370334476</c:v>
                </c:pt>
                <c:pt idx="5781">
                  <c:v>8427.9923915475483</c:v>
                </c:pt>
                <c:pt idx="5782">
                  <c:v>8204.649083855873</c:v>
                </c:pt>
                <c:pt idx="5783">
                  <c:v>7769.1666006661417</c:v>
                </c:pt>
                <c:pt idx="5784">
                  <c:v>7450.1901293950914</c:v>
                </c:pt>
                <c:pt idx="5785">
                  <c:v>7354.6277512284014</c:v>
                </c:pt>
                <c:pt idx="5786">
                  <c:v>7327.7494586637185</c:v>
                </c:pt>
                <c:pt idx="5787">
                  <c:v>7443.1092907202883</c:v>
                </c:pt>
                <c:pt idx="5788">
                  <c:v>7695.1777381591892</c:v>
                </c:pt>
                <c:pt idx="5789">
                  <c:v>8203.3017588571602</c:v>
                </c:pt>
                <c:pt idx="5790">
                  <c:v>8694.4614096840596</c:v>
                </c:pt>
                <c:pt idx="5791">
                  <c:v>8943.507799942774</c:v>
                </c:pt>
                <c:pt idx="5792">
                  <c:v>9050.5755129725985</c:v>
                </c:pt>
                <c:pt idx="5793">
                  <c:v>8979.995981144406</c:v>
                </c:pt>
                <c:pt idx="5794">
                  <c:v>9016.0972126529869</c:v>
                </c:pt>
                <c:pt idx="5795">
                  <c:v>9001.9642219555371</c:v>
                </c:pt>
                <c:pt idx="5796">
                  <c:v>8913.5013082515434</c:v>
                </c:pt>
                <c:pt idx="5797">
                  <c:v>8836.7501169479765</c:v>
                </c:pt>
                <c:pt idx="5798">
                  <c:v>8766.5409231384456</c:v>
                </c:pt>
                <c:pt idx="5799">
                  <c:v>8784.1607555731789</c:v>
                </c:pt>
                <c:pt idx="5800">
                  <c:v>8729.7287493383028</c:v>
                </c:pt>
                <c:pt idx="5801">
                  <c:v>8673.3981337348941</c:v>
                </c:pt>
                <c:pt idx="5802">
                  <c:v>8771.5992962291348</c:v>
                </c:pt>
                <c:pt idx="5803">
                  <c:v>8814.3556621719181</c:v>
                </c:pt>
                <c:pt idx="5804">
                  <c:v>8704.2177349379435</c:v>
                </c:pt>
                <c:pt idx="5805">
                  <c:v>8608.1053491471557</c:v>
                </c:pt>
                <c:pt idx="5806">
                  <c:v>8238.8296277920726</c:v>
                </c:pt>
                <c:pt idx="5807">
                  <c:v>7783.7603950081857</c:v>
                </c:pt>
                <c:pt idx="5808">
                  <c:v>7529.9792751124351</c:v>
                </c:pt>
                <c:pt idx="5809">
                  <c:v>7398.7570113874272</c:v>
                </c:pt>
                <c:pt idx="5810">
                  <c:v>7359.4826339705096</c:v>
                </c:pt>
                <c:pt idx="5811">
                  <c:v>7456.9923357448006</c:v>
                </c:pt>
                <c:pt idx="5812">
                  <c:v>7708.7755705087166</c:v>
                </c:pt>
                <c:pt idx="5813">
                  <c:v>8210.2780513942234</c:v>
                </c:pt>
                <c:pt idx="5814">
                  <c:v>8757.7482321599673</c:v>
                </c:pt>
                <c:pt idx="5815">
                  <c:v>8920.6221827417958</c:v>
                </c:pt>
                <c:pt idx="5816">
                  <c:v>9017.1730861589713</c:v>
                </c:pt>
                <c:pt idx="5817">
                  <c:v>8989.5980378594213</c:v>
                </c:pt>
                <c:pt idx="5818">
                  <c:v>8987.2566333961713</c:v>
                </c:pt>
                <c:pt idx="5819">
                  <c:v>8971.9813832143573</c:v>
                </c:pt>
                <c:pt idx="5820">
                  <c:v>8865.3494473631818</c:v>
                </c:pt>
                <c:pt idx="5821">
                  <c:v>8723.9000775653876</c:v>
                </c:pt>
                <c:pt idx="5822">
                  <c:v>8677.9447957986831</c:v>
                </c:pt>
                <c:pt idx="5823">
                  <c:v>8668.2710982674653</c:v>
                </c:pt>
                <c:pt idx="5824">
                  <c:v>8681.771449823711</c:v>
                </c:pt>
                <c:pt idx="5825">
                  <c:v>8638.9435413249248</c:v>
                </c:pt>
                <c:pt idx="5826">
                  <c:v>8778.06882333055</c:v>
                </c:pt>
                <c:pt idx="5827">
                  <c:v>8846.2666366820122</c:v>
                </c:pt>
                <c:pt idx="5828">
                  <c:v>8695.0294804702135</c:v>
                </c:pt>
                <c:pt idx="5829">
                  <c:v>8559.7709722674535</c:v>
                </c:pt>
                <c:pt idx="5830">
                  <c:v>8194.0917762476311</c:v>
                </c:pt>
                <c:pt idx="5831">
                  <c:v>7673.2424579377393</c:v>
                </c:pt>
                <c:pt idx="5832">
                  <c:v>7334.2252293752963</c:v>
                </c:pt>
                <c:pt idx="5833">
                  <c:v>7200.4728913811468</c:v>
                </c:pt>
                <c:pt idx="5834">
                  <c:v>7215.8311416035249</c:v>
                </c:pt>
                <c:pt idx="5835">
                  <c:v>7343.1015223984969</c:v>
                </c:pt>
                <c:pt idx="5836">
                  <c:v>7602.4551742598342</c:v>
                </c:pt>
                <c:pt idx="5837">
                  <c:v>8092.8737607060229</c:v>
                </c:pt>
                <c:pt idx="5838">
                  <c:v>8641.1656812477613</c:v>
                </c:pt>
                <c:pt idx="5839">
                  <c:v>8904.7058543741441</c:v>
                </c:pt>
                <c:pt idx="5840">
                  <c:v>9021.3134223334782</c:v>
                </c:pt>
                <c:pt idx="5841">
                  <c:v>8998.4754901219858</c:v>
                </c:pt>
                <c:pt idx="5842">
                  <c:v>8994.4315265947371</c:v>
                </c:pt>
                <c:pt idx="5843">
                  <c:v>8940.7761306188731</c:v>
                </c:pt>
                <c:pt idx="5844">
                  <c:v>8859.545625717923</c:v>
                </c:pt>
                <c:pt idx="5845">
                  <c:v>8810.3883814377423</c:v>
                </c:pt>
                <c:pt idx="5846">
                  <c:v>8771.8508006089287</c:v>
                </c:pt>
                <c:pt idx="5847">
                  <c:v>8750.0315504747923</c:v>
                </c:pt>
                <c:pt idx="5848">
                  <c:v>8739.738076855494</c:v>
                </c:pt>
                <c:pt idx="5849">
                  <c:v>8785.9017789272057</c:v>
                </c:pt>
                <c:pt idx="5850">
                  <c:v>8961.2446185749486</c:v>
                </c:pt>
                <c:pt idx="5851">
                  <c:v>8987.2824359734313</c:v>
                </c:pt>
                <c:pt idx="5852">
                  <c:v>8865.44949097676</c:v>
                </c:pt>
                <c:pt idx="5853">
                  <c:v>8721.679896524869</c:v>
                </c:pt>
                <c:pt idx="5854">
                  <c:v>8336.107493853784</c:v>
                </c:pt>
                <c:pt idx="5855">
                  <c:v>7831.6628438657963</c:v>
                </c:pt>
                <c:pt idx="5856">
                  <c:v>7578.5561575586007</c:v>
                </c:pt>
                <c:pt idx="5857">
                  <c:v>7456.8727015005643</c:v>
                </c:pt>
                <c:pt idx="5858">
                  <c:v>7472.825608078977</c:v>
                </c:pt>
                <c:pt idx="5859">
                  <c:v>7600.8398557116252</c:v>
                </c:pt>
                <c:pt idx="5860">
                  <c:v>7879.7079428631423</c:v>
                </c:pt>
                <c:pt idx="5861">
                  <c:v>8362.0635174798972</c:v>
                </c:pt>
                <c:pt idx="5862">
                  <c:v>8815.5628986026604</c:v>
                </c:pt>
                <c:pt idx="5863">
                  <c:v>9078.516157575099</c:v>
                </c:pt>
                <c:pt idx="5864">
                  <c:v>9116.6617440444297</c:v>
                </c:pt>
                <c:pt idx="5865">
                  <c:v>9049.8044532391668</c:v>
                </c:pt>
                <c:pt idx="5866">
                  <c:v>9076.2738856627457</c:v>
                </c:pt>
                <c:pt idx="5867">
                  <c:v>9067.3400575545711</c:v>
                </c:pt>
                <c:pt idx="5868">
                  <c:v>8992.1313909886685</c:v>
                </c:pt>
                <c:pt idx="5869">
                  <c:v>8976.1148024833292</c:v>
                </c:pt>
                <c:pt idx="5870">
                  <c:v>8956.8112780022111</c:v>
                </c:pt>
                <c:pt idx="5871">
                  <c:v>8989.0025465087183</c:v>
                </c:pt>
                <c:pt idx="5872">
                  <c:v>9121.5335864025383</c:v>
                </c:pt>
                <c:pt idx="5873">
                  <c:v>9142.4943680742108</c:v>
                </c:pt>
                <c:pt idx="5874">
                  <c:v>9290.2201791539974</c:v>
                </c:pt>
                <c:pt idx="5875">
                  <c:v>9382.5657249346932</c:v>
                </c:pt>
                <c:pt idx="5876">
                  <c:v>9094.0512799847966</c:v>
                </c:pt>
                <c:pt idx="5877">
                  <c:v>8900.3952031321642</c:v>
                </c:pt>
                <c:pt idx="5878">
                  <c:v>8667.4099098380902</c:v>
                </c:pt>
                <c:pt idx="5879">
                  <c:v>8139.5630123028477</c:v>
                </c:pt>
                <c:pt idx="5880">
                  <c:v>7812.6097146853772</c:v>
                </c:pt>
                <c:pt idx="5881">
                  <c:v>7689.3257035248062</c:v>
                </c:pt>
                <c:pt idx="5882">
                  <c:v>7696.0178306835905</c:v>
                </c:pt>
                <c:pt idx="5883">
                  <c:v>7784.2732342161717</c:v>
                </c:pt>
                <c:pt idx="5884">
                  <c:v>8124.2309821897561</c:v>
                </c:pt>
                <c:pt idx="5885">
                  <c:v>8700.0783906924753</c:v>
                </c:pt>
                <c:pt idx="5886">
                  <c:v>9245.9021013972961</c:v>
                </c:pt>
                <c:pt idx="5887">
                  <c:v>9485.4669189858323</c:v>
                </c:pt>
                <c:pt idx="5888">
                  <c:v>9623.5338753081905</c:v>
                </c:pt>
                <c:pt idx="5889">
                  <c:v>9521.3561339577536</c:v>
                </c:pt>
                <c:pt idx="5890">
                  <c:v>9481.1321135142007</c:v>
                </c:pt>
                <c:pt idx="5891">
                  <c:v>9448.8519157694464</c:v>
                </c:pt>
                <c:pt idx="5892">
                  <c:v>9272.9102967758336</c:v>
                </c:pt>
                <c:pt idx="5893">
                  <c:v>9157.680161406528</c:v>
                </c:pt>
                <c:pt idx="5894">
                  <c:v>9077.0183974395932</c:v>
                </c:pt>
                <c:pt idx="5895">
                  <c:v>9003.5122745680219</c:v>
                </c:pt>
                <c:pt idx="5896">
                  <c:v>9013.5570979628828</c:v>
                </c:pt>
                <c:pt idx="5897">
                  <c:v>9048.2107562582296</c:v>
                </c:pt>
                <c:pt idx="5898">
                  <c:v>9121.1907110106367</c:v>
                </c:pt>
                <c:pt idx="5899">
                  <c:v>9187.4021673431362</c:v>
                </c:pt>
                <c:pt idx="5900">
                  <c:v>9059.1594775844405</c:v>
                </c:pt>
                <c:pt idx="5901">
                  <c:v>8944.8434882680922</c:v>
                </c:pt>
                <c:pt idx="5902">
                  <c:v>8632.4506804790253</c:v>
                </c:pt>
                <c:pt idx="5903">
                  <c:v>8142.3485855886047</c:v>
                </c:pt>
                <c:pt idx="5904">
                  <c:v>7810.3008215376813</c:v>
                </c:pt>
                <c:pt idx="5905">
                  <c:v>7643.5222900642148</c:v>
                </c:pt>
                <c:pt idx="5906">
                  <c:v>7635.4378005289364</c:v>
                </c:pt>
                <c:pt idx="5907">
                  <c:v>7709.5155643700946</c:v>
                </c:pt>
                <c:pt idx="5908">
                  <c:v>7831.2258423477097</c:v>
                </c:pt>
                <c:pt idx="5909">
                  <c:v>7872.6315882280805</c:v>
                </c:pt>
                <c:pt idx="5910">
                  <c:v>8019.1302506855227</c:v>
                </c:pt>
                <c:pt idx="5911">
                  <c:v>8244.8513194928037</c:v>
                </c:pt>
                <c:pt idx="5912">
                  <c:v>8386.8445231644637</c:v>
                </c:pt>
                <c:pt idx="5913">
                  <c:v>8459.3375190527968</c:v>
                </c:pt>
                <c:pt idx="5914">
                  <c:v>8531.2328077738166</c:v>
                </c:pt>
                <c:pt idx="5915">
                  <c:v>8545.9873857707207</c:v>
                </c:pt>
                <c:pt idx="5916">
                  <c:v>8469.7634378662169</c:v>
                </c:pt>
                <c:pt idx="5917">
                  <c:v>8447.5031455148928</c:v>
                </c:pt>
                <c:pt idx="5918">
                  <c:v>8518.2948250098816</c:v>
                </c:pt>
                <c:pt idx="5919">
                  <c:v>8607.9464311510092</c:v>
                </c:pt>
                <c:pt idx="5920">
                  <c:v>8758.875319672059</c:v>
                </c:pt>
                <c:pt idx="5921">
                  <c:v>8908.9101734219457</c:v>
                </c:pt>
                <c:pt idx="5922">
                  <c:v>9041.5462626154131</c:v>
                </c:pt>
                <c:pt idx="5923">
                  <c:v>8998.9970955611916</c:v>
                </c:pt>
                <c:pt idx="5924">
                  <c:v>8938.9300059062589</c:v>
                </c:pt>
                <c:pt idx="5925">
                  <c:v>8876.6539895233418</c:v>
                </c:pt>
                <c:pt idx="5926">
                  <c:v>8648.4851850324376</c:v>
                </c:pt>
                <c:pt idx="5927">
                  <c:v>8248.0911663668103</c:v>
                </c:pt>
                <c:pt idx="5928">
                  <c:v>7947.7034058544814</c:v>
                </c:pt>
                <c:pt idx="5929">
                  <c:v>7808.1773863358485</c:v>
                </c:pt>
                <c:pt idx="5930">
                  <c:v>7793.466377884869</c:v>
                </c:pt>
                <c:pt idx="5931">
                  <c:v>7866.4701426309766</c:v>
                </c:pt>
                <c:pt idx="5932">
                  <c:v>7972.5273579698132</c:v>
                </c:pt>
                <c:pt idx="5933">
                  <c:v>7958.5345338132292</c:v>
                </c:pt>
                <c:pt idx="5934">
                  <c:v>8030.6386143411719</c:v>
                </c:pt>
                <c:pt idx="5935">
                  <c:v>8219.1974599430614</c:v>
                </c:pt>
                <c:pt idx="5936">
                  <c:v>8292.7270206946396</c:v>
                </c:pt>
                <c:pt idx="5937">
                  <c:v>8362.3913479101975</c:v>
                </c:pt>
                <c:pt idx="5938">
                  <c:v>8349.6603093871836</c:v>
                </c:pt>
                <c:pt idx="5939">
                  <c:v>8334.7653484512866</c:v>
                </c:pt>
                <c:pt idx="5940">
                  <c:v>8249.931066684856</c:v>
                </c:pt>
                <c:pt idx="5941">
                  <c:v>8216.9494296509638</c:v>
                </c:pt>
                <c:pt idx="5942">
                  <c:v>8248.3341351081581</c:v>
                </c:pt>
                <c:pt idx="5943">
                  <c:v>8272.3245692552973</c:v>
                </c:pt>
                <c:pt idx="5944">
                  <c:v>8414.8046982930755</c:v>
                </c:pt>
                <c:pt idx="5945">
                  <c:v>8587.8727250845786</c:v>
                </c:pt>
                <c:pt idx="5946">
                  <c:v>8764.2688451657377</c:v>
                </c:pt>
                <c:pt idx="5947">
                  <c:v>8874.5625276268784</c:v>
                </c:pt>
                <c:pt idx="5948">
                  <c:v>8652.3049120823216</c:v>
                </c:pt>
                <c:pt idx="5949">
                  <c:v>8654.6001420351022</c:v>
                </c:pt>
                <c:pt idx="5950">
                  <c:v>8447.7579190436027</c:v>
                </c:pt>
                <c:pt idx="5951">
                  <c:v>8060.6632675141718</c:v>
                </c:pt>
                <c:pt idx="5952">
                  <c:v>7746.8631532669324</c:v>
                </c:pt>
                <c:pt idx="5953">
                  <c:v>7647.8710616121516</c:v>
                </c:pt>
                <c:pt idx="5954">
                  <c:v>7667.0368674320071</c:v>
                </c:pt>
                <c:pt idx="5955">
                  <c:v>7764.1574104519023</c:v>
                </c:pt>
                <c:pt idx="5956">
                  <c:v>8048.0623194871278</c:v>
                </c:pt>
                <c:pt idx="5957">
                  <c:v>8625.5666730158428</c:v>
                </c:pt>
                <c:pt idx="5958">
                  <c:v>9141.1261507843883</c:v>
                </c:pt>
                <c:pt idx="5959">
                  <c:v>9379.1952724365237</c:v>
                </c:pt>
                <c:pt idx="5960">
                  <c:v>9386.5592423721337</c:v>
                </c:pt>
                <c:pt idx="5961">
                  <c:v>9298.9975326252788</c:v>
                </c:pt>
                <c:pt idx="5962">
                  <c:v>9218.0311514242294</c:v>
                </c:pt>
                <c:pt idx="5963">
                  <c:v>9143.9216521594353</c:v>
                </c:pt>
                <c:pt idx="5964">
                  <c:v>8957.4417131724531</c:v>
                </c:pt>
                <c:pt idx="5965">
                  <c:v>8875.8370055176547</c:v>
                </c:pt>
                <c:pt idx="5966">
                  <c:v>8867.2996696454138</c:v>
                </c:pt>
                <c:pt idx="5967">
                  <c:v>8884.8237569662269</c:v>
                </c:pt>
                <c:pt idx="5968">
                  <c:v>8938.1532602637544</c:v>
                </c:pt>
                <c:pt idx="5969">
                  <c:v>8893.0942190853057</c:v>
                </c:pt>
                <c:pt idx="5970">
                  <c:v>8976.9070750919273</c:v>
                </c:pt>
                <c:pt idx="5971">
                  <c:v>9185.8096846236585</c:v>
                </c:pt>
                <c:pt idx="5972">
                  <c:v>9005.7231810369158</c:v>
                </c:pt>
                <c:pt idx="5973">
                  <c:v>8896.1965733844081</c:v>
                </c:pt>
                <c:pt idx="5974">
                  <c:v>8595.1771345518973</c:v>
                </c:pt>
                <c:pt idx="5975">
                  <c:v>8157.4984608114146</c:v>
                </c:pt>
                <c:pt idx="5976">
                  <c:v>7879.8434842788683</c:v>
                </c:pt>
                <c:pt idx="5977">
                  <c:v>7751.8800521773992</c:v>
                </c:pt>
                <c:pt idx="5978">
                  <c:v>7716.7644999569584</c:v>
                </c:pt>
                <c:pt idx="5979">
                  <c:v>7835.8846060922269</c:v>
                </c:pt>
                <c:pt idx="5980">
                  <c:v>8155.3923445431428</c:v>
                </c:pt>
                <c:pt idx="5981">
                  <c:v>8672.785850120199</c:v>
                </c:pt>
                <c:pt idx="5982">
                  <c:v>9102.9251878915875</c:v>
                </c:pt>
                <c:pt idx="5983">
                  <c:v>9332.2086104976479</c:v>
                </c:pt>
                <c:pt idx="5984">
                  <c:v>9363.9515176583318</c:v>
                </c:pt>
                <c:pt idx="5985">
                  <c:v>9278.871632209657</c:v>
                </c:pt>
                <c:pt idx="5986">
                  <c:v>9280.2307307881638</c:v>
                </c:pt>
                <c:pt idx="5987">
                  <c:v>9241.0819087411055</c:v>
                </c:pt>
                <c:pt idx="5988">
                  <c:v>9169.6303431397519</c:v>
                </c:pt>
                <c:pt idx="5989">
                  <c:v>9135.2275080259969</c:v>
                </c:pt>
                <c:pt idx="5990">
                  <c:v>9086.8546042478356</c:v>
                </c:pt>
                <c:pt idx="5991">
                  <c:v>9069.0063243623827</c:v>
                </c:pt>
                <c:pt idx="5992">
                  <c:v>9088.0605184724081</c:v>
                </c:pt>
                <c:pt idx="5993">
                  <c:v>9085.6643074626154</c:v>
                </c:pt>
                <c:pt idx="5994">
                  <c:v>9234.4744554655845</c:v>
                </c:pt>
                <c:pt idx="5995">
                  <c:v>9367.0493117239894</c:v>
                </c:pt>
                <c:pt idx="5996">
                  <c:v>9034.1711739627663</c:v>
                </c:pt>
                <c:pt idx="5997">
                  <c:v>8890.2932018286938</c:v>
                </c:pt>
                <c:pt idx="5998">
                  <c:v>8559.5532556591825</c:v>
                </c:pt>
                <c:pt idx="5999">
                  <c:v>8038.2453910760159</c:v>
                </c:pt>
                <c:pt idx="6000">
                  <c:v>7706.6571023161969</c:v>
                </c:pt>
                <c:pt idx="6001">
                  <c:v>7522.2433948058624</c:v>
                </c:pt>
                <c:pt idx="6002">
                  <c:v>7510.1132224125695</c:v>
                </c:pt>
                <c:pt idx="6003">
                  <c:v>7592.6724877457618</c:v>
                </c:pt>
                <c:pt idx="6004">
                  <c:v>7888.3842620098367</c:v>
                </c:pt>
                <c:pt idx="6005">
                  <c:v>8430.1283253479196</c:v>
                </c:pt>
                <c:pt idx="6006">
                  <c:v>8916.1466887208826</c:v>
                </c:pt>
                <c:pt idx="6007">
                  <c:v>9161.6066379264375</c:v>
                </c:pt>
                <c:pt idx="6008">
                  <c:v>9341.0177554934198</c:v>
                </c:pt>
                <c:pt idx="6009">
                  <c:v>9395.6022005966624</c:v>
                </c:pt>
                <c:pt idx="6010">
                  <c:v>9382.2995597237095</c:v>
                </c:pt>
                <c:pt idx="6011">
                  <c:v>9334.7243998512113</c:v>
                </c:pt>
                <c:pt idx="6012">
                  <c:v>9226.1785244242983</c:v>
                </c:pt>
                <c:pt idx="6013">
                  <c:v>9100.6440764018462</c:v>
                </c:pt>
                <c:pt idx="6014">
                  <c:v>9017.4014080577981</c:v>
                </c:pt>
                <c:pt idx="6015">
                  <c:v>8966.9019918476879</c:v>
                </c:pt>
                <c:pt idx="6016">
                  <c:v>8976.2214103611786</c:v>
                </c:pt>
                <c:pt idx="6017">
                  <c:v>8948.0550521123168</c:v>
                </c:pt>
                <c:pt idx="6018">
                  <c:v>9072.5310189034262</c:v>
                </c:pt>
                <c:pt idx="6019">
                  <c:v>9222.162887697772</c:v>
                </c:pt>
                <c:pt idx="6020">
                  <c:v>8883.7101984179553</c:v>
                </c:pt>
                <c:pt idx="6021">
                  <c:v>8739.9196974876941</c:v>
                </c:pt>
                <c:pt idx="6022">
                  <c:v>8399.6349171706734</c:v>
                </c:pt>
                <c:pt idx="6023">
                  <c:v>7900.6950451700523</c:v>
                </c:pt>
                <c:pt idx="6024">
                  <c:v>7579.6902637160829</c:v>
                </c:pt>
                <c:pt idx="6025">
                  <c:v>7476.414949709646</c:v>
                </c:pt>
                <c:pt idx="6026">
                  <c:v>7452.3056392920362</c:v>
                </c:pt>
                <c:pt idx="6027">
                  <c:v>7556.363809245694</c:v>
                </c:pt>
                <c:pt idx="6028">
                  <c:v>7849.3143111051368</c:v>
                </c:pt>
                <c:pt idx="6029">
                  <c:v>8387.8679608179173</c:v>
                </c:pt>
                <c:pt idx="6030">
                  <c:v>8834.8275403318021</c:v>
                </c:pt>
                <c:pt idx="6031">
                  <c:v>9080.9405513947131</c:v>
                </c:pt>
                <c:pt idx="6032">
                  <c:v>9150.255811712077</c:v>
                </c:pt>
                <c:pt idx="6033">
                  <c:v>9170.942360322244</c:v>
                </c:pt>
                <c:pt idx="6034">
                  <c:v>9218.5297102913719</c:v>
                </c:pt>
                <c:pt idx="6035">
                  <c:v>9196.9261879395253</c:v>
                </c:pt>
                <c:pt idx="6036">
                  <c:v>9084.574852742322</c:v>
                </c:pt>
                <c:pt idx="6037">
                  <c:v>9043.8360722988546</c:v>
                </c:pt>
                <c:pt idx="6038">
                  <c:v>9010.2156955093324</c:v>
                </c:pt>
                <c:pt idx="6039">
                  <c:v>8938.2425866364192</c:v>
                </c:pt>
                <c:pt idx="6040">
                  <c:v>8933.5436523505905</c:v>
                </c:pt>
                <c:pt idx="6041">
                  <c:v>8907.8715987926753</c:v>
                </c:pt>
                <c:pt idx="6042">
                  <c:v>9037.4616421857227</c:v>
                </c:pt>
                <c:pt idx="6043">
                  <c:v>9190.3194621509028</c:v>
                </c:pt>
                <c:pt idx="6044">
                  <c:v>8898.1128864463826</c:v>
                </c:pt>
                <c:pt idx="6045">
                  <c:v>8725.504163419193</c:v>
                </c:pt>
                <c:pt idx="6046">
                  <c:v>8426.9744222994905</c:v>
                </c:pt>
                <c:pt idx="6047">
                  <c:v>8003.8769916229339</c:v>
                </c:pt>
                <c:pt idx="6048">
                  <c:v>7687.3481075452473</c:v>
                </c:pt>
                <c:pt idx="6049">
                  <c:v>7551.8782502712011</c:v>
                </c:pt>
                <c:pt idx="6050">
                  <c:v>7600.8310294373368</c:v>
                </c:pt>
                <c:pt idx="6051">
                  <c:v>7754.2634842841544</c:v>
                </c:pt>
                <c:pt idx="6052">
                  <c:v>8034.3751904127084</c:v>
                </c:pt>
                <c:pt idx="6053">
                  <c:v>8528.5790166337028</c:v>
                </c:pt>
                <c:pt idx="6054">
                  <c:v>9008.8350689203107</c:v>
                </c:pt>
                <c:pt idx="6055">
                  <c:v>9125.7310264143034</c:v>
                </c:pt>
                <c:pt idx="6056">
                  <c:v>9230.433713257491</c:v>
                </c:pt>
                <c:pt idx="6057">
                  <c:v>9165.2831264230135</c:v>
                </c:pt>
                <c:pt idx="6058">
                  <c:v>9128.3626288843625</c:v>
                </c:pt>
                <c:pt idx="6059">
                  <c:v>9072.931630917632</c:v>
                </c:pt>
                <c:pt idx="6060">
                  <c:v>8863.7159723382447</c:v>
                </c:pt>
                <c:pt idx="6061">
                  <c:v>8756.7337167191563</c:v>
                </c:pt>
                <c:pt idx="6062">
                  <c:v>8711.2709455690274</c:v>
                </c:pt>
                <c:pt idx="6063">
                  <c:v>8705.0948184822828</c:v>
                </c:pt>
                <c:pt idx="6064">
                  <c:v>8755.2943670156274</c:v>
                </c:pt>
                <c:pt idx="6065">
                  <c:v>8737.5429872366822</c:v>
                </c:pt>
                <c:pt idx="6066">
                  <c:v>8849.3801979037398</c:v>
                </c:pt>
                <c:pt idx="6067">
                  <c:v>9045.4897473010806</c:v>
                </c:pt>
                <c:pt idx="6068">
                  <c:v>8727.0117960609296</c:v>
                </c:pt>
                <c:pt idx="6069">
                  <c:v>8568.4241748251006</c:v>
                </c:pt>
                <c:pt idx="6070">
                  <c:v>8253.2046813675151</c:v>
                </c:pt>
                <c:pt idx="6071">
                  <c:v>7802.718293345496</c:v>
                </c:pt>
                <c:pt idx="6072">
                  <c:v>7495.0366700832637</c:v>
                </c:pt>
                <c:pt idx="6073">
                  <c:v>7360.7639683961042</c:v>
                </c:pt>
                <c:pt idx="6074">
                  <c:v>7305.2931725827075</c:v>
                </c:pt>
                <c:pt idx="6075">
                  <c:v>7344.0864345455593</c:v>
                </c:pt>
                <c:pt idx="6076">
                  <c:v>7432.8856874196008</c:v>
                </c:pt>
                <c:pt idx="6077">
                  <c:v>7570.5087312132973</c:v>
                </c:pt>
                <c:pt idx="6078">
                  <c:v>7640.5586133984925</c:v>
                </c:pt>
                <c:pt idx="6079">
                  <c:v>7876.803182661035</c:v>
                </c:pt>
                <c:pt idx="6080">
                  <c:v>8090.6775894500588</c:v>
                </c:pt>
                <c:pt idx="6081">
                  <c:v>8281.2746392479694</c:v>
                </c:pt>
                <c:pt idx="6082">
                  <c:v>8372.2619598932961</c:v>
                </c:pt>
                <c:pt idx="6083">
                  <c:v>8362.1852618511366</c:v>
                </c:pt>
                <c:pt idx="6084">
                  <c:v>8299.9702170902783</c:v>
                </c:pt>
                <c:pt idx="6085">
                  <c:v>8246.478634754505</c:v>
                </c:pt>
                <c:pt idx="6086">
                  <c:v>8253.3403507481635</c:v>
                </c:pt>
                <c:pt idx="6087">
                  <c:v>8400.3991188592881</c:v>
                </c:pt>
                <c:pt idx="6088">
                  <c:v>8501.1478661250494</c:v>
                </c:pt>
                <c:pt idx="6089">
                  <c:v>8634.5092114453837</c:v>
                </c:pt>
                <c:pt idx="6090">
                  <c:v>8731.5425121117096</c:v>
                </c:pt>
                <c:pt idx="6091">
                  <c:v>8802.6419584562791</c:v>
                </c:pt>
                <c:pt idx="6092">
                  <c:v>8426.5968313928242</c:v>
                </c:pt>
                <c:pt idx="6093">
                  <c:v>8331.2508286561715</c:v>
                </c:pt>
                <c:pt idx="6094">
                  <c:v>8051.0569113264446</c:v>
                </c:pt>
                <c:pt idx="6095">
                  <c:v>7644.3236764750436</c:v>
                </c:pt>
                <c:pt idx="6096">
                  <c:v>7304.3323325488682</c:v>
                </c:pt>
                <c:pt idx="6097">
                  <c:v>7183.3732128892552</c:v>
                </c:pt>
                <c:pt idx="6098">
                  <c:v>7150.497822857641</c:v>
                </c:pt>
                <c:pt idx="6099">
                  <c:v>7194.1026139851356</c:v>
                </c:pt>
                <c:pt idx="6100">
                  <c:v>7277.3670682926013</c:v>
                </c:pt>
                <c:pt idx="6101">
                  <c:v>7368.9200889149306</c:v>
                </c:pt>
                <c:pt idx="6102">
                  <c:v>7394.219364983227</c:v>
                </c:pt>
                <c:pt idx="6103">
                  <c:v>7661.8190748100251</c:v>
                </c:pt>
                <c:pt idx="6104">
                  <c:v>7970.2776982604664</c:v>
                </c:pt>
                <c:pt idx="6105">
                  <c:v>8183.9724025860032</c:v>
                </c:pt>
                <c:pt idx="6106">
                  <c:v>8319.8266387753993</c:v>
                </c:pt>
                <c:pt idx="6107">
                  <c:v>8347.317640084937</c:v>
                </c:pt>
                <c:pt idx="6108">
                  <c:v>8318.2248659344314</c:v>
                </c:pt>
                <c:pt idx="6109">
                  <c:v>8278.3426965495819</c:v>
                </c:pt>
                <c:pt idx="6110">
                  <c:v>8301.0014083014976</c:v>
                </c:pt>
                <c:pt idx="6111">
                  <c:v>8322.7459685581198</c:v>
                </c:pt>
                <c:pt idx="6112">
                  <c:v>8391.3912354357926</c:v>
                </c:pt>
                <c:pt idx="6113">
                  <c:v>8463.6926880941646</c:v>
                </c:pt>
                <c:pt idx="6114">
                  <c:v>8594.0432633216988</c:v>
                </c:pt>
                <c:pt idx="6115">
                  <c:v>8684.0340983074693</c:v>
                </c:pt>
                <c:pt idx="6116">
                  <c:v>8342.3339538116688</c:v>
                </c:pt>
                <c:pt idx="6117">
                  <c:v>8348.0575397603861</c:v>
                </c:pt>
                <c:pt idx="6118">
                  <c:v>8115.9086686000292</c:v>
                </c:pt>
                <c:pt idx="6119">
                  <c:v>7691.200740301696</c:v>
                </c:pt>
                <c:pt idx="6120">
                  <c:v>7458.4282764414102</c:v>
                </c:pt>
                <c:pt idx="6121">
                  <c:v>7358.4633338080785</c:v>
                </c:pt>
                <c:pt idx="6122">
                  <c:v>7363.3646269305518</c:v>
                </c:pt>
                <c:pt idx="6123">
                  <c:v>7487.3906953773894</c:v>
                </c:pt>
                <c:pt idx="6124">
                  <c:v>7798.9672310268534</c:v>
                </c:pt>
                <c:pt idx="6125">
                  <c:v>8445.381235799965</c:v>
                </c:pt>
                <c:pt idx="6126">
                  <c:v>8853.0789504866316</c:v>
                </c:pt>
                <c:pt idx="6127">
                  <c:v>9086.2439182794878</c:v>
                </c:pt>
                <c:pt idx="6128">
                  <c:v>9298.6765663430469</c:v>
                </c:pt>
                <c:pt idx="6129">
                  <c:v>9260.8426676892341</c:v>
                </c:pt>
                <c:pt idx="6130">
                  <c:v>9290.5743580554317</c:v>
                </c:pt>
                <c:pt idx="6131">
                  <c:v>9249.0834081542325</c:v>
                </c:pt>
                <c:pt idx="6132">
                  <c:v>9087.8651672508404</c:v>
                </c:pt>
                <c:pt idx="6133">
                  <c:v>9016.2088990842058</c:v>
                </c:pt>
                <c:pt idx="6134">
                  <c:v>9015.8121841795</c:v>
                </c:pt>
                <c:pt idx="6135">
                  <c:v>8955.2190881286424</c:v>
                </c:pt>
                <c:pt idx="6136">
                  <c:v>9036.065682056289</c:v>
                </c:pt>
                <c:pt idx="6137">
                  <c:v>9037.0783217132575</c:v>
                </c:pt>
                <c:pt idx="6138">
                  <c:v>9250.9609231412906</c:v>
                </c:pt>
                <c:pt idx="6139">
                  <c:v>9522.6317761655628</c:v>
                </c:pt>
                <c:pt idx="6140">
                  <c:v>9197.9141680790326</c:v>
                </c:pt>
                <c:pt idx="6141">
                  <c:v>9117.8388185313252</c:v>
                </c:pt>
                <c:pt idx="6142">
                  <c:v>8821.3040802318865</c:v>
                </c:pt>
                <c:pt idx="6143">
                  <c:v>8317.9078630568365</c:v>
                </c:pt>
                <c:pt idx="6144">
                  <c:v>8020.682818818128</c:v>
                </c:pt>
                <c:pt idx="6145">
                  <c:v>7906.5770179798474</c:v>
                </c:pt>
                <c:pt idx="6146">
                  <c:v>7867.5288653962216</c:v>
                </c:pt>
                <c:pt idx="6147">
                  <c:v>8017.2167306358697</c:v>
                </c:pt>
                <c:pt idx="6148">
                  <c:v>8369.3263561864005</c:v>
                </c:pt>
                <c:pt idx="6149">
                  <c:v>9039.290674603335</c:v>
                </c:pt>
                <c:pt idx="6150">
                  <c:v>9442.7332874431286</c:v>
                </c:pt>
                <c:pt idx="6151">
                  <c:v>9568.4411638683814</c:v>
                </c:pt>
                <c:pt idx="6152">
                  <c:v>9636.3175230250399</c:v>
                </c:pt>
                <c:pt idx="6153">
                  <c:v>9575.6139092297271</c:v>
                </c:pt>
                <c:pt idx="6154">
                  <c:v>9551.3718037933322</c:v>
                </c:pt>
                <c:pt idx="6155">
                  <c:v>9529.6816180106507</c:v>
                </c:pt>
                <c:pt idx="6156">
                  <c:v>9402.4058385521294</c:v>
                </c:pt>
                <c:pt idx="6157">
                  <c:v>9362.8880914012479</c:v>
                </c:pt>
                <c:pt idx="6158">
                  <c:v>9292.4211151176078</c:v>
                </c:pt>
                <c:pt idx="6159">
                  <c:v>9295.3390906963377</c:v>
                </c:pt>
                <c:pt idx="6160">
                  <c:v>9354.6370109985728</c:v>
                </c:pt>
                <c:pt idx="6161">
                  <c:v>9377.8874514033396</c:v>
                </c:pt>
                <c:pt idx="6162">
                  <c:v>9537.5863771379009</c:v>
                </c:pt>
                <c:pt idx="6163">
                  <c:v>9814.1833048552162</c:v>
                </c:pt>
                <c:pt idx="6164">
                  <c:v>9359.8992796338371</c:v>
                </c:pt>
                <c:pt idx="6165">
                  <c:v>9195.5776277129571</c:v>
                </c:pt>
                <c:pt idx="6166">
                  <c:v>8896.6775705621039</c:v>
                </c:pt>
                <c:pt idx="6167">
                  <c:v>8458.2592268357275</c:v>
                </c:pt>
                <c:pt idx="6168">
                  <c:v>8196.0248134544399</c:v>
                </c:pt>
                <c:pt idx="6169">
                  <c:v>8053.150135904687</c:v>
                </c:pt>
                <c:pt idx="6170">
                  <c:v>8053.2285223855315</c:v>
                </c:pt>
                <c:pt idx="6171">
                  <c:v>8187.7415331480115</c:v>
                </c:pt>
                <c:pt idx="6172">
                  <c:v>8439.2733461401112</c:v>
                </c:pt>
                <c:pt idx="6173">
                  <c:v>9028.1412078563135</c:v>
                </c:pt>
                <c:pt idx="6174">
                  <c:v>9383.5571156457663</c:v>
                </c:pt>
                <c:pt idx="6175">
                  <c:v>9596.773970580045</c:v>
                </c:pt>
                <c:pt idx="6176">
                  <c:v>9739.4469502714128</c:v>
                </c:pt>
                <c:pt idx="6177">
                  <c:v>9611.6444074236169</c:v>
                </c:pt>
                <c:pt idx="6178">
                  <c:v>9576.5878932388277</c:v>
                </c:pt>
                <c:pt idx="6179">
                  <c:v>9453.4926590563646</c:v>
                </c:pt>
                <c:pt idx="6180">
                  <c:v>9363.4688322922266</c:v>
                </c:pt>
                <c:pt idx="6181">
                  <c:v>9205.0090613975663</c:v>
                </c:pt>
                <c:pt idx="6182">
                  <c:v>9297.7975586149114</c:v>
                </c:pt>
                <c:pt idx="6183">
                  <c:v>9345.2015889049162</c:v>
                </c:pt>
                <c:pt idx="6184">
                  <c:v>9407.5750212038893</c:v>
                </c:pt>
                <c:pt idx="6185">
                  <c:v>9463.1203096592435</c:v>
                </c:pt>
                <c:pt idx="6186">
                  <c:v>9739.5226574267726</c:v>
                </c:pt>
                <c:pt idx="6187">
                  <c:v>9964.2541806220142</c:v>
                </c:pt>
                <c:pt idx="6188">
                  <c:v>9500.8148350646588</c:v>
                </c:pt>
                <c:pt idx="6189">
                  <c:v>9316.8601554108773</c:v>
                </c:pt>
                <c:pt idx="6190">
                  <c:v>9029.4548835783517</c:v>
                </c:pt>
                <c:pt idx="6191">
                  <c:v>8524.1917339164793</c:v>
                </c:pt>
                <c:pt idx="6192">
                  <c:v>8190.4821460957755</c:v>
                </c:pt>
                <c:pt idx="6193">
                  <c:v>8111.3177940882852</c:v>
                </c:pt>
                <c:pt idx="6194">
                  <c:v>8122.4667631852526</c:v>
                </c:pt>
                <c:pt idx="6195">
                  <c:v>8183.4983295292986</c:v>
                </c:pt>
                <c:pt idx="6196">
                  <c:v>8429.8907475097494</c:v>
                </c:pt>
                <c:pt idx="6197">
                  <c:v>9074.1777299643582</c:v>
                </c:pt>
                <c:pt idx="6198">
                  <c:v>9500.215390130681</c:v>
                </c:pt>
                <c:pt idx="6199">
                  <c:v>9656.9687626973864</c:v>
                </c:pt>
                <c:pt idx="6200">
                  <c:v>9735.8419259156217</c:v>
                </c:pt>
                <c:pt idx="6201">
                  <c:v>9703.6568060500504</c:v>
                </c:pt>
                <c:pt idx="6202">
                  <c:v>9663.3900051153232</c:v>
                </c:pt>
                <c:pt idx="6203">
                  <c:v>9550.8624968645327</c:v>
                </c:pt>
                <c:pt idx="6204">
                  <c:v>9462.7196983618051</c:v>
                </c:pt>
                <c:pt idx="6205">
                  <c:v>9475.5042876131702</c:v>
                </c:pt>
                <c:pt idx="6206">
                  <c:v>9466.1301712403529</c:v>
                </c:pt>
                <c:pt idx="6207">
                  <c:v>9464.217806787281</c:v>
                </c:pt>
                <c:pt idx="6208">
                  <c:v>9552.0682975015479</c:v>
                </c:pt>
                <c:pt idx="6209">
                  <c:v>9567.4430609877909</c:v>
                </c:pt>
                <c:pt idx="6210">
                  <c:v>9776.8057149152555</c:v>
                </c:pt>
                <c:pt idx="6211">
                  <c:v>10014.099940501021</c:v>
                </c:pt>
                <c:pt idx="6212">
                  <c:v>9531.9285613949924</c:v>
                </c:pt>
                <c:pt idx="6213">
                  <c:v>9363.3740793556917</c:v>
                </c:pt>
                <c:pt idx="6214">
                  <c:v>9055.9559701271683</c:v>
                </c:pt>
                <c:pt idx="6215">
                  <c:v>8577.3615291312217</c:v>
                </c:pt>
                <c:pt idx="6216">
                  <c:v>8298.6478278684499</c:v>
                </c:pt>
                <c:pt idx="6217">
                  <c:v>8169.6109897900469</c:v>
                </c:pt>
                <c:pt idx="6218">
                  <c:v>8203.9592814224834</c:v>
                </c:pt>
                <c:pt idx="6219">
                  <c:v>8296.3339300402058</c:v>
                </c:pt>
                <c:pt idx="6220">
                  <c:v>8572.9765345395099</c:v>
                </c:pt>
                <c:pt idx="6221">
                  <c:v>9252.2343010667755</c:v>
                </c:pt>
                <c:pt idx="6222">
                  <c:v>9616.7139541394099</c:v>
                </c:pt>
                <c:pt idx="6223">
                  <c:v>9884.0897405320356</c:v>
                </c:pt>
                <c:pt idx="6224">
                  <c:v>9930.2659056434532</c:v>
                </c:pt>
                <c:pt idx="6225">
                  <c:v>9833.4446305573565</c:v>
                </c:pt>
                <c:pt idx="6226">
                  <c:v>9760.805824347377</c:v>
                </c:pt>
                <c:pt idx="6227">
                  <c:v>9597.2065600140195</c:v>
                </c:pt>
                <c:pt idx="6228">
                  <c:v>9547.0593816283563</c:v>
                </c:pt>
                <c:pt idx="6229">
                  <c:v>9514.6557851610887</c:v>
                </c:pt>
                <c:pt idx="6230">
                  <c:v>9399.9474129804184</c:v>
                </c:pt>
                <c:pt idx="6231">
                  <c:v>9452.0454471104877</c:v>
                </c:pt>
                <c:pt idx="6232">
                  <c:v>9521.8930055243436</c:v>
                </c:pt>
                <c:pt idx="6233">
                  <c:v>9527.512790274177</c:v>
                </c:pt>
                <c:pt idx="6234">
                  <c:v>9672.3041502806154</c:v>
                </c:pt>
                <c:pt idx="6235">
                  <c:v>9806.2300967604588</c:v>
                </c:pt>
                <c:pt idx="6236">
                  <c:v>9373.1966656227705</c:v>
                </c:pt>
                <c:pt idx="6237">
                  <c:v>9258.4307360700823</c:v>
                </c:pt>
                <c:pt idx="6238">
                  <c:v>8897.9186834998818</c:v>
                </c:pt>
                <c:pt idx="6239">
                  <c:v>8460.6350976051272</c:v>
                </c:pt>
                <c:pt idx="6240">
                  <c:v>8203.4048448429076</c:v>
                </c:pt>
                <c:pt idx="6241">
                  <c:v>8016.9547504653356</c:v>
                </c:pt>
                <c:pt idx="6242">
                  <c:v>7963.6240715410313</c:v>
                </c:pt>
                <c:pt idx="6243">
                  <c:v>8013.9759056821404</c:v>
                </c:pt>
                <c:pt idx="6244">
                  <c:v>8136.2642580538432</c:v>
                </c:pt>
                <c:pt idx="6245">
                  <c:v>8331.9481673049886</c:v>
                </c:pt>
                <c:pt idx="6246">
                  <c:v>8400.308609126876</c:v>
                </c:pt>
                <c:pt idx="6247">
                  <c:v>8552.5723785419505</c:v>
                </c:pt>
                <c:pt idx="6248">
                  <c:v>8760.9336039988502</c:v>
                </c:pt>
                <c:pt idx="6249">
                  <c:v>8855.6156373434096</c:v>
                </c:pt>
                <c:pt idx="6250">
                  <c:v>8834.8038126469455</c:v>
                </c:pt>
                <c:pt idx="6251">
                  <c:v>8861.7072781817533</c:v>
                </c:pt>
                <c:pt idx="6252">
                  <c:v>8831.2335393010308</c:v>
                </c:pt>
                <c:pt idx="6253">
                  <c:v>8764.2636191593501</c:v>
                </c:pt>
                <c:pt idx="6254">
                  <c:v>8765.7259068439253</c:v>
                </c:pt>
                <c:pt idx="6255">
                  <c:v>8864.7350699030376</c:v>
                </c:pt>
                <c:pt idx="6256">
                  <c:v>9004.1610120560272</c:v>
                </c:pt>
                <c:pt idx="6257">
                  <c:v>9193.0290521827228</c:v>
                </c:pt>
                <c:pt idx="6258">
                  <c:v>9359.1005784369336</c:v>
                </c:pt>
                <c:pt idx="6259">
                  <c:v>9491.8317921719008</c:v>
                </c:pt>
                <c:pt idx="6260">
                  <c:v>9025.7515460134382</c:v>
                </c:pt>
                <c:pt idx="6261">
                  <c:v>8962.5947733705561</c:v>
                </c:pt>
                <c:pt idx="6262">
                  <c:v>8732.5204947668026</c:v>
                </c:pt>
                <c:pt idx="6263">
                  <c:v>8335.9333042663875</c:v>
                </c:pt>
                <c:pt idx="6264">
                  <c:v>8019.9331719486008</c:v>
                </c:pt>
                <c:pt idx="6265">
                  <c:v>7846.7101546120048</c:v>
                </c:pt>
                <c:pt idx="6266">
                  <c:v>7784.2206843070217</c:v>
                </c:pt>
                <c:pt idx="6267">
                  <c:v>7834.5609751308839</c:v>
                </c:pt>
                <c:pt idx="6268">
                  <c:v>7895.5481550940167</c:v>
                </c:pt>
                <c:pt idx="6269">
                  <c:v>8034.567225391429</c:v>
                </c:pt>
                <c:pt idx="6270">
                  <c:v>8058.5103333605393</c:v>
                </c:pt>
                <c:pt idx="6271">
                  <c:v>8217.9266997545365</c:v>
                </c:pt>
                <c:pt idx="6272">
                  <c:v>8466.988114337375</c:v>
                </c:pt>
                <c:pt idx="6273">
                  <c:v>8580.1677181208051</c:v>
                </c:pt>
                <c:pt idx="6274">
                  <c:v>8579.6390697980914</c:v>
                </c:pt>
                <c:pt idx="6275">
                  <c:v>8576.6542267468649</c:v>
                </c:pt>
                <c:pt idx="6276">
                  <c:v>8529.9176636601042</c:v>
                </c:pt>
                <c:pt idx="6277">
                  <c:v>8497.4652518945568</c:v>
                </c:pt>
                <c:pt idx="6278">
                  <c:v>8488.7164700363137</c:v>
                </c:pt>
                <c:pt idx="6279">
                  <c:v>8543.6392919002064</c:v>
                </c:pt>
                <c:pt idx="6280">
                  <c:v>8657.4500766964375</c:v>
                </c:pt>
                <c:pt idx="6281">
                  <c:v>8842.6370295953566</c:v>
                </c:pt>
                <c:pt idx="6282">
                  <c:v>9150.7540407988818</c:v>
                </c:pt>
                <c:pt idx="6283">
                  <c:v>9283.0646653847925</c:v>
                </c:pt>
                <c:pt idx="6284">
                  <c:v>8881.527889608511</c:v>
                </c:pt>
                <c:pt idx="6285">
                  <c:v>8874.5000888812374</c:v>
                </c:pt>
                <c:pt idx="6286">
                  <c:v>8691.8195819354914</c:v>
                </c:pt>
                <c:pt idx="6287">
                  <c:v>8350.2183258840359</c:v>
                </c:pt>
                <c:pt idx="6288">
                  <c:v>7983.357664100412</c:v>
                </c:pt>
                <c:pt idx="6289">
                  <c:v>7846.21117498899</c:v>
                </c:pt>
                <c:pt idx="6290">
                  <c:v>7816.3225269113991</c:v>
                </c:pt>
                <c:pt idx="6291">
                  <c:v>7964.5654511016082</c:v>
                </c:pt>
                <c:pt idx="6292">
                  <c:v>8277.0302235356685</c:v>
                </c:pt>
                <c:pt idx="6293">
                  <c:v>9002.014951651201</c:v>
                </c:pt>
                <c:pt idx="6294">
                  <c:v>9387.0523585306073</c:v>
                </c:pt>
                <c:pt idx="6295">
                  <c:v>9655.1524490239899</c:v>
                </c:pt>
                <c:pt idx="6296">
                  <c:v>9774.1090339949606</c:v>
                </c:pt>
                <c:pt idx="6297">
                  <c:v>9754.0038601919896</c:v>
                </c:pt>
                <c:pt idx="6298">
                  <c:v>9732.6890542592464</c:v>
                </c:pt>
                <c:pt idx="6299">
                  <c:v>9647.8378378525776</c:v>
                </c:pt>
                <c:pt idx="6300">
                  <c:v>9494.0662557953256</c:v>
                </c:pt>
                <c:pt idx="6301">
                  <c:v>9412.1783310451156</c:v>
                </c:pt>
                <c:pt idx="6302">
                  <c:v>9330.690898934934</c:v>
                </c:pt>
                <c:pt idx="6303">
                  <c:v>9268.3274319937063</c:v>
                </c:pt>
                <c:pt idx="6304">
                  <c:v>9306.0235171845488</c:v>
                </c:pt>
                <c:pt idx="6305">
                  <c:v>9328.0332603022653</c:v>
                </c:pt>
                <c:pt idx="6306">
                  <c:v>9616.0101061605419</c:v>
                </c:pt>
                <c:pt idx="6307">
                  <c:v>9897.4012497663134</c:v>
                </c:pt>
                <c:pt idx="6308">
                  <c:v>9484.3433741332428</c:v>
                </c:pt>
                <c:pt idx="6309">
                  <c:v>9333.3515973781614</c:v>
                </c:pt>
                <c:pt idx="6310">
                  <c:v>9109.2179010893087</c:v>
                </c:pt>
                <c:pt idx="6311">
                  <c:v>8656.534283602803</c:v>
                </c:pt>
                <c:pt idx="6312">
                  <c:v>8431.2606915511769</c:v>
                </c:pt>
                <c:pt idx="6313">
                  <c:v>8245.9870521300363</c:v>
                </c:pt>
                <c:pt idx="6314">
                  <c:v>8291.801037518806</c:v>
                </c:pt>
                <c:pt idx="6315">
                  <c:v>8358.9185399388334</c:v>
                </c:pt>
                <c:pt idx="6316">
                  <c:v>8705.250641219789</c:v>
                </c:pt>
                <c:pt idx="6317">
                  <c:v>9456.1764862204236</c:v>
                </c:pt>
                <c:pt idx="6318">
                  <c:v>9791.2036108438242</c:v>
                </c:pt>
                <c:pt idx="6319">
                  <c:v>9989.2658324491786</c:v>
                </c:pt>
                <c:pt idx="6320">
                  <c:v>10020.221719734749</c:v>
                </c:pt>
                <c:pt idx="6321">
                  <c:v>9870.6366261208022</c:v>
                </c:pt>
                <c:pt idx="6322">
                  <c:v>9723.0455850203107</c:v>
                </c:pt>
                <c:pt idx="6323">
                  <c:v>9688.4753743918882</c:v>
                </c:pt>
                <c:pt idx="6324">
                  <c:v>9572.5904064322767</c:v>
                </c:pt>
                <c:pt idx="6325">
                  <c:v>9501.1590725210335</c:v>
                </c:pt>
                <c:pt idx="6326">
                  <c:v>9379.3440306496632</c:v>
                </c:pt>
                <c:pt idx="6327">
                  <c:v>9376.7549801673158</c:v>
                </c:pt>
                <c:pt idx="6328">
                  <c:v>9446.4171782939466</c:v>
                </c:pt>
                <c:pt idx="6329">
                  <c:v>9504.6902792299115</c:v>
                </c:pt>
                <c:pt idx="6330">
                  <c:v>9869.6827226524074</c:v>
                </c:pt>
                <c:pt idx="6331">
                  <c:v>10064.717887188583</c:v>
                </c:pt>
                <c:pt idx="6332">
                  <c:v>9663.8183150126952</c:v>
                </c:pt>
                <c:pt idx="6333">
                  <c:v>9522.1447487194418</c:v>
                </c:pt>
                <c:pt idx="6334">
                  <c:v>9237.177233818873</c:v>
                </c:pt>
                <c:pt idx="6335">
                  <c:v>8805.1795839049828</c:v>
                </c:pt>
                <c:pt idx="6336">
                  <c:v>8486.1964125324339</c:v>
                </c:pt>
                <c:pt idx="6337">
                  <c:v>8380.9064583252675</c:v>
                </c:pt>
                <c:pt idx="6338">
                  <c:v>8421.7893019768617</c:v>
                </c:pt>
                <c:pt idx="6339">
                  <c:v>8575.1052919384856</c:v>
                </c:pt>
                <c:pt idx="6340">
                  <c:v>8946.9041711078862</c:v>
                </c:pt>
                <c:pt idx="6341">
                  <c:v>9673.2798835713365</c:v>
                </c:pt>
                <c:pt idx="6342">
                  <c:v>9966.6890432727123</c:v>
                </c:pt>
                <c:pt idx="6343">
                  <c:v>10080.315410341964</c:v>
                </c:pt>
                <c:pt idx="6344">
                  <c:v>9991.6164655493321</c:v>
                </c:pt>
                <c:pt idx="6345">
                  <c:v>9789.8939876900804</c:v>
                </c:pt>
                <c:pt idx="6346">
                  <c:v>9727.4113198087925</c:v>
                </c:pt>
                <c:pt idx="6347">
                  <c:v>9672.3777058308751</c:v>
                </c:pt>
                <c:pt idx="6348">
                  <c:v>9527.3463710185642</c:v>
                </c:pt>
                <c:pt idx="6349">
                  <c:v>9349.6987465888069</c:v>
                </c:pt>
                <c:pt idx="6350">
                  <c:v>9339.393369782616</c:v>
                </c:pt>
                <c:pt idx="6351">
                  <c:v>9374.1697339846978</c:v>
                </c:pt>
                <c:pt idx="6352">
                  <c:v>9418.871494227631</c:v>
                </c:pt>
                <c:pt idx="6353">
                  <c:v>9432.7520131990823</c:v>
                </c:pt>
                <c:pt idx="6354">
                  <c:v>9913.7149741535195</c:v>
                </c:pt>
                <c:pt idx="6355">
                  <c:v>10057.918817966873</c:v>
                </c:pt>
                <c:pt idx="6356">
                  <c:v>9526.3815244018369</c:v>
                </c:pt>
                <c:pt idx="6357">
                  <c:v>9345.9196315481513</c:v>
                </c:pt>
                <c:pt idx="6358">
                  <c:v>9048.6675809873523</c:v>
                </c:pt>
                <c:pt idx="6359">
                  <c:v>8589.1160869652304</c:v>
                </c:pt>
                <c:pt idx="6360">
                  <c:v>8263.4758461050333</c:v>
                </c:pt>
                <c:pt idx="6361">
                  <c:v>8193.443177214056</c:v>
                </c:pt>
                <c:pt idx="6362">
                  <c:v>8208.5043915418628</c:v>
                </c:pt>
                <c:pt idx="6363">
                  <c:v>8337.6568938687706</c:v>
                </c:pt>
                <c:pt idx="6364">
                  <c:v>8614.8629756693117</c:v>
                </c:pt>
                <c:pt idx="6365">
                  <c:v>9364.1180684154479</c:v>
                </c:pt>
                <c:pt idx="6366">
                  <c:v>9645.2660421631517</c:v>
                </c:pt>
                <c:pt idx="6367">
                  <c:v>9840.0113991421968</c:v>
                </c:pt>
                <c:pt idx="6368">
                  <c:v>9916.8399617365012</c:v>
                </c:pt>
                <c:pt idx="6369">
                  <c:v>9948.6386375096718</c:v>
                </c:pt>
                <c:pt idx="6370">
                  <c:v>9928.510406206542</c:v>
                </c:pt>
                <c:pt idx="6371">
                  <c:v>9933.6509375801652</c:v>
                </c:pt>
                <c:pt idx="6372">
                  <c:v>9862.9213211006245</c:v>
                </c:pt>
                <c:pt idx="6373">
                  <c:v>9857.1269702472764</c:v>
                </c:pt>
                <c:pt idx="6374">
                  <c:v>9779.1855344755459</c:v>
                </c:pt>
                <c:pt idx="6375">
                  <c:v>9735.4537000968685</c:v>
                </c:pt>
                <c:pt idx="6376">
                  <c:v>9818.4054510610913</c:v>
                </c:pt>
                <c:pt idx="6377">
                  <c:v>9965.8746496301228</c:v>
                </c:pt>
                <c:pt idx="6378">
                  <c:v>10229.821671967471</c:v>
                </c:pt>
                <c:pt idx="6379">
                  <c:v>10155.118503725338</c:v>
                </c:pt>
                <c:pt idx="6380">
                  <c:v>9588.204213729603</c:v>
                </c:pt>
                <c:pt idx="6381">
                  <c:v>9438.9907920540518</c:v>
                </c:pt>
                <c:pt idx="6382">
                  <c:v>9182.2246625090647</c:v>
                </c:pt>
                <c:pt idx="6383">
                  <c:v>8784.1605236785435</c:v>
                </c:pt>
                <c:pt idx="6384">
                  <c:v>8400.1791373461074</c:v>
                </c:pt>
                <c:pt idx="6385">
                  <c:v>8262.9485748556617</c:v>
                </c:pt>
                <c:pt idx="6386">
                  <c:v>8252.1191693665569</c:v>
                </c:pt>
                <c:pt idx="6387">
                  <c:v>8361.7680071638824</c:v>
                </c:pt>
                <c:pt idx="6388">
                  <c:v>8658.5948771418316</c:v>
                </c:pt>
                <c:pt idx="6389">
                  <c:v>9427.3554029599018</c:v>
                </c:pt>
                <c:pt idx="6390">
                  <c:v>9690.7902953694356</c:v>
                </c:pt>
                <c:pt idx="6391">
                  <c:v>9870.5894732424513</c:v>
                </c:pt>
                <c:pt idx="6392">
                  <c:v>9966.2868541985263</c:v>
                </c:pt>
                <c:pt idx="6393">
                  <c:v>9966.5273344095949</c:v>
                </c:pt>
                <c:pt idx="6394">
                  <c:v>9972.7474560062365</c:v>
                </c:pt>
                <c:pt idx="6395">
                  <c:v>10006.638771563254</c:v>
                </c:pt>
                <c:pt idx="6396">
                  <c:v>9947.46916088935</c:v>
                </c:pt>
                <c:pt idx="6397">
                  <c:v>9843.7759889385234</c:v>
                </c:pt>
                <c:pt idx="6398">
                  <c:v>9823.6593310552635</c:v>
                </c:pt>
                <c:pt idx="6399">
                  <c:v>9760.4642260958535</c:v>
                </c:pt>
                <c:pt idx="6400">
                  <c:v>9765.7211000138177</c:v>
                </c:pt>
                <c:pt idx="6401">
                  <c:v>9842.4983084374453</c:v>
                </c:pt>
                <c:pt idx="6402">
                  <c:v>10095.764115384784</c:v>
                </c:pt>
                <c:pt idx="6403">
                  <c:v>10000.859000674971</c:v>
                </c:pt>
                <c:pt idx="6404">
                  <c:v>9546.1376648655078</c:v>
                </c:pt>
                <c:pt idx="6405">
                  <c:v>9380.7568416999638</c:v>
                </c:pt>
                <c:pt idx="6406">
                  <c:v>9088.8990602183221</c:v>
                </c:pt>
                <c:pt idx="6407">
                  <c:v>8667.7025310202807</c:v>
                </c:pt>
                <c:pt idx="6408">
                  <c:v>8254.065120208872</c:v>
                </c:pt>
                <c:pt idx="6409">
                  <c:v>8066.8889954654242</c:v>
                </c:pt>
                <c:pt idx="6410">
                  <c:v>7984.6719731309076</c:v>
                </c:pt>
                <c:pt idx="6411">
                  <c:v>8034.1108533782872</c:v>
                </c:pt>
                <c:pt idx="6412">
                  <c:v>8139.4701718529741</c:v>
                </c:pt>
                <c:pt idx="6413">
                  <c:v>8428.3894651286373</c:v>
                </c:pt>
                <c:pt idx="6414">
                  <c:v>8438.4109109508881</c:v>
                </c:pt>
                <c:pt idx="6415">
                  <c:v>8690.2742334307022</c:v>
                </c:pt>
                <c:pt idx="6416">
                  <c:v>8913.7605460039085</c:v>
                </c:pt>
                <c:pt idx="6417">
                  <c:v>9051.95689854991</c:v>
                </c:pt>
                <c:pt idx="6418">
                  <c:v>9107.3642300384909</c:v>
                </c:pt>
                <c:pt idx="6419">
                  <c:v>9025.5362171278503</c:v>
                </c:pt>
                <c:pt idx="6420">
                  <c:v>8911.6784785891559</c:v>
                </c:pt>
                <c:pt idx="6421">
                  <c:v>8864.2769267450276</c:v>
                </c:pt>
                <c:pt idx="6422">
                  <c:v>8929.5399056131082</c:v>
                </c:pt>
                <c:pt idx="6423">
                  <c:v>9001.4826943933258</c:v>
                </c:pt>
                <c:pt idx="6424">
                  <c:v>9209.9486175721922</c:v>
                </c:pt>
                <c:pt idx="6425">
                  <c:v>9291.923600336544</c:v>
                </c:pt>
                <c:pt idx="6426">
                  <c:v>9615.2417753690952</c:v>
                </c:pt>
                <c:pt idx="6427">
                  <c:v>9562.0790871100617</c:v>
                </c:pt>
                <c:pt idx="6428">
                  <c:v>9083.8236883431455</c:v>
                </c:pt>
                <c:pt idx="6429">
                  <c:v>8997.8164212186839</c:v>
                </c:pt>
                <c:pt idx="6430">
                  <c:v>8823.4552159151481</c:v>
                </c:pt>
                <c:pt idx="6431">
                  <c:v>8378.6391584632802</c:v>
                </c:pt>
                <c:pt idx="6432">
                  <c:v>8067.6434161396101</c:v>
                </c:pt>
                <c:pt idx="6433">
                  <c:v>7890.9114021859441</c:v>
                </c:pt>
                <c:pt idx="6434">
                  <c:v>7848.2301906599405</c:v>
                </c:pt>
                <c:pt idx="6435">
                  <c:v>7897.3884521721075</c:v>
                </c:pt>
                <c:pt idx="6436">
                  <c:v>8010.224474332651</c:v>
                </c:pt>
                <c:pt idx="6437">
                  <c:v>8239.8740244958644</c:v>
                </c:pt>
                <c:pt idx="6438">
                  <c:v>8202.0381071359498</c:v>
                </c:pt>
                <c:pt idx="6439">
                  <c:v>8428.107606520347</c:v>
                </c:pt>
                <c:pt idx="6440">
                  <c:v>8570.0325190059484</c:v>
                </c:pt>
                <c:pt idx="6441">
                  <c:v>8646.0731193307984</c:v>
                </c:pt>
                <c:pt idx="6442">
                  <c:v>8613.7858743626348</c:v>
                </c:pt>
                <c:pt idx="6443">
                  <c:v>8519.6215863332236</c:v>
                </c:pt>
                <c:pt idx="6444">
                  <c:v>8392.2211306112931</c:v>
                </c:pt>
                <c:pt idx="6445">
                  <c:v>8323.0474421316849</c:v>
                </c:pt>
                <c:pt idx="6446">
                  <c:v>8333.5909525899424</c:v>
                </c:pt>
                <c:pt idx="6447">
                  <c:v>8366.0556737192273</c:v>
                </c:pt>
                <c:pt idx="6448">
                  <c:v>8540.5766434814559</c:v>
                </c:pt>
                <c:pt idx="6449">
                  <c:v>8713.6891838153078</c:v>
                </c:pt>
                <c:pt idx="6450">
                  <c:v>9244.2945398601714</c:v>
                </c:pt>
                <c:pt idx="6451">
                  <c:v>9295.9436090122254</c:v>
                </c:pt>
                <c:pt idx="6452">
                  <c:v>8995.1220557687466</c:v>
                </c:pt>
                <c:pt idx="6453">
                  <c:v>9078.1565546276797</c:v>
                </c:pt>
                <c:pt idx="6454">
                  <c:v>8948.8146999521778</c:v>
                </c:pt>
                <c:pt idx="6455">
                  <c:v>8587.0160883991084</c:v>
                </c:pt>
                <c:pt idx="6456">
                  <c:v>8295.3088737698636</c:v>
                </c:pt>
                <c:pt idx="6457">
                  <c:v>8163.2627833205388</c:v>
                </c:pt>
                <c:pt idx="6458">
                  <c:v>8209.8474387410861</c:v>
                </c:pt>
                <c:pt idx="6459">
                  <c:v>8393.0133684051307</c:v>
                </c:pt>
                <c:pt idx="6460">
                  <c:v>8744.6537014863734</c:v>
                </c:pt>
                <c:pt idx="6461">
                  <c:v>9609.1688997915699</c:v>
                </c:pt>
                <c:pt idx="6462">
                  <c:v>9933.5475866567795</c:v>
                </c:pt>
                <c:pt idx="6463">
                  <c:v>10154.901727459011</c:v>
                </c:pt>
                <c:pt idx="6464">
                  <c:v>10109.255776953623</c:v>
                </c:pt>
                <c:pt idx="6465">
                  <c:v>9874.7741536298527</c:v>
                </c:pt>
                <c:pt idx="6466">
                  <c:v>9770.0789296174771</c:v>
                </c:pt>
                <c:pt idx="6467">
                  <c:v>9633.5251587531147</c:v>
                </c:pt>
                <c:pt idx="6468">
                  <c:v>9479.4174858847819</c:v>
                </c:pt>
                <c:pt idx="6469">
                  <c:v>9355.7971646326605</c:v>
                </c:pt>
                <c:pt idx="6470">
                  <c:v>9245.9029711769163</c:v>
                </c:pt>
                <c:pt idx="6471">
                  <c:v>9286.8024413772291</c:v>
                </c:pt>
                <c:pt idx="6472">
                  <c:v>9328.3215805987365</c:v>
                </c:pt>
                <c:pt idx="6473">
                  <c:v>9336.2218709190583</c:v>
                </c:pt>
                <c:pt idx="6474">
                  <c:v>9781.1678101238758</c:v>
                </c:pt>
                <c:pt idx="6475">
                  <c:v>9888.7523315604922</c:v>
                </c:pt>
                <c:pt idx="6476">
                  <c:v>9404.1234259243774</c:v>
                </c:pt>
                <c:pt idx="6477">
                  <c:v>9316.7862058734845</c:v>
                </c:pt>
                <c:pt idx="6478">
                  <c:v>9101.2468997628039</c:v>
                </c:pt>
                <c:pt idx="6479">
                  <c:v>8744.3416520347473</c:v>
                </c:pt>
                <c:pt idx="6480">
                  <c:v>8416.3392966655119</c:v>
                </c:pt>
                <c:pt idx="6481">
                  <c:v>8319.6842646167661</c:v>
                </c:pt>
                <c:pt idx="6482">
                  <c:v>8356.3564403464679</c:v>
                </c:pt>
                <c:pt idx="6483">
                  <c:v>8515.703660673269</c:v>
                </c:pt>
                <c:pt idx="6484">
                  <c:v>8856.4326993912855</c:v>
                </c:pt>
                <c:pt idx="6485">
                  <c:v>9550.081962137805</c:v>
                </c:pt>
                <c:pt idx="6486">
                  <c:v>9817.3112781256968</c:v>
                </c:pt>
                <c:pt idx="6487">
                  <c:v>9983.9674517851709</c:v>
                </c:pt>
                <c:pt idx="6488">
                  <c:v>9990.2163061513656</c:v>
                </c:pt>
                <c:pt idx="6489">
                  <c:v>9828.0276995054537</c:v>
                </c:pt>
                <c:pt idx="6490">
                  <c:v>9668.8455589013483</c:v>
                </c:pt>
                <c:pt idx="6491">
                  <c:v>9509.314395512396</c:v>
                </c:pt>
                <c:pt idx="6492">
                  <c:v>9347.2897595820268</c:v>
                </c:pt>
                <c:pt idx="6493">
                  <c:v>9259.7942681857094</c:v>
                </c:pt>
                <c:pt idx="6494">
                  <c:v>9198.210792224032</c:v>
                </c:pt>
                <c:pt idx="6495">
                  <c:v>9195.264619781814</c:v>
                </c:pt>
                <c:pt idx="6496">
                  <c:v>9312.1403473766732</c:v>
                </c:pt>
                <c:pt idx="6497">
                  <c:v>9468.4045972771564</c:v>
                </c:pt>
                <c:pt idx="6498">
                  <c:v>9864.6581609379209</c:v>
                </c:pt>
                <c:pt idx="6499">
                  <c:v>9877.2963156598726</c:v>
                </c:pt>
                <c:pt idx="6500">
                  <c:v>9334.4045513382316</c:v>
                </c:pt>
                <c:pt idx="6501">
                  <c:v>9230.6479189453967</c:v>
                </c:pt>
                <c:pt idx="6502">
                  <c:v>8993.1551990380976</c:v>
                </c:pt>
                <c:pt idx="6503">
                  <c:v>8566.7634415832981</c:v>
                </c:pt>
                <c:pt idx="6504">
                  <c:v>8264.003035040203</c:v>
                </c:pt>
                <c:pt idx="6505">
                  <c:v>8133.6794904366143</c:v>
                </c:pt>
                <c:pt idx="6506">
                  <c:v>8130.6341645579942</c:v>
                </c:pt>
                <c:pt idx="6507">
                  <c:v>8248.9799053707666</c:v>
                </c:pt>
                <c:pt idx="6508">
                  <c:v>8543.2401625569819</c:v>
                </c:pt>
                <c:pt idx="6509">
                  <c:v>9324.0616305947406</c:v>
                </c:pt>
                <c:pt idx="6510">
                  <c:v>9676.422073634898</c:v>
                </c:pt>
                <c:pt idx="6511">
                  <c:v>9862.8204292487244</c:v>
                </c:pt>
                <c:pt idx="6512">
                  <c:v>9952.0616718730744</c:v>
                </c:pt>
                <c:pt idx="6513">
                  <c:v>9991.7441134664841</c:v>
                </c:pt>
                <c:pt idx="6514">
                  <c:v>9897.7037898653616</c:v>
                </c:pt>
                <c:pt idx="6515">
                  <c:v>9804.7598164058218</c:v>
                </c:pt>
                <c:pt idx="6516">
                  <c:v>9716.468015543247</c:v>
                </c:pt>
                <c:pt idx="6517">
                  <c:v>9629.523317636691</c:v>
                </c:pt>
                <c:pt idx="6518">
                  <c:v>9645.0128465537728</c:v>
                </c:pt>
                <c:pt idx="6519">
                  <c:v>9697.1441839439267</c:v>
                </c:pt>
                <c:pt idx="6520">
                  <c:v>9735.9290336413142</c:v>
                </c:pt>
                <c:pt idx="6521">
                  <c:v>9769.4647651708601</c:v>
                </c:pt>
                <c:pt idx="6522">
                  <c:v>10170.572498783178</c:v>
                </c:pt>
                <c:pt idx="6523">
                  <c:v>10016.181805970307</c:v>
                </c:pt>
                <c:pt idx="6524">
                  <c:v>9453.6187421295963</c:v>
                </c:pt>
                <c:pt idx="6525">
                  <c:v>9300.1983335194036</c:v>
                </c:pt>
                <c:pt idx="6526">
                  <c:v>9034.1205970266474</c:v>
                </c:pt>
                <c:pt idx="6527">
                  <c:v>8543.6334631552854</c:v>
                </c:pt>
                <c:pt idx="6528">
                  <c:v>8203.933380444354</c:v>
                </c:pt>
                <c:pt idx="6529">
                  <c:v>8097.6904269062779</c:v>
                </c:pt>
                <c:pt idx="6530">
                  <c:v>8122.1832477919734</c:v>
                </c:pt>
                <c:pt idx="6531">
                  <c:v>8231.7945533707571</c:v>
                </c:pt>
                <c:pt idx="6532">
                  <c:v>8543.2012904799994</c:v>
                </c:pt>
                <c:pt idx="6533">
                  <c:v>9239.146499429884</c:v>
                </c:pt>
                <c:pt idx="6534">
                  <c:v>9577.2114974683009</c:v>
                </c:pt>
                <c:pt idx="6535">
                  <c:v>9775.1027477935604</c:v>
                </c:pt>
                <c:pt idx="6536">
                  <c:v>9857.3483964610259</c:v>
                </c:pt>
                <c:pt idx="6537">
                  <c:v>9883.6341005790127</c:v>
                </c:pt>
                <c:pt idx="6538">
                  <c:v>10026.827542117991</c:v>
                </c:pt>
                <c:pt idx="6539">
                  <c:v>9950.7460283804994</c:v>
                </c:pt>
                <c:pt idx="6540">
                  <c:v>9914.5856571773456</c:v>
                </c:pt>
                <c:pt idx="6541">
                  <c:v>9865.8827421930655</c:v>
                </c:pt>
                <c:pt idx="6542">
                  <c:v>9820.3771476945221</c:v>
                </c:pt>
                <c:pt idx="6543">
                  <c:v>9800.0467185228972</c:v>
                </c:pt>
                <c:pt idx="6544">
                  <c:v>9886.3031575781406</c:v>
                </c:pt>
                <c:pt idx="6545">
                  <c:v>9924.387629982808</c:v>
                </c:pt>
                <c:pt idx="6546">
                  <c:v>10300.641068194896</c:v>
                </c:pt>
                <c:pt idx="6547">
                  <c:v>10143.823690842326</c:v>
                </c:pt>
                <c:pt idx="6548">
                  <c:v>9606.9485990140347</c:v>
                </c:pt>
                <c:pt idx="6549">
                  <c:v>9508.9767765388115</c:v>
                </c:pt>
                <c:pt idx="6550">
                  <c:v>9256.2477833771172</c:v>
                </c:pt>
                <c:pt idx="6551">
                  <c:v>8769.7039810734077</c:v>
                </c:pt>
                <c:pt idx="6552">
                  <c:v>8436.8682387766057</c:v>
                </c:pt>
                <c:pt idx="6553">
                  <c:v>8319.3249430926862</c:v>
                </c:pt>
                <c:pt idx="6554">
                  <c:v>8339.0594286839332</c:v>
                </c:pt>
                <c:pt idx="6555">
                  <c:v>8403.7317393029844</c:v>
                </c:pt>
                <c:pt idx="6556">
                  <c:v>8724.4135520027939</c:v>
                </c:pt>
                <c:pt idx="6557">
                  <c:v>9450.5374327469872</c:v>
                </c:pt>
                <c:pt idx="6558">
                  <c:v>9892.4119885503605</c:v>
                </c:pt>
                <c:pt idx="6559">
                  <c:v>10037.858089459596</c:v>
                </c:pt>
                <c:pt idx="6560">
                  <c:v>10209.019540830635</c:v>
                </c:pt>
                <c:pt idx="6561">
                  <c:v>10111.304170105926</c:v>
                </c:pt>
                <c:pt idx="6562">
                  <c:v>10062.374041812003</c:v>
                </c:pt>
                <c:pt idx="6563">
                  <c:v>10066.073093175535</c:v>
                </c:pt>
                <c:pt idx="6564">
                  <c:v>9971.0781858327864</c:v>
                </c:pt>
                <c:pt idx="6565">
                  <c:v>9843.6455301127444</c:v>
                </c:pt>
                <c:pt idx="6566">
                  <c:v>9794.8806674734897</c:v>
                </c:pt>
                <c:pt idx="6567">
                  <c:v>9786.9297989832157</c:v>
                </c:pt>
                <c:pt idx="6568">
                  <c:v>9789.1966205078497</c:v>
                </c:pt>
                <c:pt idx="6569">
                  <c:v>9809.3592236029253</c:v>
                </c:pt>
                <c:pt idx="6570">
                  <c:v>10123.093693489693</c:v>
                </c:pt>
                <c:pt idx="6571">
                  <c:v>9924.8840714356284</c:v>
                </c:pt>
                <c:pt idx="6572">
                  <c:v>9415.9676393874124</c:v>
                </c:pt>
                <c:pt idx="6573">
                  <c:v>9260.1042273768799</c:v>
                </c:pt>
                <c:pt idx="6574">
                  <c:v>8957.1171109738189</c:v>
                </c:pt>
                <c:pt idx="6575">
                  <c:v>8469.65567682029</c:v>
                </c:pt>
                <c:pt idx="6576">
                  <c:v>8168.2395797009549</c:v>
                </c:pt>
                <c:pt idx="6577">
                  <c:v>8000.8117589592339</c:v>
                </c:pt>
                <c:pt idx="6578">
                  <c:v>7915.5812901568261</c:v>
                </c:pt>
                <c:pt idx="6579">
                  <c:v>7918.0387971473701</c:v>
                </c:pt>
                <c:pt idx="6580">
                  <c:v>8040.4298786637301</c:v>
                </c:pt>
                <c:pt idx="6581">
                  <c:v>8344.4571342862146</c:v>
                </c:pt>
                <c:pt idx="6582">
                  <c:v>8402.8642317116555</c:v>
                </c:pt>
                <c:pt idx="6583">
                  <c:v>8557.1205587758304</c:v>
                </c:pt>
                <c:pt idx="6584">
                  <c:v>8760.3063968197894</c:v>
                </c:pt>
                <c:pt idx="6585">
                  <c:v>8886.93656116682</c:v>
                </c:pt>
                <c:pt idx="6586">
                  <c:v>8904.6617472078833</c:v>
                </c:pt>
                <c:pt idx="6587">
                  <c:v>8857.71232735577</c:v>
                </c:pt>
                <c:pt idx="6588">
                  <c:v>8782.3752577956475</c:v>
                </c:pt>
                <c:pt idx="6589">
                  <c:v>8734.4468639916668</c:v>
                </c:pt>
                <c:pt idx="6590">
                  <c:v>8810.0376116593507</c:v>
                </c:pt>
                <c:pt idx="6591">
                  <c:v>8906.50497382514</c:v>
                </c:pt>
                <c:pt idx="6592">
                  <c:v>9093.1938932172579</c:v>
                </c:pt>
                <c:pt idx="6593">
                  <c:v>9294.5045428050653</c:v>
                </c:pt>
                <c:pt idx="6594">
                  <c:v>9777.7640166165766</c:v>
                </c:pt>
                <c:pt idx="6595">
                  <c:v>9567.2932863421884</c:v>
                </c:pt>
                <c:pt idx="6596">
                  <c:v>9077.4154547674298</c:v>
                </c:pt>
                <c:pt idx="6597">
                  <c:v>8995.6091029820891</c:v>
                </c:pt>
                <c:pt idx="6598">
                  <c:v>8769.9901270824503</c:v>
                </c:pt>
                <c:pt idx="6599">
                  <c:v>8347.1783739017774</c:v>
                </c:pt>
                <c:pt idx="6600">
                  <c:v>8053.8572634644079</c:v>
                </c:pt>
                <c:pt idx="6601">
                  <c:v>7901.5650602019778</c:v>
                </c:pt>
                <c:pt idx="6602">
                  <c:v>7874.3367823981062</c:v>
                </c:pt>
                <c:pt idx="6603">
                  <c:v>7911.6326237150952</c:v>
                </c:pt>
                <c:pt idx="6604">
                  <c:v>7947.2758424366939</c:v>
                </c:pt>
                <c:pt idx="6605">
                  <c:v>8136.1160837554253</c:v>
                </c:pt>
                <c:pt idx="6606">
                  <c:v>8091.9049308192516</c:v>
                </c:pt>
                <c:pt idx="6607">
                  <c:v>8237.447518127623</c:v>
                </c:pt>
                <c:pt idx="6608">
                  <c:v>8441.7923462208491</c:v>
                </c:pt>
                <c:pt idx="6609">
                  <c:v>8508.7603253387424</c:v>
                </c:pt>
                <c:pt idx="6610">
                  <c:v>8567.4092419862554</c:v>
                </c:pt>
                <c:pt idx="6611">
                  <c:v>8526.1990170139143</c:v>
                </c:pt>
                <c:pt idx="6612">
                  <c:v>8415.7648740341338</c:v>
                </c:pt>
                <c:pt idx="6613">
                  <c:v>8318.2511273541386</c:v>
                </c:pt>
                <c:pt idx="6614">
                  <c:v>8343.4578282166585</c:v>
                </c:pt>
                <c:pt idx="6615">
                  <c:v>8422.8487108600839</c:v>
                </c:pt>
                <c:pt idx="6616">
                  <c:v>8493.7178594805027</c:v>
                </c:pt>
                <c:pt idx="6617">
                  <c:v>8840.5594732725458</c:v>
                </c:pt>
                <c:pt idx="6618">
                  <c:v>9294.1515182247022</c:v>
                </c:pt>
                <c:pt idx="6619">
                  <c:v>9122.3914723499474</c:v>
                </c:pt>
                <c:pt idx="6620">
                  <c:v>8631.4957103512297</c:v>
                </c:pt>
                <c:pt idx="6621">
                  <c:v>8712.5047234040139</c:v>
                </c:pt>
                <c:pt idx="6622">
                  <c:v>8541.0572646998226</c:v>
                </c:pt>
                <c:pt idx="6623">
                  <c:v>8190.6001667551964</c:v>
                </c:pt>
                <c:pt idx="6624">
                  <c:v>7878.0220115238353</c:v>
                </c:pt>
                <c:pt idx="6625">
                  <c:v>7686.5431591212391</c:v>
                </c:pt>
                <c:pt idx="6626">
                  <c:v>7654.4504286451884</c:v>
                </c:pt>
                <c:pt idx="6627">
                  <c:v>7785.3146027811554</c:v>
                </c:pt>
                <c:pt idx="6628">
                  <c:v>8179.5097001444756</c:v>
                </c:pt>
                <c:pt idx="6629">
                  <c:v>8950.050361607382</c:v>
                </c:pt>
                <c:pt idx="6630">
                  <c:v>9442.7001149127209</c:v>
                </c:pt>
                <c:pt idx="6631">
                  <c:v>9590.5871070356134</c:v>
                </c:pt>
                <c:pt idx="6632">
                  <c:v>9700.6100774055012</c:v>
                </c:pt>
                <c:pt idx="6633">
                  <c:v>9655.5900052361394</c:v>
                </c:pt>
                <c:pt idx="6634">
                  <c:v>9629.1318572887867</c:v>
                </c:pt>
                <c:pt idx="6635">
                  <c:v>9528.8705606920103</c:v>
                </c:pt>
                <c:pt idx="6636">
                  <c:v>9502.0646789059101</c:v>
                </c:pt>
                <c:pt idx="6637">
                  <c:v>9381.9033769453854</c:v>
                </c:pt>
                <c:pt idx="6638">
                  <c:v>9304.1885338362717</c:v>
                </c:pt>
                <c:pt idx="6639">
                  <c:v>9241.1501071646344</c:v>
                </c:pt>
                <c:pt idx="6640">
                  <c:v>9245.6042970711114</c:v>
                </c:pt>
                <c:pt idx="6641">
                  <c:v>9455.8646793269436</c:v>
                </c:pt>
                <c:pt idx="6642">
                  <c:v>9883.2347214360307</c:v>
                </c:pt>
                <c:pt idx="6643">
                  <c:v>9693.6853572384425</c:v>
                </c:pt>
                <c:pt idx="6644">
                  <c:v>9225.8769935044638</c:v>
                </c:pt>
                <c:pt idx="6645">
                  <c:v>9079.3024901210811</c:v>
                </c:pt>
                <c:pt idx="6646">
                  <c:v>8810.9428369266716</c:v>
                </c:pt>
                <c:pt idx="6647">
                  <c:v>8233.1561959774226</c:v>
                </c:pt>
                <c:pt idx="6648">
                  <c:v>7899.712362068447</c:v>
                </c:pt>
                <c:pt idx="6649">
                  <c:v>7772.2718798224278</c:v>
                </c:pt>
                <c:pt idx="6650">
                  <c:v>7759.7482568041087</c:v>
                </c:pt>
                <c:pt idx="6651">
                  <c:v>7888.9601506313111</c:v>
                </c:pt>
                <c:pt idx="6652">
                  <c:v>8188.4319992120527</c:v>
                </c:pt>
                <c:pt idx="6653">
                  <c:v>8945.4275628990436</c:v>
                </c:pt>
                <c:pt idx="6654">
                  <c:v>9445.6253289877804</c:v>
                </c:pt>
                <c:pt idx="6655">
                  <c:v>9537.384890717507</c:v>
                </c:pt>
                <c:pt idx="6656">
                  <c:v>9678.6979444269837</c:v>
                </c:pt>
                <c:pt idx="6657">
                  <c:v>9662.2494160322403</c:v>
                </c:pt>
                <c:pt idx="6658">
                  <c:v>9760.7387647990508</c:v>
                </c:pt>
                <c:pt idx="6659">
                  <c:v>9715.4069559015297</c:v>
                </c:pt>
                <c:pt idx="6660">
                  <c:v>9581.2011682050124</c:v>
                </c:pt>
                <c:pt idx="6661">
                  <c:v>9560.6454951565356</c:v>
                </c:pt>
                <c:pt idx="6662">
                  <c:v>9547.9797691171698</c:v>
                </c:pt>
                <c:pt idx="6663">
                  <c:v>9564.1216732004323</c:v>
                </c:pt>
                <c:pt idx="6664">
                  <c:v>9657.2445151689317</c:v>
                </c:pt>
                <c:pt idx="6665">
                  <c:v>9809.1871525232709</c:v>
                </c:pt>
                <c:pt idx="6666">
                  <c:v>10107.09121989099</c:v>
                </c:pt>
                <c:pt idx="6667">
                  <c:v>9894.4716060849314</c:v>
                </c:pt>
                <c:pt idx="6668">
                  <c:v>9324.5135486845193</c:v>
                </c:pt>
                <c:pt idx="6669">
                  <c:v>9202.777519039988</c:v>
                </c:pt>
                <c:pt idx="6670">
                  <c:v>8845.3812084754627</c:v>
                </c:pt>
                <c:pt idx="6671">
                  <c:v>8338.9823450864169</c:v>
                </c:pt>
                <c:pt idx="6672">
                  <c:v>8015.7488940160056</c:v>
                </c:pt>
                <c:pt idx="6673">
                  <c:v>7894.7262207138792</c:v>
                </c:pt>
                <c:pt idx="6674">
                  <c:v>7876.8227574101784</c:v>
                </c:pt>
                <c:pt idx="6675">
                  <c:v>7940.7318390375158</c:v>
                </c:pt>
                <c:pt idx="6676">
                  <c:v>8212.7320884313958</c:v>
                </c:pt>
                <c:pt idx="6677">
                  <c:v>9042.9317481993403</c:v>
                </c:pt>
                <c:pt idx="6678">
                  <c:v>9496.4628027186354</c:v>
                </c:pt>
                <c:pt idx="6679">
                  <c:v>9530.7484599165527</c:v>
                </c:pt>
                <c:pt idx="6680">
                  <c:v>9574.5488665514549</c:v>
                </c:pt>
                <c:pt idx="6681">
                  <c:v>9595.447086274633</c:v>
                </c:pt>
                <c:pt idx="6682">
                  <c:v>9535.1358497431993</c:v>
                </c:pt>
                <c:pt idx="6683">
                  <c:v>9496.0726751206003</c:v>
                </c:pt>
                <c:pt idx="6684">
                  <c:v>9372.6451581567071</c:v>
                </c:pt>
                <c:pt idx="6685">
                  <c:v>9325.885685130108</c:v>
                </c:pt>
                <c:pt idx="6686">
                  <c:v>9328.5977347180196</c:v>
                </c:pt>
                <c:pt idx="6687">
                  <c:v>9432.1505455066308</c:v>
                </c:pt>
                <c:pt idx="6688">
                  <c:v>9502.3837043072253</c:v>
                </c:pt>
                <c:pt idx="6689">
                  <c:v>9682.0977731806088</c:v>
                </c:pt>
                <c:pt idx="6690">
                  <c:v>10057.196831662917</c:v>
                </c:pt>
                <c:pt idx="6691">
                  <c:v>9867.7506055233007</c:v>
                </c:pt>
                <c:pt idx="6692">
                  <c:v>9263.6099523134908</c:v>
                </c:pt>
                <c:pt idx="6693">
                  <c:v>9094.6095720859375</c:v>
                </c:pt>
                <c:pt idx="6694">
                  <c:v>8727.0258506466362</c:v>
                </c:pt>
                <c:pt idx="6695">
                  <c:v>8259.1093570408611</c:v>
                </c:pt>
                <c:pt idx="6696">
                  <c:v>7939.665302573082</c:v>
                </c:pt>
                <c:pt idx="6697">
                  <c:v>7808.2005772206048</c:v>
                </c:pt>
                <c:pt idx="6698">
                  <c:v>7746.0859998487977</c:v>
                </c:pt>
                <c:pt idx="6699">
                  <c:v>7852.1178024451747</c:v>
                </c:pt>
                <c:pt idx="6700">
                  <c:v>8143.7222537613516</c:v>
                </c:pt>
                <c:pt idx="6701">
                  <c:v>8921.1447102618404</c:v>
                </c:pt>
                <c:pt idx="6702">
                  <c:v>9424.5095192148747</c:v>
                </c:pt>
                <c:pt idx="6703">
                  <c:v>9434.3833344430896</c:v>
                </c:pt>
                <c:pt idx="6704">
                  <c:v>9596.7192925751278</c:v>
                </c:pt>
                <c:pt idx="6705">
                  <c:v>9657.0084140878917</c:v>
                </c:pt>
                <c:pt idx="6706">
                  <c:v>9670.605771425473</c:v>
                </c:pt>
                <c:pt idx="6707">
                  <c:v>9638.1508495001817</c:v>
                </c:pt>
                <c:pt idx="6708">
                  <c:v>9635.7129309942611</c:v>
                </c:pt>
                <c:pt idx="6709">
                  <c:v>9517.1687338361589</c:v>
                </c:pt>
                <c:pt idx="6710">
                  <c:v>9417.1445214866944</c:v>
                </c:pt>
                <c:pt idx="6711">
                  <c:v>9526.8322247477117</c:v>
                </c:pt>
                <c:pt idx="6712">
                  <c:v>9610.9424528183445</c:v>
                </c:pt>
                <c:pt idx="6713">
                  <c:v>9723.2014922496073</c:v>
                </c:pt>
                <c:pt idx="6714">
                  <c:v>9955.5478047221277</c:v>
                </c:pt>
                <c:pt idx="6715">
                  <c:v>9732.7857963872793</c:v>
                </c:pt>
                <c:pt idx="6716">
                  <c:v>9256.3469709909805</c:v>
                </c:pt>
                <c:pt idx="6717">
                  <c:v>9030.7376468971561</c:v>
                </c:pt>
                <c:pt idx="6718">
                  <c:v>8834.5555456071088</c:v>
                </c:pt>
                <c:pt idx="6719">
                  <c:v>8383.0227933543392</c:v>
                </c:pt>
                <c:pt idx="6720">
                  <c:v>8020.0409970018345</c:v>
                </c:pt>
                <c:pt idx="6721">
                  <c:v>7903.3059179455813</c:v>
                </c:pt>
                <c:pt idx="6722">
                  <c:v>7890.0406670776292</c:v>
                </c:pt>
                <c:pt idx="6723">
                  <c:v>8037.3150584738041</c:v>
                </c:pt>
                <c:pt idx="6724">
                  <c:v>8326.8581880154052</c:v>
                </c:pt>
                <c:pt idx="6725">
                  <c:v>9090.6553755387231</c:v>
                </c:pt>
                <c:pt idx="6726">
                  <c:v>9566.3497749883245</c:v>
                </c:pt>
                <c:pt idx="6727">
                  <c:v>9578.298466754899</c:v>
                </c:pt>
                <c:pt idx="6728">
                  <c:v>9672.6794899271099</c:v>
                </c:pt>
                <c:pt idx="6729">
                  <c:v>9726.2698532523009</c:v>
                </c:pt>
                <c:pt idx="6730">
                  <c:v>9766.0811545530978</c:v>
                </c:pt>
                <c:pt idx="6731">
                  <c:v>9753.8731110690514</c:v>
                </c:pt>
                <c:pt idx="6732">
                  <c:v>9654.8862448099389</c:v>
                </c:pt>
                <c:pt idx="6733">
                  <c:v>9626.9426131213713</c:v>
                </c:pt>
                <c:pt idx="6734">
                  <c:v>9592.4860038265124</c:v>
                </c:pt>
                <c:pt idx="6735">
                  <c:v>9571.8946411608158</c:v>
                </c:pt>
                <c:pt idx="6736">
                  <c:v>9622.4446389813438</c:v>
                </c:pt>
                <c:pt idx="6737">
                  <c:v>9793.505425204743</c:v>
                </c:pt>
                <c:pt idx="6738">
                  <c:v>10021.162979148701</c:v>
                </c:pt>
                <c:pt idx="6739">
                  <c:v>9759.8074315193626</c:v>
                </c:pt>
                <c:pt idx="6740">
                  <c:v>9233.1520014270645</c:v>
                </c:pt>
                <c:pt idx="6741">
                  <c:v>9093.0902327049898</c:v>
                </c:pt>
                <c:pt idx="6742">
                  <c:v>8806.1481640856873</c:v>
                </c:pt>
                <c:pt idx="6743">
                  <c:v>8309.4447730348038</c:v>
                </c:pt>
                <c:pt idx="6744">
                  <c:v>7952.7223478167925</c:v>
                </c:pt>
                <c:pt idx="6745">
                  <c:v>7733.1748308330716</c:v>
                </c:pt>
                <c:pt idx="6746">
                  <c:v>7699.5796161533317</c:v>
                </c:pt>
                <c:pt idx="6747">
                  <c:v>7749.2386662378976</c:v>
                </c:pt>
                <c:pt idx="6748">
                  <c:v>7824.1991483142219</c:v>
                </c:pt>
                <c:pt idx="6749">
                  <c:v>8099.3159513268056</c:v>
                </c:pt>
                <c:pt idx="6750">
                  <c:v>8287.5316761303075</c:v>
                </c:pt>
                <c:pt idx="6751">
                  <c:v>8363.591493560918</c:v>
                </c:pt>
                <c:pt idx="6752">
                  <c:v>8531.4021736051964</c:v>
                </c:pt>
                <c:pt idx="6753">
                  <c:v>8676.3452790279262</c:v>
                </c:pt>
                <c:pt idx="6754">
                  <c:v>8730.4135976262569</c:v>
                </c:pt>
                <c:pt idx="6755">
                  <c:v>8751.5559410947553</c:v>
                </c:pt>
                <c:pt idx="6756">
                  <c:v>8722.3251576690163</c:v>
                </c:pt>
                <c:pt idx="6757">
                  <c:v>8697.1334978853647</c:v>
                </c:pt>
                <c:pt idx="6758">
                  <c:v>8759.9093083063799</c:v>
                </c:pt>
                <c:pt idx="6759">
                  <c:v>8801.2578833510725</c:v>
                </c:pt>
                <c:pt idx="6760">
                  <c:v>8989.4964611292635</c:v>
                </c:pt>
                <c:pt idx="6761">
                  <c:v>9387.3627834293693</c:v>
                </c:pt>
                <c:pt idx="6762">
                  <c:v>9584.7881948574213</c:v>
                </c:pt>
                <c:pt idx="6763">
                  <c:v>9302.8251666394808</c:v>
                </c:pt>
                <c:pt idx="6764">
                  <c:v>8831.2411963090508</c:v>
                </c:pt>
                <c:pt idx="6765">
                  <c:v>8811.4670988304442</c:v>
                </c:pt>
                <c:pt idx="6766">
                  <c:v>8580.5064768430948</c:v>
                </c:pt>
                <c:pt idx="6767">
                  <c:v>8148.5597826806143</c:v>
                </c:pt>
                <c:pt idx="6768">
                  <c:v>7829.7838863710749</c:v>
                </c:pt>
                <c:pt idx="6769">
                  <c:v>7678.5182325891356</c:v>
                </c:pt>
                <c:pt idx="6770">
                  <c:v>7599.39105780301</c:v>
                </c:pt>
                <c:pt idx="6771">
                  <c:v>7572.8187346451277</c:v>
                </c:pt>
                <c:pt idx="6772">
                  <c:v>7645.7079607573951</c:v>
                </c:pt>
                <c:pt idx="6773">
                  <c:v>7851.9877568747361</c:v>
                </c:pt>
                <c:pt idx="6774">
                  <c:v>7991.1325482163938</c:v>
                </c:pt>
                <c:pt idx="6775">
                  <c:v>8096.4529540909625</c:v>
                </c:pt>
                <c:pt idx="6776">
                  <c:v>8287.192079346969</c:v>
                </c:pt>
                <c:pt idx="6777">
                  <c:v>8546.7018534491181</c:v>
                </c:pt>
                <c:pt idx="6778">
                  <c:v>8666.5959860504681</c:v>
                </c:pt>
                <c:pt idx="6779">
                  <c:v>8747.287189188055</c:v>
                </c:pt>
                <c:pt idx="6780">
                  <c:v>8724.7509278320558</c:v>
                </c:pt>
                <c:pt idx="6781">
                  <c:v>8682.0309587557513</c:v>
                </c:pt>
                <c:pt idx="6782">
                  <c:v>8741.6654244320453</c:v>
                </c:pt>
                <c:pt idx="6783">
                  <c:v>8759.667273284922</c:v>
                </c:pt>
                <c:pt idx="6784">
                  <c:v>8903.6396495336412</c:v>
                </c:pt>
                <c:pt idx="6785">
                  <c:v>9231.3537038194754</c:v>
                </c:pt>
                <c:pt idx="6786">
                  <c:v>9514.8018536470099</c:v>
                </c:pt>
                <c:pt idx="6787">
                  <c:v>9291.8124041130941</c:v>
                </c:pt>
                <c:pt idx="6788">
                  <c:v>8816.5699766315265</c:v>
                </c:pt>
                <c:pt idx="6789">
                  <c:v>8825.8119019232345</c:v>
                </c:pt>
                <c:pt idx="6790">
                  <c:v>8616.9399003063136</c:v>
                </c:pt>
                <c:pt idx="6791">
                  <c:v>8269.6273797161321</c:v>
                </c:pt>
                <c:pt idx="6792">
                  <c:v>7929.2849360756027</c:v>
                </c:pt>
                <c:pt idx="6793">
                  <c:v>7765.9551102422602</c:v>
                </c:pt>
                <c:pt idx="6794">
                  <c:v>7757.5558435746334</c:v>
                </c:pt>
                <c:pt idx="6795">
                  <c:v>7832.8558341616372</c:v>
                </c:pt>
                <c:pt idx="6796">
                  <c:v>8128.7878179311538</c:v>
                </c:pt>
                <c:pt idx="6797">
                  <c:v>8969.0591055708501</c:v>
                </c:pt>
                <c:pt idx="6798">
                  <c:v>9543.9097084868645</c:v>
                </c:pt>
                <c:pt idx="6799">
                  <c:v>9674.9649328877567</c:v>
                </c:pt>
                <c:pt idx="6800">
                  <c:v>9714.5895924341767</c:v>
                </c:pt>
                <c:pt idx="6801">
                  <c:v>9678.7128295756538</c:v>
                </c:pt>
                <c:pt idx="6802">
                  <c:v>9685.2208145935947</c:v>
                </c:pt>
                <c:pt idx="6803">
                  <c:v>9681.3862750107692</c:v>
                </c:pt>
                <c:pt idx="6804">
                  <c:v>9646.7214178102622</c:v>
                </c:pt>
                <c:pt idx="6805">
                  <c:v>9517.3456387235838</c:v>
                </c:pt>
                <c:pt idx="6806">
                  <c:v>9519.1000243629496</c:v>
                </c:pt>
                <c:pt idx="6807">
                  <c:v>9471.4415471926877</c:v>
                </c:pt>
                <c:pt idx="6808">
                  <c:v>9499.5346764420246</c:v>
                </c:pt>
                <c:pt idx="6809">
                  <c:v>9648.5864410969152</c:v>
                </c:pt>
                <c:pt idx="6810">
                  <c:v>9904.9721563712446</c:v>
                </c:pt>
                <c:pt idx="6811">
                  <c:v>9773.8931305273964</c:v>
                </c:pt>
                <c:pt idx="6812">
                  <c:v>9266.3822056372464</c:v>
                </c:pt>
                <c:pt idx="6813">
                  <c:v>9185.6562354611324</c:v>
                </c:pt>
                <c:pt idx="6814">
                  <c:v>8947.2709098812611</c:v>
                </c:pt>
                <c:pt idx="6815">
                  <c:v>8471.9936013608349</c:v>
                </c:pt>
                <c:pt idx="6816">
                  <c:v>8176.6350586991839</c:v>
                </c:pt>
                <c:pt idx="6817">
                  <c:v>8072.2509212328969</c:v>
                </c:pt>
                <c:pt idx="6818">
                  <c:v>7991.0672883046082</c:v>
                </c:pt>
                <c:pt idx="6819">
                  <c:v>8035.9557505261864</c:v>
                </c:pt>
                <c:pt idx="6820">
                  <c:v>8368.2607796103766</c:v>
                </c:pt>
                <c:pt idx="6821">
                  <c:v>9168.0643420239867</c:v>
                </c:pt>
                <c:pt idx="6822">
                  <c:v>9642.2939378396895</c:v>
                </c:pt>
                <c:pt idx="6823">
                  <c:v>9647.3827443007522</c:v>
                </c:pt>
                <c:pt idx="6824">
                  <c:v>9681.4809542032272</c:v>
                </c:pt>
                <c:pt idx="6825">
                  <c:v>9673.2914505590634</c:v>
                </c:pt>
                <c:pt idx="6826">
                  <c:v>9756.4735930737806</c:v>
                </c:pt>
                <c:pt idx="6827">
                  <c:v>9720.0907768226389</c:v>
                </c:pt>
                <c:pt idx="6828">
                  <c:v>9610.7576109223482</c:v>
                </c:pt>
                <c:pt idx="6829">
                  <c:v>9472.5924621472423</c:v>
                </c:pt>
                <c:pt idx="6830">
                  <c:v>9434.1797905456733</c:v>
                </c:pt>
                <c:pt idx="6831">
                  <c:v>9563.1903272597065</c:v>
                </c:pt>
                <c:pt idx="6832">
                  <c:v>9612.8638420046809</c:v>
                </c:pt>
                <c:pt idx="6833">
                  <c:v>9928.7276447483782</c:v>
                </c:pt>
                <c:pt idx="6834">
                  <c:v>10167.472101401976</c:v>
                </c:pt>
                <c:pt idx="6835">
                  <c:v>10022.145956381684</c:v>
                </c:pt>
                <c:pt idx="6836">
                  <c:v>9469.7840448173683</c:v>
                </c:pt>
                <c:pt idx="6837">
                  <c:v>9397.141639241685</c:v>
                </c:pt>
                <c:pt idx="6838">
                  <c:v>9109.8261775629107</c:v>
                </c:pt>
                <c:pt idx="6839">
                  <c:v>8684.975508024183</c:v>
                </c:pt>
                <c:pt idx="6840">
                  <c:v>8417.2848730219939</c:v>
                </c:pt>
                <c:pt idx="6841">
                  <c:v>8270.7732831454323</c:v>
                </c:pt>
                <c:pt idx="6842">
                  <c:v>8302.5594479040883</c:v>
                </c:pt>
                <c:pt idx="6843">
                  <c:v>8412.1468213300795</c:v>
                </c:pt>
                <c:pt idx="6844">
                  <c:v>8671.9633510547665</c:v>
                </c:pt>
                <c:pt idx="6845">
                  <c:v>9403.4984800241436</c:v>
                </c:pt>
                <c:pt idx="6846">
                  <c:v>9909.8466072200536</c:v>
                </c:pt>
                <c:pt idx="6847">
                  <c:v>10007.491403729051</c:v>
                </c:pt>
                <c:pt idx="6848">
                  <c:v>10028.180518901687</c:v>
                </c:pt>
                <c:pt idx="6849">
                  <c:v>10048.841761126156</c:v>
                </c:pt>
                <c:pt idx="6850">
                  <c:v>9986.4630680953433</c:v>
                </c:pt>
                <c:pt idx="6851">
                  <c:v>9898.5078464842791</c:v>
                </c:pt>
                <c:pt idx="6852">
                  <c:v>9743.7413422959107</c:v>
                </c:pt>
                <c:pt idx="6853">
                  <c:v>9679.3363732654725</c:v>
                </c:pt>
                <c:pt idx="6854">
                  <c:v>9649.366253779519</c:v>
                </c:pt>
                <c:pt idx="6855">
                  <c:v>9629.5227757145458</c:v>
                </c:pt>
                <c:pt idx="6856">
                  <c:v>9740.4563496640239</c:v>
                </c:pt>
                <c:pt idx="6857">
                  <c:v>10076.856902566673</c:v>
                </c:pt>
                <c:pt idx="6858">
                  <c:v>10430.258067623656</c:v>
                </c:pt>
                <c:pt idx="6859">
                  <c:v>10307.719812864163</c:v>
                </c:pt>
                <c:pt idx="6860">
                  <c:v>9750.3377325542278</c:v>
                </c:pt>
                <c:pt idx="6861">
                  <c:v>9631.1859109339512</c:v>
                </c:pt>
                <c:pt idx="6862">
                  <c:v>9449.7593362036932</c:v>
                </c:pt>
                <c:pt idx="6863">
                  <c:v>9034.5106218035562</c:v>
                </c:pt>
                <c:pt idx="6864">
                  <c:v>8798.3556989078224</c:v>
                </c:pt>
                <c:pt idx="6865">
                  <c:v>8740.9789900874985</c:v>
                </c:pt>
                <c:pt idx="6866">
                  <c:v>8687.7688052719805</c:v>
                </c:pt>
                <c:pt idx="6867">
                  <c:v>8785.3003301472963</c:v>
                </c:pt>
                <c:pt idx="6868">
                  <c:v>9205.5078222813208</c:v>
                </c:pt>
                <c:pt idx="6869">
                  <c:v>9960.8686373982855</c:v>
                </c:pt>
                <c:pt idx="6870">
                  <c:v>10465.080265153039</c:v>
                </c:pt>
                <c:pt idx="6871">
                  <c:v>10539.906003393042</c:v>
                </c:pt>
                <c:pt idx="6872">
                  <c:v>10539.535821162339</c:v>
                </c:pt>
                <c:pt idx="6873">
                  <c:v>10439.284293374969</c:v>
                </c:pt>
                <c:pt idx="6874">
                  <c:v>10325.955441319966</c:v>
                </c:pt>
                <c:pt idx="6875">
                  <c:v>10229.486744781942</c:v>
                </c:pt>
                <c:pt idx="6876">
                  <c:v>10161.717093139723</c:v>
                </c:pt>
                <c:pt idx="6877">
                  <c:v>10114.658819200991</c:v>
                </c:pt>
                <c:pt idx="6878">
                  <c:v>10139.265067681041</c:v>
                </c:pt>
                <c:pt idx="6879">
                  <c:v>10169.27827676418</c:v>
                </c:pt>
                <c:pt idx="6880">
                  <c:v>10239.862761158456</c:v>
                </c:pt>
                <c:pt idx="6881">
                  <c:v>10530.00133740715</c:v>
                </c:pt>
                <c:pt idx="6882">
                  <c:v>10699.861016239305</c:v>
                </c:pt>
                <c:pt idx="6883">
                  <c:v>10493.039919227422</c:v>
                </c:pt>
                <c:pt idx="6884">
                  <c:v>10025.146278458076</c:v>
                </c:pt>
                <c:pt idx="6885">
                  <c:v>9904.7569775803986</c:v>
                </c:pt>
                <c:pt idx="6886">
                  <c:v>9608.000585857757</c:v>
                </c:pt>
                <c:pt idx="6887">
                  <c:v>9130.1537097990768</c:v>
                </c:pt>
                <c:pt idx="6888">
                  <c:v>8794.6648723738817</c:v>
                </c:pt>
                <c:pt idx="6889">
                  <c:v>8624.3036445459238</c:v>
                </c:pt>
                <c:pt idx="6890">
                  <c:v>8579.2866647402279</c:v>
                </c:pt>
                <c:pt idx="6891">
                  <c:v>8559.0519344669265</c:v>
                </c:pt>
                <c:pt idx="6892">
                  <c:v>8879.432475799962</c:v>
                </c:pt>
                <c:pt idx="6893">
                  <c:v>9695.5390177660174</c:v>
                </c:pt>
                <c:pt idx="6894">
                  <c:v>10290.211533741212</c:v>
                </c:pt>
                <c:pt idx="6895">
                  <c:v>10335.687016547367</c:v>
                </c:pt>
                <c:pt idx="6896">
                  <c:v>10353.210304674689</c:v>
                </c:pt>
                <c:pt idx="6897">
                  <c:v>10387.129737476447</c:v>
                </c:pt>
                <c:pt idx="6898">
                  <c:v>10405.763757242165</c:v>
                </c:pt>
                <c:pt idx="6899">
                  <c:v>10390.059188789299</c:v>
                </c:pt>
                <c:pt idx="6900">
                  <c:v>10233.019224709555</c:v>
                </c:pt>
                <c:pt idx="6901">
                  <c:v>10066.782341696788</c:v>
                </c:pt>
                <c:pt idx="6902">
                  <c:v>10062.759036382318</c:v>
                </c:pt>
                <c:pt idx="6903">
                  <c:v>10059.163196486064</c:v>
                </c:pt>
                <c:pt idx="6904">
                  <c:v>10166.994234813548</c:v>
                </c:pt>
                <c:pt idx="6905">
                  <c:v>10350.237802911899</c:v>
                </c:pt>
                <c:pt idx="6906">
                  <c:v>10437.338607563222</c:v>
                </c:pt>
                <c:pt idx="6907">
                  <c:v>10208.299395396247</c:v>
                </c:pt>
                <c:pt idx="6908">
                  <c:v>9723.0581994221575</c:v>
                </c:pt>
                <c:pt idx="6909">
                  <c:v>9714.6983531579208</c:v>
                </c:pt>
                <c:pt idx="6910">
                  <c:v>9493.070819992523</c:v>
                </c:pt>
                <c:pt idx="6911">
                  <c:v>9071.5043326610376</c:v>
                </c:pt>
                <c:pt idx="6912">
                  <c:v>8760.7503586257753</c:v>
                </c:pt>
                <c:pt idx="6913">
                  <c:v>8633.0026705910459</c:v>
                </c:pt>
                <c:pt idx="6914">
                  <c:v>8581.9546445705055</c:v>
                </c:pt>
                <c:pt idx="6915">
                  <c:v>8612.9303968453096</c:v>
                </c:pt>
                <c:pt idx="6916">
                  <c:v>8689.6869109536256</c:v>
                </c:pt>
                <c:pt idx="6917">
                  <c:v>8966.5049077421954</c:v>
                </c:pt>
                <c:pt idx="6918">
                  <c:v>9153.2066768676268</c:v>
                </c:pt>
                <c:pt idx="6919">
                  <c:v>9302.66243637152</c:v>
                </c:pt>
                <c:pt idx="6920">
                  <c:v>9556.1061042500478</c:v>
                </c:pt>
                <c:pt idx="6921">
                  <c:v>9648.7297980838648</c:v>
                </c:pt>
                <c:pt idx="6922">
                  <c:v>9638.9384356066439</c:v>
                </c:pt>
                <c:pt idx="6923">
                  <c:v>9646.0487179145566</c:v>
                </c:pt>
                <c:pt idx="6924">
                  <c:v>9495.2682323541248</c:v>
                </c:pt>
                <c:pt idx="6925">
                  <c:v>9431.2219727943429</c:v>
                </c:pt>
                <c:pt idx="6926">
                  <c:v>9565.3343274704002</c:v>
                </c:pt>
                <c:pt idx="6927">
                  <c:v>9648.4813950001899</c:v>
                </c:pt>
                <c:pt idx="6928">
                  <c:v>9868.2539585710838</c:v>
                </c:pt>
                <c:pt idx="6929">
                  <c:v>10343.389905518825</c:v>
                </c:pt>
                <c:pt idx="6930">
                  <c:v>10490.061191426554</c:v>
                </c:pt>
                <c:pt idx="6931">
                  <c:v>10157.607727316768</c:v>
                </c:pt>
                <c:pt idx="6932">
                  <c:v>9647.8439247198476</c:v>
                </c:pt>
                <c:pt idx="6933">
                  <c:v>9705.1601552045486</c:v>
                </c:pt>
                <c:pt idx="6934">
                  <c:v>9569.9041579927907</c:v>
                </c:pt>
                <c:pt idx="6935">
                  <c:v>9148.541284276851</c:v>
                </c:pt>
                <c:pt idx="6936">
                  <c:v>8835.6907666392708</c:v>
                </c:pt>
                <c:pt idx="6937">
                  <c:v>8672.4148169129967</c:v>
                </c:pt>
                <c:pt idx="6938">
                  <c:v>8604.1084259146664</c:v>
                </c:pt>
                <c:pt idx="6939">
                  <c:v>8634.8267858752042</c:v>
                </c:pt>
                <c:pt idx="6940">
                  <c:v>8727.3352632490532</c:v>
                </c:pt>
                <c:pt idx="6941">
                  <c:v>8913.0063509494503</c:v>
                </c:pt>
                <c:pt idx="6942">
                  <c:v>9047.6846721949623</c:v>
                </c:pt>
                <c:pt idx="6943">
                  <c:v>9110.9837803151568</c:v>
                </c:pt>
                <c:pt idx="6944">
                  <c:v>9343.8966224569958</c:v>
                </c:pt>
                <c:pt idx="6945">
                  <c:v>9460.0024069331375</c:v>
                </c:pt>
                <c:pt idx="6946">
                  <c:v>9521.2706981214851</c:v>
                </c:pt>
                <c:pt idx="6947">
                  <c:v>9491.8759735705389</c:v>
                </c:pt>
                <c:pt idx="6948">
                  <c:v>9355.3691124917441</c:v>
                </c:pt>
                <c:pt idx="6949">
                  <c:v>9298.7302057921479</c:v>
                </c:pt>
                <c:pt idx="6950">
                  <c:v>9311.4507152512997</c:v>
                </c:pt>
                <c:pt idx="6951">
                  <c:v>9394.1189628735974</c:v>
                </c:pt>
                <c:pt idx="6952">
                  <c:v>9523.4427848190116</c:v>
                </c:pt>
                <c:pt idx="6953">
                  <c:v>10079.521298710628</c:v>
                </c:pt>
                <c:pt idx="6954">
                  <c:v>10247.512003899954</c:v>
                </c:pt>
                <c:pt idx="6955">
                  <c:v>10063.302164178247</c:v>
                </c:pt>
                <c:pt idx="6956">
                  <c:v>9674.6561268319292</c:v>
                </c:pt>
                <c:pt idx="6957">
                  <c:v>9778.4720464690236</c:v>
                </c:pt>
                <c:pt idx="6958">
                  <c:v>9639.8849546850943</c:v>
                </c:pt>
                <c:pt idx="6959">
                  <c:v>9288.2436796718994</c:v>
                </c:pt>
                <c:pt idx="6960">
                  <c:v>9050.8188209701493</c:v>
                </c:pt>
                <c:pt idx="6961">
                  <c:v>8888.9414405118714</c:v>
                </c:pt>
                <c:pt idx="6962">
                  <c:v>8778.1361558129829</c:v>
                </c:pt>
                <c:pt idx="6963">
                  <c:v>8820.396072535772</c:v>
                </c:pt>
                <c:pt idx="6964">
                  <c:v>9161.6352389621861</c:v>
                </c:pt>
                <c:pt idx="6965">
                  <c:v>9970.9808585479568</c:v>
                </c:pt>
                <c:pt idx="6966">
                  <c:v>10468.342382628827</c:v>
                </c:pt>
                <c:pt idx="6967">
                  <c:v>10512.831723442931</c:v>
                </c:pt>
                <c:pt idx="6968">
                  <c:v>10636.511774148736</c:v>
                </c:pt>
                <c:pt idx="6969">
                  <c:v>10671.338751732672</c:v>
                </c:pt>
                <c:pt idx="6970">
                  <c:v>10693.113128619714</c:v>
                </c:pt>
                <c:pt idx="6971">
                  <c:v>10595.198019351355</c:v>
                </c:pt>
                <c:pt idx="6972">
                  <c:v>10489.656532376546</c:v>
                </c:pt>
                <c:pt idx="6973">
                  <c:v>10394.843773522862</c:v>
                </c:pt>
                <c:pt idx="6974">
                  <c:v>10371.533436632968</c:v>
                </c:pt>
                <c:pt idx="6975">
                  <c:v>10345.840531164655</c:v>
                </c:pt>
                <c:pt idx="6976">
                  <c:v>10409.908233712244</c:v>
                </c:pt>
                <c:pt idx="6977">
                  <c:v>10720.508383166436</c:v>
                </c:pt>
                <c:pt idx="6978">
                  <c:v>10899.385355734052</c:v>
                </c:pt>
                <c:pt idx="6979">
                  <c:v>10734.92232670004</c:v>
                </c:pt>
                <c:pt idx="6980">
                  <c:v>10292.819522534821</c:v>
                </c:pt>
                <c:pt idx="6981">
                  <c:v>10226.202938177064</c:v>
                </c:pt>
                <c:pt idx="6982">
                  <c:v>10107.442531427596</c:v>
                </c:pt>
                <c:pt idx="6983">
                  <c:v>9728.1566736719651</c:v>
                </c:pt>
                <c:pt idx="6984">
                  <c:v>9416.7397038578747</c:v>
                </c:pt>
                <c:pt idx="6985">
                  <c:v>9325.8861179367614</c:v>
                </c:pt>
                <c:pt idx="6986">
                  <c:v>9331.2817849034254</c:v>
                </c:pt>
                <c:pt idx="6987">
                  <c:v>9423.942969519223</c:v>
                </c:pt>
                <c:pt idx="6988">
                  <c:v>9738.7411653745512</c:v>
                </c:pt>
                <c:pt idx="6989">
                  <c:v>10534.434153552702</c:v>
                </c:pt>
                <c:pt idx="6990">
                  <c:v>11056.19207040543</c:v>
                </c:pt>
                <c:pt idx="6991">
                  <c:v>11130.674483610313</c:v>
                </c:pt>
                <c:pt idx="6992">
                  <c:v>11177.964850298087</c:v>
                </c:pt>
                <c:pt idx="6993">
                  <c:v>11004.985126026777</c:v>
                </c:pt>
                <c:pt idx="6994">
                  <c:v>10851.790565505649</c:v>
                </c:pt>
                <c:pt idx="6995">
                  <c:v>10716.50880985277</c:v>
                </c:pt>
                <c:pt idx="6996">
                  <c:v>10553.111877091824</c:v>
                </c:pt>
                <c:pt idx="6997">
                  <c:v>10396.289610554957</c:v>
                </c:pt>
                <c:pt idx="6998">
                  <c:v>10389.190283545395</c:v>
                </c:pt>
                <c:pt idx="6999">
                  <c:v>10425.198069105958</c:v>
                </c:pt>
                <c:pt idx="7000">
                  <c:v>10604.644978822405</c:v>
                </c:pt>
                <c:pt idx="7001">
                  <c:v>11111.947266781692</c:v>
                </c:pt>
                <c:pt idx="7002">
                  <c:v>11279.903437357723</c:v>
                </c:pt>
                <c:pt idx="7003">
                  <c:v>11066.107696681647</c:v>
                </c:pt>
                <c:pt idx="7004">
                  <c:v>10531.957275191127</c:v>
                </c:pt>
                <c:pt idx="7005">
                  <c:v>10470.867917052672</c:v>
                </c:pt>
                <c:pt idx="7006">
                  <c:v>10192.187085257185</c:v>
                </c:pt>
                <c:pt idx="7007">
                  <c:v>9750.9042279856421</c:v>
                </c:pt>
                <c:pt idx="7008">
                  <c:v>9381.3827893219459</c:v>
                </c:pt>
                <c:pt idx="7009">
                  <c:v>9272.4844914235582</c:v>
                </c:pt>
                <c:pt idx="7010">
                  <c:v>9205.6396526861718</c:v>
                </c:pt>
                <c:pt idx="7011">
                  <c:v>9227.7502544680938</c:v>
                </c:pt>
                <c:pt idx="7012">
                  <c:v>9490.2929148325238</c:v>
                </c:pt>
                <c:pt idx="7013">
                  <c:v>10306.418850156246</c:v>
                </c:pt>
                <c:pt idx="7014">
                  <c:v>10818.841335141562</c:v>
                </c:pt>
                <c:pt idx="7015">
                  <c:v>10956.242554738892</c:v>
                </c:pt>
                <c:pt idx="7016">
                  <c:v>10997.923754656988</c:v>
                </c:pt>
                <c:pt idx="7017">
                  <c:v>11002.766526094038</c:v>
                </c:pt>
                <c:pt idx="7018">
                  <c:v>11146.709889224678</c:v>
                </c:pt>
                <c:pt idx="7019">
                  <c:v>11069.548761662816</c:v>
                </c:pt>
                <c:pt idx="7020">
                  <c:v>10926.21504039576</c:v>
                </c:pt>
                <c:pt idx="7021">
                  <c:v>10732.693962695566</c:v>
                </c:pt>
                <c:pt idx="7022">
                  <c:v>10687.934867761827</c:v>
                </c:pt>
                <c:pt idx="7023">
                  <c:v>10576.579390292001</c:v>
                </c:pt>
                <c:pt idx="7024">
                  <c:v>10695.686761791343</c:v>
                </c:pt>
                <c:pt idx="7025">
                  <c:v>11016.641812865624</c:v>
                </c:pt>
                <c:pt idx="7026">
                  <c:v>10954.848145405758</c:v>
                </c:pt>
                <c:pt idx="7027">
                  <c:v>10754.566477153374</c:v>
                </c:pt>
                <c:pt idx="7028">
                  <c:v>10041.359141710274</c:v>
                </c:pt>
                <c:pt idx="7029">
                  <c:v>9909.3167445810923</c:v>
                </c:pt>
                <c:pt idx="7030">
                  <c:v>9654.6595250438713</c:v>
                </c:pt>
                <c:pt idx="7031">
                  <c:v>9184.2253278731005</c:v>
                </c:pt>
                <c:pt idx="7032">
                  <c:v>8828.4585938015516</c:v>
                </c:pt>
                <c:pt idx="7033">
                  <c:v>8683.495360509698</c:v>
                </c:pt>
                <c:pt idx="7034">
                  <c:v>8599.4382768488176</c:v>
                </c:pt>
                <c:pt idx="7035">
                  <c:v>8667.2513175008407</c:v>
                </c:pt>
                <c:pt idx="7036">
                  <c:v>8881.8996745129771</c:v>
                </c:pt>
                <c:pt idx="7037">
                  <c:v>9585.0644049507282</c:v>
                </c:pt>
                <c:pt idx="7038">
                  <c:v>10027.704058519359</c:v>
                </c:pt>
                <c:pt idx="7039">
                  <c:v>10118.789967069015</c:v>
                </c:pt>
                <c:pt idx="7040">
                  <c:v>10140.830200974873</c:v>
                </c:pt>
                <c:pt idx="7041">
                  <c:v>10188.580633830328</c:v>
                </c:pt>
                <c:pt idx="7042">
                  <c:v>10208.425583394379</c:v>
                </c:pt>
                <c:pt idx="7043">
                  <c:v>10207.573496716059</c:v>
                </c:pt>
                <c:pt idx="7044">
                  <c:v>10058.684892153968</c:v>
                </c:pt>
                <c:pt idx="7045">
                  <c:v>10014.501890010128</c:v>
                </c:pt>
                <c:pt idx="7046">
                  <c:v>9962.0437113237294</c:v>
                </c:pt>
                <c:pt idx="7047">
                  <c:v>9927.2436911605873</c:v>
                </c:pt>
                <c:pt idx="7048">
                  <c:v>10136.619726993247</c:v>
                </c:pt>
                <c:pt idx="7049">
                  <c:v>10484.352987551481</c:v>
                </c:pt>
                <c:pt idx="7050">
                  <c:v>10542.626233012499</c:v>
                </c:pt>
                <c:pt idx="7051">
                  <c:v>10333.283244259861</c:v>
                </c:pt>
                <c:pt idx="7052">
                  <c:v>9831.9097756636093</c:v>
                </c:pt>
                <c:pt idx="7053">
                  <c:v>9769.8053600405001</c:v>
                </c:pt>
                <c:pt idx="7054">
                  <c:v>9595.5496985701466</c:v>
                </c:pt>
                <c:pt idx="7055">
                  <c:v>9115.9277143685649</c:v>
                </c:pt>
                <c:pt idx="7056">
                  <c:v>8820.2482869857249</c:v>
                </c:pt>
                <c:pt idx="7057">
                  <c:v>8687.9715100266694</c:v>
                </c:pt>
                <c:pt idx="7058">
                  <c:v>8672.720760842747</c:v>
                </c:pt>
                <c:pt idx="7059">
                  <c:v>8743.3461299153096</c:v>
                </c:pt>
                <c:pt idx="7060">
                  <c:v>9063.1462146785125</c:v>
                </c:pt>
                <c:pt idx="7061">
                  <c:v>9862.0259296754248</c:v>
                </c:pt>
                <c:pt idx="7062">
                  <c:v>10382.890747329075</c:v>
                </c:pt>
                <c:pt idx="7063">
                  <c:v>10598.066461236534</c:v>
                </c:pt>
                <c:pt idx="7064">
                  <c:v>10685.486958650237</c:v>
                </c:pt>
                <c:pt idx="7065">
                  <c:v>10753.488515605088</c:v>
                </c:pt>
                <c:pt idx="7066">
                  <c:v>10869.234103712552</c:v>
                </c:pt>
                <c:pt idx="7067">
                  <c:v>10846.431762061835</c:v>
                </c:pt>
                <c:pt idx="7068">
                  <c:v>10791.31035937938</c:v>
                </c:pt>
                <c:pt idx="7069">
                  <c:v>10747.600229111382</c:v>
                </c:pt>
                <c:pt idx="7070">
                  <c:v>10710.30135036611</c:v>
                </c:pt>
                <c:pt idx="7071">
                  <c:v>10712.315943369</c:v>
                </c:pt>
                <c:pt idx="7072">
                  <c:v>10790.004356061992</c:v>
                </c:pt>
                <c:pt idx="7073">
                  <c:v>11124.178914909069</c:v>
                </c:pt>
                <c:pt idx="7074">
                  <c:v>11128.416933462795</c:v>
                </c:pt>
                <c:pt idx="7075">
                  <c:v>10866.290446987427</c:v>
                </c:pt>
                <c:pt idx="7076">
                  <c:v>10384.702294878967</c:v>
                </c:pt>
                <c:pt idx="7077">
                  <c:v>10400.976860618193</c:v>
                </c:pt>
                <c:pt idx="7078">
                  <c:v>10182.080814174868</c:v>
                </c:pt>
                <c:pt idx="7079">
                  <c:v>9776.6186539392511</c:v>
                </c:pt>
                <c:pt idx="7080">
                  <c:v>9461.2735009455409</c:v>
                </c:pt>
                <c:pt idx="7081">
                  <c:v>9248.0960293847402</c:v>
                </c:pt>
                <c:pt idx="7082">
                  <c:v>9206.2450001028228</c:v>
                </c:pt>
                <c:pt idx="7083">
                  <c:v>9238.0755851682243</c:v>
                </c:pt>
                <c:pt idx="7084">
                  <c:v>9313.1596491975943</c:v>
                </c:pt>
                <c:pt idx="7085">
                  <c:v>9552.6047442498366</c:v>
                </c:pt>
                <c:pt idx="7086">
                  <c:v>9710.9264140575942</c:v>
                </c:pt>
                <c:pt idx="7087">
                  <c:v>9875.5686540162478</c:v>
                </c:pt>
                <c:pt idx="7088">
                  <c:v>10140.594382237374</c:v>
                </c:pt>
                <c:pt idx="7089">
                  <c:v>10222.6504521922</c:v>
                </c:pt>
                <c:pt idx="7090">
                  <c:v>10225.458945847278</c:v>
                </c:pt>
                <c:pt idx="7091">
                  <c:v>10210.742981809281</c:v>
                </c:pt>
                <c:pt idx="7092">
                  <c:v>10168.436144043768</c:v>
                </c:pt>
                <c:pt idx="7093">
                  <c:v>10182.063270811459</c:v>
                </c:pt>
                <c:pt idx="7094">
                  <c:v>10241.54559105716</c:v>
                </c:pt>
                <c:pt idx="7095">
                  <c:v>10311.982379904708</c:v>
                </c:pt>
                <c:pt idx="7096">
                  <c:v>10543.249195193588</c:v>
                </c:pt>
                <c:pt idx="7097">
                  <c:v>11165.383643362102</c:v>
                </c:pt>
                <c:pt idx="7098">
                  <c:v>11222.761652840652</c:v>
                </c:pt>
                <c:pt idx="7099">
                  <c:v>10888.477446808138</c:v>
                </c:pt>
                <c:pt idx="7100">
                  <c:v>10378.292305100942</c:v>
                </c:pt>
                <c:pt idx="7101">
                  <c:v>10431.81929072506</c:v>
                </c:pt>
                <c:pt idx="7102">
                  <c:v>10267.250765928255</c:v>
                </c:pt>
                <c:pt idx="7103">
                  <c:v>9894.8330534148245</c:v>
                </c:pt>
                <c:pt idx="7104">
                  <c:v>9698.6367546273996</c:v>
                </c:pt>
                <c:pt idx="7105">
                  <c:v>9549.5748877562837</c:v>
                </c:pt>
                <c:pt idx="7106">
                  <c:v>9484.921733677711</c:v>
                </c:pt>
                <c:pt idx="7107">
                  <c:v>9501.2204762966048</c:v>
                </c:pt>
                <c:pt idx="7108">
                  <c:v>9616.2491257298516</c:v>
                </c:pt>
                <c:pt idx="7109">
                  <c:v>9783.2575647012109</c:v>
                </c:pt>
                <c:pt idx="7110">
                  <c:v>9849.5287112785427</c:v>
                </c:pt>
                <c:pt idx="7111">
                  <c:v>9959.144894882691</c:v>
                </c:pt>
                <c:pt idx="7112">
                  <c:v>10161.800301785142</c:v>
                </c:pt>
                <c:pt idx="7113">
                  <c:v>10290.863610231239</c:v>
                </c:pt>
                <c:pt idx="7114">
                  <c:v>10346.178414492399</c:v>
                </c:pt>
                <c:pt idx="7115">
                  <c:v>10309.729771324668</c:v>
                </c:pt>
                <c:pt idx="7116">
                  <c:v>10147.079689838229</c:v>
                </c:pt>
                <c:pt idx="7117">
                  <c:v>10098.080976344749</c:v>
                </c:pt>
                <c:pt idx="7118">
                  <c:v>10153.857112726117</c:v>
                </c:pt>
                <c:pt idx="7119">
                  <c:v>10206.862387609399</c:v>
                </c:pt>
                <c:pt idx="7120">
                  <c:v>10420.266213436926</c:v>
                </c:pt>
                <c:pt idx="7121">
                  <c:v>10807.400002367383</c:v>
                </c:pt>
                <c:pt idx="7122">
                  <c:v>10786.113297347059</c:v>
                </c:pt>
                <c:pt idx="7123">
                  <c:v>10508.912362309116</c:v>
                </c:pt>
                <c:pt idx="7124">
                  <c:v>10093.843256437609</c:v>
                </c:pt>
                <c:pt idx="7125">
                  <c:v>10175.073605462505</c:v>
                </c:pt>
                <c:pt idx="7126">
                  <c:v>10012.782864860568</c:v>
                </c:pt>
                <c:pt idx="7127">
                  <c:v>9595.8706585468444</c:v>
                </c:pt>
                <c:pt idx="7128">
                  <c:v>9220.0380196125734</c:v>
                </c:pt>
                <c:pt idx="7129">
                  <c:v>9060.7358421742701</c:v>
                </c:pt>
                <c:pt idx="7130">
                  <c:v>8994.3761676583672</c:v>
                </c:pt>
                <c:pt idx="7131">
                  <c:v>9038.5447593447079</c:v>
                </c:pt>
                <c:pt idx="7132">
                  <c:v>9280.088896525871</c:v>
                </c:pt>
                <c:pt idx="7133">
                  <c:v>10058.51655466195</c:v>
                </c:pt>
                <c:pt idx="7134">
                  <c:v>10547.585863068161</c:v>
                </c:pt>
                <c:pt idx="7135">
                  <c:v>10711.889467200392</c:v>
                </c:pt>
                <c:pt idx="7136">
                  <c:v>10601.32571890994</c:v>
                </c:pt>
                <c:pt idx="7137">
                  <c:v>10561.489053323096</c:v>
                </c:pt>
                <c:pt idx="7138">
                  <c:v>10564.999539151569</c:v>
                </c:pt>
                <c:pt idx="7139">
                  <c:v>10514.919697902367</c:v>
                </c:pt>
                <c:pt idx="7140">
                  <c:v>10404.444413169365</c:v>
                </c:pt>
                <c:pt idx="7141">
                  <c:v>10320.649534502929</c:v>
                </c:pt>
                <c:pt idx="7142">
                  <c:v>10208.793537938607</c:v>
                </c:pt>
                <c:pt idx="7143">
                  <c:v>10173.390253499381</c:v>
                </c:pt>
                <c:pt idx="7144">
                  <c:v>10340.460559154242</c:v>
                </c:pt>
                <c:pt idx="7145">
                  <c:v>10548.906249400017</c:v>
                </c:pt>
                <c:pt idx="7146">
                  <c:v>10578.243550678628</c:v>
                </c:pt>
                <c:pt idx="7147">
                  <c:v>10387.305139524971</c:v>
                </c:pt>
                <c:pt idx="7148">
                  <c:v>9887.2732619784019</c:v>
                </c:pt>
                <c:pt idx="7149">
                  <c:v>9903.7549471921993</c:v>
                </c:pt>
                <c:pt idx="7150">
                  <c:v>9612.1076459098349</c:v>
                </c:pt>
                <c:pt idx="7151">
                  <c:v>9175.1329666484471</c:v>
                </c:pt>
                <c:pt idx="7152">
                  <c:v>8861.1986709166249</c:v>
                </c:pt>
                <c:pt idx="7153">
                  <c:v>8713.9069757745292</c:v>
                </c:pt>
                <c:pt idx="7154">
                  <c:v>8660.1976174801221</c:v>
                </c:pt>
                <c:pt idx="7155">
                  <c:v>8620.6875426014903</c:v>
                </c:pt>
                <c:pt idx="7156">
                  <c:v>8893.29999327511</c:v>
                </c:pt>
                <c:pt idx="7157">
                  <c:v>9594.2140506546893</c:v>
                </c:pt>
                <c:pt idx="7158">
                  <c:v>10130.391625974342</c:v>
                </c:pt>
                <c:pt idx="7159">
                  <c:v>10291.11487254438</c:v>
                </c:pt>
                <c:pt idx="7160">
                  <c:v>10207.945521666403</c:v>
                </c:pt>
                <c:pt idx="7161">
                  <c:v>10205.289130821622</c:v>
                </c:pt>
                <c:pt idx="7162">
                  <c:v>10284.579426979952</c:v>
                </c:pt>
                <c:pt idx="7163">
                  <c:v>10285.923323860259</c:v>
                </c:pt>
                <c:pt idx="7164">
                  <c:v>10211.116782974479</c:v>
                </c:pt>
                <c:pt idx="7165">
                  <c:v>10189.791427715398</c:v>
                </c:pt>
                <c:pt idx="7166">
                  <c:v>10153.419554688662</c:v>
                </c:pt>
                <c:pt idx="7167">
                  <c:v>10138.708317044388</c:v>
                </c:pt>
                <c:pt idx="7168">
                  <c:v>10386.059884119109</c:v>
                </c:pt>
                <c:pt idx="7169">
                  <c:v>10622.786674359628</c:v>
                </c:pt>
                <c:pt idx="7170">
                  <c:v>10656.837005877509</c:v>
                </c:pt>
                <c:pt idx="7171">
                  <c:v>10384.477786503312</c:v>
                </c:pt>
                <c:pt idx="7172">
                  <c:v>9905.3039645812769</c:v>
                </c:pt>
                <c:pt idx="7173">
                  <c:v>9895.4098427328354</c:v>
                </c:pt>
                <c:pt idx="7174">
                  <c:v>9610.2352568056431</c:v>
                </c:pt>
                <c:pt idx="7175">
                  <c:v>9186.9364728709497</c:v>
                </c:pt>
                <c:pt idx="7176">
                  <c:v>8912.0497648230812</c:v>
                </c:pt>
                <c:pt idx="7177">
                  <c:v>8782.2646410725083</c:v>
                </c:pt>
                <c:pt idx="7178">
                  <c:v>8701.2009128113732</c:v>
                </c:pt>
                <c:pt idx="7179">
                  <c:v>8800.810019503333</c:v>
                </c:pt>
                <c:pt idx="7180">
                  <c:v>9058.3596404608306</c:v>
                </c:pt>
                <c:pt idx="7181">
                  <c:v>9756.3104354424668</c:v>
                </c:pt>
                <c:pt idx="7182">
                  <c:v>10339.284530023137</c:v>
                </c:pt>
                <c:pt idx="7183">
                  <c:v>10486.787242432374</c:v>
                </c:pt>
                <c:pt idx="7184">
                  <c:v>10434.003142380914</c:v>
                </c:pt>
                <c:pt idx="7185">
                  <c:v>10414.465780426672</c:v>
                </c:pt>
                <c:pt idx="7186">
                  <c:v>10470.652663778992</c:v>
                </c:pt>
                <c:pt idx="7187">
                  <c:v>10442.817518711532</c:v>
                </c:pt>
                <c:pt idx="7188">
                  <c:v>10433.475627700005</c:v>
                </c:pt>
                <c:pt idx="7189">
                  <c:v>10380.903760505013</c:v>
                </c:pt>
                <c:pt idx="7190">
                  <c:v>10126.025159968585</c:v>
                </c:pt>
                <c:pt idx="7191">
                  <c:v>10350.24884673984</c:v>
                </c:pt>
                <c:pt idx="7192">
                  <c:v>10550.261741964639</c:v>
                </c:pt>
                <c:pt idx="7193">
                  <c:v>10742.087980768467</c:v>
                </c:pt>
                <c:pt idx="7194">
                  <c:v>10786.58087477669</c:v>
                </c:pt>
                <c:pt idx="7195">
                  <c:v>10484.812167547696</c:v>
                </c:pt>
                <c:pt idx="7196">
                  <c:v>10098.847151702324</c:v>
                </c:pt>
                <c:pt idx="7197">
                  <c:v>9994.0658028927701</c:v>
                </c:pt>
                <c:pt idx="7198">
                  <c:v>9729.3356032103275</c:v>
                </c:pt>
                <c:pt idx="7199">
                  <c:v>9238.2166571684666</c:v>
                </c:pt>
                <c:pt idx="7200">
                  <c:v>8956.3044609774224</c:v>
                </c:pt>
                <c:pt idx="7201">
                  <c:v>8822.2122645846957</c:v>
                </c:pt>
                <c:pt idx="7202">
                  <c:v>8837.1108326531757</c:v>
                </c:pt>
                <c:pt idx="7203">
                  <c:v>8876.7036316094291</c:v>
                </c:pt>
                <c:pt idx="7204">
                  <c:v>9182.8306600974356</c:v>
                </c:pt>
                <c:pt idx="7205">
                  <c:v>10015.257264042355</c:v>
                </c:pt>
                <c:pt idx="7206">
                  <c:v>10634.898983482153</c:v>
                </c:pt>
                <c:pt idx="7207">
                  <c:v>10791.543336579161</c:v>
                </c:pt>
                <c:pt idx="7208">
                  <c:v>10774.883981008808</c:v>
                </c:pt>
                <c:pt idx="7209">
                  <c:v>10772.087041638806</c:v>
                </c:pt>
                <c:pt idx="7210">
                  <c:v>10770.17515478205</c:v>
                </c:pt>
                <c:pt idx="7211">
                  <c:v>10764.870372490073</c:v>
                </c:pt>
                <c:pt idx="7212">
                  <c:v>10621.31469713299</c:v>
                </c:pt>
                <c:pt idx="7213">
                  <c:v>10541.449448454316</c:v>
                </c:pt>
                <c:pt idx="7214">
                  <c:v>10440.655915694007</c:v>
                </c:pt>
                <c:pt idx="7215">
                  <c:v>10439.410981290779</c:v>
                </c:pt>
                <c:pt idx="7216">
                  <c:v>10646.004642059896</c:v>
                </c:pt>
                <c:pt idx="7217">
                  <c:v>10816.596384508322</c:v>
                </c:pt>
                <c:pt idx="7218">
                  <c:v>10776.487228382619</c:v>
                </c:pt>
                <c:pt idx="7219">
                  <c:v>10570.234435502633</c:v>
                </c:pt>
                <c:pt idx="7220">
                  <c:v>10028.595144250821</c:v>
                </c:pt>
                <c:pt idx="7221">
                  <c:v>9922.6983654919895</c:v>
                </c:pt>
                <c:pt idx="7222">
                  <c:v>9574.7773360785832</c:v>
                </c:pt>
                <c:pt idx="7223">
                  <c:v>9051.2595091827516</c:v>
                </c:pt>
                <c:pt idx="7224">
                  <c:v>8765.8177171961088</c:v>
                </c:pt>
                <c:pt idx="7225">
                  <c:v>8686.9596419582776</c:v>
                </c:pt>
                <c:pt idx="7226">
                  <c:v>8650.7875424116592</c:v>
                </c:pt>
                <c:pt idx="7227">
                  <c:v>8621.940600381502</c:v>
                </c:pt>
                <c:pt idx="7228">
                  <c:v>8946.6080521795902</c:v>
                </c:pt>
                <c:pt idx="7229">
                  <c:v>9697.940803126563</c:v>
                </c:pt>
                <c:pt idx="7230">
                  <c:v>10284.803122714935</c:v>
                </c:pt>
                <c:pt idx="7231">
                  <c:v>10560.800102819689</c:v>
                </c:pt>
                <c:pt idx="7232">
                  <c:v>10487.62463881333</c:v>
                </c:pt>
                <c:pt idx="7233">
                  <c:v>10377.19339959673</c:v>
                </c:pt>
                <c:pt idx="7234">
                  <c:v>10417.189278543297</c:v>
                </c:pt>
                <c:pt idx="7235">
                  <c:v>10401.142320250383</c:v>
                </c:pt>
                <c:pt idx="7236">
                  <c:v>10331.311947034279</c:v>
                </c:pt>
                <c:pt idx="7237">
                  <c:v>10224.049889232858</c:v>
                </c:pt>
                <c:pt idx="7238">
                  <c:v>10264.439911236363</c:v>
                </c:pt>
                <c:pt idx="7239">
                  <c:v>10281.521741107701</c:v>
                </c:pt>
                <c:pt idx="7240">
                  <c:v>10400.634066082072</c:v>
                </c:pt>
                <c:pt idx="7241">
                  <c:v>10619.544069428102</c:v>
                </c:pt>
                <c:pt idx="7242">
                  <c:v>10639.016445533616</c:v>
                </c:pt>
                <c:pt idx="7243">
                  <c:v>10356.366633833723</c:v>
                </c:pt>
                <c:pt idx="7244">
                  <c:v>9849.969098673113</c:v>
                </c:pt>
                <c:pt idx="7245">
                  <c:v>9802.9945117857987</c:v>
                </c:pt>
                <c:pt idx="7246">
                  <c:v>9546.323354635575</c:v>
                </c:pt>
                <c:pt idx="7247">
                  <c:v>9101.5723056281895</c:v>
                </c:pt>
                <c:pt idx="7248">
                  <c:v>8715.9687672862474</c:v>
                </c:pt>
                <c:pt idx="7249">
                  <c:v>8522.8542067517392</c:v>
                </c:pt>
                <c:pt idx="7250">
                  <c:v>8454.6886479752375</c:v>
                </c:pt>
                <c:pt idx="7251">
                  <c:v>8447.001851932293</c:v>
                </c:pt>
                <c:pt idx="7252">
                  <c:v>8544.4766265065737</c:v>
                </c:pt>
                <c:pt idx="7253">
                  <c:v>8863.1193383285026</c:v>
                </c:pt>
                <c:pt idx="7254">
                  <c:v>9071.8992337821073</c:v>
                </c:pt>
                <c:pt idx="7255">
                  <c:v>9336.1155316435998</c:v>
                </c:pt>
                <c:pt idx="7256">
                  <c:v>9417.5782636541426</c:v>
                </c:pt>
                <c:pt idx="7257">
                  <c:v>9654.3638670217097</c:v>
                </c:pt>
                <c:pt idx="7258">
                  <c:v>9742.2189558910668</c:v>
                </c:pt>
                <c:pt idx="7259">
                  <c:v>9739.7010105160789</c:v>
                </c:pt>
                <c:pt idx="7260">
                  <c:v>9737.0706466723659</c:v>
                </c:pt>
                <c:pt idx="7261">
                  <c:v>9714.9965398955992</c:v>
                </c:pt>
                <c:pt idx="7262">
                  <c:v>9762.5529352746071</c:v>
                </c:pt>
                <c:pt idx="7263">
                  <c:v>9875.0854626451892</c:v>
                </c:pt>
                <c:pt idx="7264">
                  <c:v>10150.374722026463</c:v>
                </c:pt>
                <c:pt idx="7265">
                  <c:v>10466.926296536072</c:v>
                </c:pt>
                <c:pt idx="7266">
                  <c:v>10393.200937491014</c:v>
                </c:pt>
                <c:pt idx="7267">
                  <c:v>10023.088302580874</c:v>
                </c:pt>
                <c:pt idx="7268">
                  <c:v>9501.3535033123862</c:v>
                </c:pt>
                <c:pt idx="7269">
                  <c:v>9514.8742005487038</c:v>
                </c:pt>
                <c:pt idx="7270">
                  <c:v>9322.3507230344148</c:v>
                </c:pt>
                <c:pt idx="7271">
                  <c:v>8928.4028043706257</c:v>
                </c:pt>
                <c:pt idx="7272">
                  <c:v>8540.5060139724283</c:v>
                </c:pt>
                <c:pt idx="7273">
                  <c:v>8388.9177731126729</c:v>
                </c:pt>
                <c:pt idx="7274">
                  <c:v>8241.9994261893098</c:v>
                </c:pt>
                <c:pt idx="7275">
                  <c:v>8219.3139281926124</c:v>
                </c:pt>
                <c:pt idx="7276">
                  <c:v>8271.2995935666186</c:v>
                </c:pt>
                <c:pt idx="7277">
                  <c:v>8368.0943230910889</c:v>
                </c:pt>
                <c:pt idx="7278">
                  <c:v>8576.5197980419598</c:v>
                </c:pt>
                <c:pt idx="7279">
                  <c:v>8717.6793489030752</c:v>
                </c:pt>
                <c:pt idx="7280">
                  <c:v>8812.792447816586</c:v>
                </c:pt>
                <c:pt idx="7281">
                  <c:v>9069.9269308582989</c:v>
                </c:pt>
                <c:pt idx="7282">
                  <c:v>9268.8390684713868</c:v>
                </c:pt>
                <c:pt idx="7283">
                  <c:v>9392.128621686963</c:v>
                </c:pt>
                <c:pt idx="7284">
                  <c:v>9421.1439261459527</c:v>
                </c:pt>
                <c:pt idx="7285">
                  <c:v>9360.1062403388987</c:v>
                </c:pt>
                <c:pt idx="7286">
                  <c:v>9322.0138473709521</c:v>
                </c:pt>
                <c:pt idx="7287">
                  <c:v>9414.2439769404955</c:v>
                </c:pt>
                <c:pt idx="7288">
                  <c:v>9764.9857607396916</c:v>
                </c:pt>
                <c:pt idx="7289">
                  <c:v>9978.8174318348956</c:v>
                </c:pt>
                <c:pt idx="7290">
                  <c:v>10028.978765910972</c:v>
                </c:pt>
                <c:pt idx="7291">
                  <c:v>9958.7587068046651</c:v>
                </c:pt>
                <c:pt idx="7292">
                  <c:v>9729.3785678424374</c:v>
                </c:pt>
                <c:pt idx="7293">
                  <c:v>9285.9991346430525</c:v>
                </c:pt>
                <c:pt idx="7294">
                  <c:v>9422.7193308054175</c:v>
                </c:pt>
                <c:pt idx="7295">
                  <c:v>9272.1052701994449</c:v>
                </c:pt>
                <c:pt idx="7296">
                  <c:v>8809.3103580737406</c:v>
                </c:pt>
                <c:pt idx="7297">
                  <c:v>8501.3391903375541</c:v>
                </c:pt>
                <c:pt idx="7298">
                  <c:v>8343.5361799817383</c:v>
                </c:pt>
                <c:pt idx="7299">
                  <c:v>8402.7548776440544</c:v>
                </c:pt>
                <c:pt idx="7300">
                  <c:v>8452.0489367705104</c:v>
                </c:pt>
                <c:pt idx="7301">
                  <c:v>8767.1241682650016</c:v>
                </c:pt>
                <c:pt idx="7302">
                  <c:v>9584.9312597251483</c:v>
                </c:pt>
                <c:pt idx="7303">
                  <c:v>10118.315340051617</c:v>
                </c:pt>
                <c:pt idx="7304">
                  <c:v>10132.872376367663</c:v>
                </c:pt>
                <c:pt idx="7305">
                  <c:v>10126.188481043057</c:v>
                </c:pt>
                <c:pt idx="7306">
                  <c:v>10134.495285200519</c:v>
                </c:pt>
                <c:pt idx="7307">
                  <c:v>10167.526170128209</c:v>
                </c:pt>
                <c:pt idx="7308">
                  <c:v>10124.9736967426</c:v>
                </c:pt>
                <c:pt idx="7309">
                  <c:v>10098.262160105216</c:v>
                </c:pt>
                <c:pt idx="7310">
                  <c:v>10067.590113186581</c:v>
                </c:pt>
                <c:pt idx="7311">
                  <c:v>10109.778145268476</c:v>
                </c:pt>
                <c:pt idx="7312">
                  <c:v>10249.192655594665</c:v>
                </c:pt>
                <c:pt idx="7313">
                  <c:v>10449.22255389513</c:v>
                </c:pt>
                <c:pt idx="7314">
                  <c:v>10390.002738028819</c:v>
                </c:pt>
                <c:pt idx="7315">
                  <c:v>10367.349890701733</c:v>
                </c:pt>
                <c:pt idx="7316">
                  <c:v>10103.13370697826</c:v>
                </c:pt>
                <c:pt idx="7317">
                  <c:v>9619.2492727509962</c:v>
                </c:pt>
                <c:pt idx="7318">
                  <c:v>9644.7167129363697</c:v>
                </c:pt>
                <c:pt idx="7319">
                  <c:v>9395.3178213895571</c:v>
                </c:pt>
                <c:pt idx="7320">
                  <c:v>8926.4419345766219</c:v>
                </c:pt>
                <c:pt idx="7321">
                  <c:v>8683.5186543124237</c:v>
                </c:pt>
                <c:pt idx="7322">
                  <c:v>8514.8266155381007</c:v>
                </c:pt>
                <c:pt idx="7323">
                  <c:v>8474.4944436718542</c:v>
                </c:pt>
                <c:pt idx="7324">
                  <c:v>8567.4478055848685</c:v>
                </c:pt>
                <c:pt idx="7325">
                  <c:v>8937.5157570937281</c:v>
                </c:pt>
                <c:pt idx="7326">
                  <c:v>9734.842326020007</c:v>
                </c:pt>
                <c:pt idx="7327">
                  <c:v>10234.068137048735</c:v>
                </c:pt>
                <c:pt idx="7328">
                  <c:v>10355.772092530058</c:v>
                </c:pt>
                <c:pt idx="7329">
                  <c:v>10349.320730546166</c:v>
                </c:pt>
                <c:pt idx="7330">
                  <c:v>10362.425701419836</c:v>
                </c:pt>
                <c:pt idx="7331">
                  <c:v>10423.807570931416</c:v>
                </c:pt>
                <c:pt idx="7332">
                  <c:v>10334.688808093002</c:v>
                </c:pt>
                <c:pt idx="7333">
                  <c:v>10209.122000511376</c:v>
                </c:pt>
                <c:pt idx="7334">
                  <c:v>10158.498541401996</c:v>
                </c:pt>
                <c:pt idx="7335">
                  <c:v>10189.922892948614</c:v>
                </c:pt>
                <c:pt idx="7336">
                  <c:v>10355.530040827849</c:v>
                </c:pt>
                <c:pt idx="7337">
                  <c:v>10601.426251859493</c:v>
                </c:pt>
                <c:pt idx="7338">
                  <c:v>10620.481751618894</c:v>
                </c:pt>
                <c:pt idx="7339">
                  <c:v>10559.832659316322</c:v>
                </c:pt>
                <c:pt idx="7340">
                  <c:v>10297.998897599184</c:v>
                </c:pt>
                <c:pt idx="7341">
                  <c:v>9841.0376489694627</c:v>
                </c:pt>
                <c:pt idx="7342">
                  <c:v>9829.7813802773362</c:v>
                </c:pt>
                <c:pt idx="7343">
                  <c:v>9487.7521689915975</c:v>
                </c:pt>
                <c:pt idx="7344">
                  <c:v>9186.3191161659197</c:v>
                </c:pt>
                <c:pt idx="7345">
                  <c:v>8828.3576219413499</c:v>
                </c:pt>
                <c:pt idx="7346">
                  <c:v>8712.1254076818914</c:v>
                </c:pt>
                <c:pt idx="7347">
                  <c:v>8674.7558255841686</c:v>
                </c:pt>
                <c:pt idx="7348">
                  <c:v>8729.5461738899558</c:v>
                </c:pt>
                <c:pt idx="7349">
                  <c:v>9044.1588223503968</c:v>
                </c:pt>
                <c:pt idx="7350">
                  <c:v>9868.3679320627252</c:v>
                </c:pt>
                <c:pt idx="7351">
                  <c:v>10371.865961248179</c:v>
                </c:pt>
                <c:pt idx="7352">
                  <c:v>10475.448110651443</c:v>
                </c:pt>
                <c:pt idx="7353">
                  <c:v>10526.297399920952</c:v>
                </c:pt>
                <c:pt idx="7354">
                  <c:v>10565.264683517702</c:v>
                </c:pt>
                <c:pt idx="7355">
                  <c:v>10614.232862097737</c:v>
                </c:pt>
                <c:pt idx="7356">
                  <c:v>10624.839496729232</c:v>
                </c:pt>
                <c:pt idx="7357">
                  <c:v>10523.670563439709</c:v>
                </c:pt>
                <c:pt idx="7358">
                  <c:v>10469.113825898834</c:v>
                </c:pt>
                <c:pt idx="7359">
                  <c:v>10526.770026452577</c:v>
                </c:pt>
                <c:pt idx="7360">
                  <c:v>10728.510273221729</c:v>
                </c:pt>
                <c:pt idx="7361">
                  <c:v>10888.601403165208</c:v>
                </c:pt>
                <c:pt idx="7362">
                  <c:v>10888.907869512175</c:v>
                </c:pt>
                <c:pt idx="7363">
                  <c:v>10883.084788891014</c:v>
                </c:pt>
                <c:pt idx="7364">
                  <c:v>10603.419303626097</c:v>
                </c:pt>
                <c:pt idx="7365">
                  <c:v>10001.581703422891</c:v>
                </c:pt>
                <c:pt idx="7366">
                  <c:v>9959.3760540453404</c:v>
                </c:pt>
                <c:pt idx="7367">
                  <c:v>9680.8788727481115</c:v>
                </c:pt>
                <c:pt idx="7368">
                  <c:v>9123.0023098844467</c:v>
                </c:pt>
                <c:pt idx="7369">
                  <c:v>8769.0231896939877</c:v>
                </c:pt>
                <c:pt idx="7370">
                  <c:v>8638.8630827512316</c:v>
                </c:pt>
                <c:pt idx="7371">
                  <c:v>8534.0340862634312</c:v>
                </c:pt>
                <c:pt idx="7372">
                  <c:v>8586.1767234894396</c:v>
                </c:pt>
                <c:pt idx="7373">
                  <c:v>8811.7800619887494</c:v>
                </c:pt>
                <c:pt idx="7374">
                  <c:v>9598.9570302135726</c:v>
                </c:pt>
                <c:pt idx="7375">
                  <c:v>10047.616912800731</c:v>
                </c:pt>
                <c:pt idx="7376">
                  <c:v>10040.767743247396</c:v>
                </c:pt>
                <c:pt idx="7377">
                  <c:v>10098.811444722807</c:v>
                </c:pt>
                <c:pt idx="7378">
                  <c:v>10167.484568259075</c:v>
                </c:pt>
                <c:pt idx="7379">
                  <c:v>10159.786120107916</c:v>
                </c:pt>
                <c:pt idx="7380">
                  <c:v>10163.242827761045</c:v>
                </c:pt>
                <c:pt idx="7381">
                  <c:v>10066.430098634126</c:v>
                </c:pt>
                <c:pt idx="7382">
                  <c:v>10102.821169007038</c:v>
                </c:pt>
                <c:pt idx="7383">
                  <c:v>10173.363482645571</c:v>
                </c:pt>
                <c:pt idx="7384">
                  <c:v>10396.532608504236</c:v>
                </c:pt>
                <c:pt idx="7385">
                  <c:v>10508.613417855697</c:v>
                </c:pt>
                <c:pt idx="7386">
                  <c:v>10535.52696403584</c:v>
                </c:pt>
                <c:pt idx="7387">
                  <c:v>10512.964240265883</c:v>
                </c:pt>
                <c:pt idx="7388">
                  <c:v>10261.046332556703</c:v>
                </c:pt>
                <c:pt idx="7389">
                  <c:v>9759.4124647773333</c:v>
                </c:pt>
                <c:pt idx="7390">
                  <c:v>9772.3076685807919</c:v>
                </c:pt>
                <c:pt idx="7391">
                  <c:v>9610.0014600708037</c:v>
                </c:pt>
                <c:pt idx="7392">
                  <c:v>9245.1760656760162</c:v>
                </c:pt>
                <c:pt idx="7393">
                  <c:v>8932.744013594709</c:v>
                </c:pt>
                <c:pt idx="7394">
                  <c:v>8780.0436269766124</c:v>
                </c:pt>
                <c:pt idx="7395">
                  <c:v>8775.4393796330132</c:v>
                </c:pt>
                <c:pt idx="7396">
                  <c:v>8823.0244359808203</c:v>
                </c:pt>
                <c:pt idx="7397">
                  <c:v>9112.9601818663414</c:v>
                </c:pt>
                <c:pt idx="7398">
                  <c:v>9972.160769804892</c:v>
                </c:pt>
                <c:pt idx="7399">
                  <c:v>10460.18030510877</c:v>
                </c:pt>
                <c:pt idx="7400">
                  <c:v>10579.103079023789</c:v>
                </c:pt>
                <c:pt idx="7401">
                  <c:v>10501.780688197327</c:v>
                </c:pt>
                <c:pt idx="7402">
                  <c:v>10584.236772755983</c:v>
                </c:pt>
                <c:pt idx="7403">
                  <c:v>10579.941772485681</c:v>
                </c:pt>
                <c:pt idx="7404">
                  <c:v>10546.411834849754</c:v>
                </c:pt>
                <c:pt idx="7405">
                  <c:v>10445.940446704108</c:v>
                </c:pt>
                <c:pt idx="7406">
                  <c:v>10448.840671683933</c:v>
                </c:pt>
                <c:pt idx="7407">
                  <c:v>10515.257513483442</c:v>
                </c:pt>
                <c:pt idx="7408">
                  <c:v>10798.904287055751</c:v>
                </c:pt>
                <c:pt idx="7409">
                  <c:v>10956.410521814392</c:v>
                </c:pt>
                <c:pt idx="7410">
                  <c:v>10947.304595831019</c:v>
                </c:pt>
                <c:pt idx="7411">
                  <c:v>10851.112436225527</c:v>
                </c:pt>
                <c:pt idx="7412">
                  <c:v>10527.877283899008</c:v>
                </c:pt>
                <c:pt idx="7413">
                  <c:v>10039.300580148391</c:v>
                </c:pt>
                <c:pt idx="7414">
                  <c:v>10026.581933887872</c:v>
                </c:pt>
                <c:pt idx="7415">
                  <c:v>9756.7780438900736</c:v>
                </c:pt>
                <c:pt idx="7416">
                  <c:v>9257.7364385154833</c:v>
                </c:pt>
                <c:pt idx="7417">
                  <c:v>8916.7523436284209</c:v>
                </c:pt>
                <c:pt idx="7418">
                  <c:v>8701.6735601870769</c:v>
                </c:pt>
                <c:pt idx="7419">
                  <c:v>8692.1700302507707</c:v>
                </c:pt>
                <c:pt idx="7420">
                  <c:v>8744.3583005259316</c:v>
                </c:pt>
                <c:pt idx="7421">
                  <c:v>8841.8838563422978</c:v>
                </c:pt>
                <c:pt idx="7422">
                  <c:v>9043.2638726262376</c:v>
                </c:pt>
                <c:pt idx="7423">
                  <c:v>9203.7905064504575</c:v>
                </c:pt>
                <c:pt idx="7424">
                  <c:v>9293.0250378691853</c:v>
                </c:pt>
                <c:pt idx="7425">
                  <c:v>9486.1717225900538</c:v>
                </c:pt>
                <c:pt idx="7426">
                  <c:v>9641.298557794702</c:v>
                </c:pt>
                <c:pt idx="7427">
                  <c:v>9753.8836515186049</c:v>
                </c:pt>
                <c:pt idx="7428">
                  <c:v>9790.9530196085816</c:v>
                </c:pt>
                <c:pt idx="7429">
                  <c:v>9770.6910853403988</c:v>
                </c:pt>
                <c:pt idx="7430">
                  <c:v>9790.0654310013924</c:v>
                </c:pt>
                <c:pt idx="7431">
                  <c:v>9956.1010882371738</c:v>
                </c:pt>
                <c:pt idx="7432">
                  <c:v>10394.186606818224</c:v>
                </c:pt>
                <c:pt idx="7433">
                  <c:v>10763.681557017999</c:v>
                </c:pt>
                <c:pt idx="7434">
                  <c:v>10901.136483618367</c:v>
                </c:pt>
                <c:pt idx="7435">
                  <c:v>10802.535646828024</c:v>
                </c:pt>
                <c:pt idx="7436">
                  <c:v>10527.373114505028</c:v>
                </c:pt>
                <c:pt idx="7437">
                  <c:v>10107.566891410104</c:v>
                </c:pt>
                <c:pt idx="7438">
                  <c:v>10203.470918215795</c:v>
                </c:pt>
                <c:pt idx="7439">
                  <c:v>10089.663181160036</c:v>
                </c:pt>
                <c:pt idx="7440">
                  <c:v>9660.0744129248997</c:v>
                </c:pt>
                <c:pt idx="7441">
                  <c:v>9341.0529345282685</c:v>
                </c:pt>
                <c:pt idx="7442">
                  <c:v>9183.3608052518703</c:v>
                </c:pt>
                <c:pt idx="7443">
                  <c:v>9074.6611559575831</c:v>
                </c:pt>
                <c:pt idx="7444">
                  <c:v>9111.3753530523209</c:v>
                </c:pt>
                <c:pt idx="7445">
                  <c:v>9184.0468668983412</c:v>
                </c:pt>
                <c:pt idx="7446">
                  <c:v>9412.4295299747191</c:v>
                </c:pt>
                <c:pt idx="7447">
                  <c:v>9586.5834886139874</c:v>
                </c:pt>
                <c:pt idx="7448">
                  <c:v>9628.0904419550061</c:v>
                </c:pt>
                <c:pt idx="7449">
                  <c:v>9898.1936162238489</c:v>
                </c:pt>
                <c:pt idx="7450">
                  <c:v>10075.489175547104</c:v>
                </c:pt>
                <c:pt idx="7451">
                  <c:v>10157.435609692573</c:v>
                </c:pt>
                <c:pt idx="7452">
                  <c:v>10184.074368503105</c:v>
                </c:pt>
                <c:pt idx="7453">
                  <c:v>10109.289324343914</c:v>
                </c:pt>
                <c:pt idx="7454">
                  <c:v>10181.918235598871</c:v>
                </c:pt>
                <c:pt idx="7455">
                  <c:v>10343.343819017611</c:v>
                </c:pt>
                <c:pt idx="7456">
                  <c:v>10716.057953964881</c:v>
                </c:pt>
                <c:pt idx="7457">
                  <c:v>10882.819875991965</c:v>
                </c:pt>
                <c:pt idx="7458">
                  <c:v>10922.41874799025</c:v>
                </c:pt>
                <c:pt idx="7459">
                  <c:v>10893.675728835622</c:v>
                </c:pt>
                <c:pt idx="7460">
                  <c:v>10676.871413016979</c:v>
                </c:pt>
                <c:pt idx="7461">
                  <c:v>10289.441121917456</c:v>
                </c:pt>
                <c:pt idx="7462">
                  <c:v>10532.459162035489</c:v>
                </c:pt>
                <c:pt idx="7463">
                  <c:v>10388.723021485368</c:v>
                </c:pt>
                <c:pt idx="7464">
                  <c:v>9956.9698409311368</c:v>
                </c:pt>
                <c:pt idx="7465">
                  <c:v>9653.0600106279944</c:v>
                </c:pt>
                <c:pt idx="7466">
                  <c:v>9523.8753685905795</c:v>
                </c:pt>
                <c:pt idx="7467">
                  <c:v>9425.905289725617</c:v>
                </c:pt>
                <c:pt idx="7468">
                  <c:v>9563.6928936939894</c:v>
                </c:pt>
                <c:pt idx="7469">
                  <c:v>9907.8068316407443</c:v>
                </c:pt>
                <c:pt idx="7470">
                  <c:v>10801.555935870179</c:v>
                </c:pt>
                <c:pt idx="7471">
                  <c:v>11370.826405441558</c:v>
                </c:pt>
                <c:pt idx="7472">
                  <c:v>11525.275380869991</c:v>
                </c:pt>
                <c:pt idx="7473">
                  <c:v>11566.351485460953</c:v>
                </c:pt>
                <c:pt idx="7474">
                  <c:v>11469.89126097541</c:v>
                </c:pt>
                <c:pt idx="7475">
                  <c:v>11520.548918810786</c:v>
                </c:pt>
                <c:pt idx="7476">
                  <c:v>11428.248452832888</c:v>
                </c:pt>
                <c:pt idx="7477">
                  <c:v>11279.531838301182</c:v>
                </c:pt>
                <c:pt idx="7478">
                  <c:v>11200.585263455228</c:v>
                </c:pt>
                <c:pt idx="7479">
                  <c:v>11287.620883268364</c:v>
                </c:pt>
                <c:pt idx="7480">
                  <c:v>11545.9839264942</c:v>
                </c:pt>
                <c:pt idx="7481">
                  <c:v>11697.910260526003</c:v>
                </c:pt>
                <c:pt idx="7482">
                  <c:v>11653.1634369274</c:v>
                </c:pt>
                <c:pt idx="7483">
                  <c:v>11715.530815756938</c:v>
                </c:pt>
                <c:pt idx="7484">
                  <c:v>11580.500670809341</c:v>
                </c:pt>
                <c:pt idx="7485">
                  <c:v>11167.756498242334</c:v>
                </c:pt>
                <c:pt idx="7486">
                  <c:v>11194.291120903197</c:v>
                </c:pt>
                <c:pt idx="7487">
                  <c:v>10970.590492063815</c:v>
                </c:pt>
                <c:pt idx="7488">
                  <c:v>10548.870908154533</c:v>
                </c:pt>
                <c:pt idx="7489">
                  <c:v>10259.288563327287</c:v>
                </c:pt>
                <c:pt idx="7490">
                  <c:v>10167.212605470799</c:v>
                </c:pt>
                <c:pt idx="7491">
                  <c:v>10092.191197270098</c:v>
                </c:pt>
                <c:pt idx="7492">
                  <c:v>10204.043516947695</c:v>
                </c:pt>
                <c:pt idx="7493">
                  <c:v>10588.644307932318</c:v>
                </c:pt>
                <c:pt idx="7494">
                  <c:v>11389.433082761494</c:v>
                </c:pt>
                <c:pt idx="7495">
                  <c:v>11845.486619552172</c:v>
                </c:pt>
                <c:pt idx="7496">
                  <c:v>11928.554214452084</c:v>
                </c:pt>
                <c:pt idx="7497">
                  <c:v>11960.050113010953</c:v>
                </c:pt>
                <c:pt idx="7498">
                  <c:v>11913.348056754498</c:v>
                </c:pt>
                <c:pt idx="7499">
                  <c:v>11954.280812097517</c:v>
                </c:pt>
                <c:pt idx="7500">
                  <c:v>11913.067243001935</c:v>
                </c:pt>
                <c:pt idx="7501">
                  <c:v>11801.33870227907</c:v>
                </c:pt>
                <c:pt idx="7502">
                  <c:v>11747.555276778496</c:v>
                </c:pt>
                <c:pt idx="7503">
                  <c:v>11804.798683712341</c:v>
                </c:pt>
                <c:pt idx="7504">
                  <c:v>11980.493361662817</c:v>
                </c:pt>
                <c:pt idx="7505">
                  <c:v>11995.109238704272</c:v>
                </c:pt>
                <c:pt idx="7506">
                  <c:v>11897.1211699263</c:v>
                </c:pt>
                <c:pt idx="7507">
                  <c:v>11892.356077244242</c:v>
                </c:pt>
                <c:pt idx="7508">
                  <c:v>11562.274570876687</c:v>
                </c:pt>
                <c:pt idx="7509">
                  <c:v>10957.185604626402</c:v>
                </c:pt>
                <c:pt idx="7510">
                  <c:v>10919.982195915638</c:v>
                </c:pt>
                <c:pt idx="7511">
                  <c:v>10565.356016975978</c:v>
                </c:pt>
                <c:pt idx="7512">
                  <c:v>10019.089028993647</c:v>
                </c:pt>
                <c:pt idx="7513">
                  <c:v>9631.3146199193834</c:v>
                </c:pt>
                <c:pt idx="7514">
                  <c:v>9463.9104567406412</c:v>
                </c:pt>
                <c:pt idx="7515">
                  <c:v>9312.7140597813523</c:v>
                </c:pt>
                <c:pt idx="7516">
                  <c:v>9309.8091019403946</c:v>
                </c:pt>
                <c:pt idx="7517">
                  <c:v>9616.1754705018921</c:v>
                </c:pt>
                <c:pt idx="7518">
                  <c:v>10470.316424707536</c:v>
                </c:pt>
                <c:pt idx="7519">
                  <c:v>10914.131981645118</c:v>
                </c:pt>
                <c:pt idx="7520">
                  <c:v>10911.49764538773</c:v>
                </c:pt>
                <c:pt idx="7521">
                  <c:v>10869.059141227977</c:v>
                </c:pt>
                <c:pt idx="7522">
                  <c:v>10775.850880358477</c:v>
                </c:pt>
                <c:pt idx="7523">
                  <c:v>10791.388705892628</c:v>
                </c:pt>
                <c:pt idx="7524">
                  <c:v>10757.325570397878</c:v>
                </c:pt>
                <c:pt idx="7525">
                  <c:v>10712.342505032053</c:v>
                </c:pt>
                <c:pt idx="7526">
                  <c:v>10656.213761245737</c:v>
                </c:pt>
                <c:pt idx="7527">
                  <c:v>10714.932482952801</c:v>
                </c:pt>
                <c:pt idx="7528">
                  <c:v>10929.806877282959</c:v>
                </c:pt>
                <c:pt idx="7529">
                  <c:v>11007.89788863484</c:v>
                </c:pt>
                <c:pt idx="7530">
                  <c:v>11034.005623562387</c:v>
                </c:pt>
                <c:pt idx="7531">
                  <c:v>10995.287215738546</c:v>
                </c:pt>
                <c:pt idx="7532">
                  <c:v>10751.944156688671</c:v>
                </c:pt>
                <c:pt idx="7533">
                  <c:v>10233.104987027633</c:v>
                </c:pt>
                <c:pt idx="7534">
                  <c:v>10256.725967868068</c:v>
                </c:pt>
                <c:pt idx="7535">
                  <c:v>9961.9825100148428</c:v>
                </c:pt>
                <c:pt idx="7536">
                  <c:v>9437.5723814238863</c:v>
                </c:pt>
                <c:pt idx="7537">
                  <c:v>9092.1437048691023</c:v>
                </c:pt>
                <c:pt idx="7538">
                  <c:v>9000.3998993331388</c:v>
                </c:pt>
                <c:pt idx="7539">
                  <c:v>8960.3131690945866</c:v>
                </c:pt>
                <c:pt idx="7540">
                  <c:v>9072.4147393047606</c:v>
                </c:pt>
                <c:pt idx="7541">
                  <c:v>9418.7178162426826</c:v>
                </c:pt>
                <c:pt idx="7542">
                  <c:v>10245.108308007771</c:v>
                </c:pt>
                <c:pt idx="7543">
                  <c:v>10827.403951392813</c:v>
                </c:pt>
                <c:pt idx="7544">
                  <c:v>10935.759027500702</c:v>
                </c:pt>
                <c:pt idx="7545">
                  <c:v>10932.133673547109</c:v>
                </c:pt>
                <c:pt idx="7546">
                  <c:v>10921.353415782669</c:v>
                </c:pt>
                <c:pt idx="7547">
                  <c:v>10885.38957955041</c:v>
                </c:pt>
                <c:pt idx="7548">
                  <c:v>10828.403412502921</c:v>
                </c:pt>
                <c:pt idx="7549">
                  <c:v>10621.702775894233</c:v>
                </c:pt>
                <c:pt idx="7550">
                  <c:v>10676.783219960529</c:v>
                </c:pt>
                <c:pt idx="7551">
                  <c:v>10796.208961924051</c:v>
                </c:pt>
                <c:pt idx="7552">
                  <c:v>11076.206151904616</c:v>
                </c:pt>
                <c:pt idx="7553">
                  <c:v>11194.306593851034</c:v>
                </c:pt>
                <c:pt idx="7554">
                  <c:v>11106.040749324435</c:v>
                </c:pt>
                <c:pt idx="7555">
                  <c:v>11075.788662172705</c:v>
                </c:pt>
                <c:pt idx="7556">
                  <c:v>10856.224218787031</c:v>
                </c:pt>
                <c:pt idx="7557">
                  <c:v>10376.828351925426</c:v>
                </c:pt>
                <c:pt idx="7558">
                  <c:v>10390.383733434071</c:v>
                </c:pt>
                <c:pt idx="7559">
                  <c:v>10078.302886899453</c:v>
                </c:pt>
                <c:pt idx="7560">
                  <c:v>9650.0033337837522</c:v>
                </c:pt>
                <c:pt idx="7561">
                  <c:v>9340.5540499272338</c:v>
                </c:pt>
                <c:pt idx="7562">
                  <c:v>9175.0216483175409</c:v>
                </c:pt>
                <c:pt idx="7563">
                  <c:v>9166.951006062749</c:v>
                </c:pt>
                <c:pt idx="7564">
                  <c:v>9262.6533944893745</c:v>
                </c:pt>
                <c:pt idx="7565">
                  <c:v>9576.5278781954876</c:v>
                </c:pt>
                <c:pt idx="7566">
                  <c:v>10419.081990740788</c:v>
                </c:pt>
                <c:pt idx="7567">
                  <c:v>10973.937906311068</c:v>
                </c:pt>
                <c:pt idx="7568">
                  <c:v>11056.194537474399</c:v>
                </c:pt>
                <c:pt idx="7569">
                  <c:v>11118.03444494209</c:v>
                </c:pt>
                <c:pt idx="7570">
                  <c:v>11061.261718298529</c:v>
                </c:pt>
                <c:pt idx="7571">
                  <c:v>11053.702814676581</c:v>
                </c:pt>
                <c:pt idx="7572">
                  <c:v>11008.28823813471</c:v>
                </c:pt>
                <c:pt idx="7573">
                  <c:v>10920.094376483965</c:v>
                </c:pt>
                <c:pt idx="7574">
                  <c:v>10901.621314185797</c:v>
                </c:pt>
                <c:pt idx="7575">
                  <c:v>10939.180976063119</c:v>
                </c:pt>
                <c:pt idx="7576">
                  <c:v>11155.546360254146</c:v>
                </c:pt>
                <c:pt idx="7577">
                  <c:v>11246.014314205238</c:v>
                </c:pt>
                <c:pt idx="7578">
                  <c:v>11266.478178899446</c:v>
                </c:pt>
                <c:pt idx="7579">
                  <c:v>11175.515786840562</c:v>
                </c:pt>
                <c:pt idx="7580">
                  <c:v>10887.408904812746</c:v>
                </c:pt>
                <c:pt idx="7581">
                  <c:v>10312.244447548892</c:v>
                </c:pt>
                <c:pt idx="7582">
                  <c:v>10368.045503780169</c:v>
                </c:pt>
                <c:pt idx="7583">
                  <c:v>10208.638183855383</c:v>
                </c:pt>
                <c:pt idx="7584">
                  <c:v>9821.4758928344199</c:v>
                </c:pt>
                <c:pt idx="7585">
                  <c:v>9565.7172648082123</c:v>
                </c:pt>
                <c:pt idx="7586">
                  <c:v>9438.6748429353884</c:v>
                </c:pt>
                <c:pt idx="7587">
                  <c:v>9390.9904977431506</c:v>
                </c:pt>
                <c:pt idx="7588">
                  <c:v>9427.7648875929517</c:v>
                </c:pt>
                <c:pt idx="7589">
                  <c:v>9520.2669211080738</c:v>
                </c:pt>
                <c:pt idx="7590">
                  <c:v>9811.1614742898309</c:v>
                </c:pt>
                <c:pt idx="7591">
                  <c:v>10085.808340339068</c:v>
                </c:pt>
                <c:pt idx="7592">
                  <c:v>10190.624997782088</c:v>
                </c:pt>
                <c:pt idx="7593">
                  <c:v>10385.543377522705</c:v>
                </c:pt>
                <c:pt idx="7594">
                  <c:v>10605.069149807425</c:v>
                </c:pt>
                <c:pt idx="7595">
                  <c:v>10682.191694428306</c:v>
                </c:pt>
                <c:pt idx="7596">
                  <c:v>10653.397868738994</c:v>
                </c:pt>
                <c:pt idx="7597">
                  <c:v>10565.875190512155</c:v>
                </c:pt>
                <c:pt idx="7598">
                  <c:v>10597.680551025032</c:v>
                </c:pt>
                <c:pt idx="7599">
                  <c:v>10777.45623590276</c:v>
                </c:pt>
                <c:pt idx="7600">
                  <c:v>11183.266717565355</c:v>
                </c:pt>
                <c:pt idx="7601">
                  <c:v>11372.705438529121</c:v>
                </c:pt>
                <c:pt idx="7602">
                  <c:v>11461.08375571121</c:v>
                </c:pt>
                <c:pt idx="7603">
                  <c:v>11329.679579384061</c:v>
                </c:pt>
                <c:pt idx="7604">
                  <c:v>10993.090976911446</c:v>
                </c:pt>
                <c:pt idx="7605">
                  <c:v>10516.534450354202</c:v>
                </c:pt>
                <c:pt idx="7606">
                  <c:v>10679.274716385076</c:v>
                </c:pt>
                <c:pt idx="7607">
                  <c:v>10425.258057418598</c:v>
                </c:pt>
                <c:pt idx="7608">
                  <c:v>10031.127203761107</c:v>
                </c:pt>
                <c:pt idx="7609">
                  <c:v>9689.8298311289236</c:v>
                </c:pt>
                <c:pt idx="7610">
                  <c:v>9496.817608001189</c:v>
                </c:pt>
                <c:pt idx="7611">
                  <c:v>9427.2851819692005</c:v>
                </c:pt>
                <c:pt idx="7612">
                  <c:v>9398.1430068878744</c:v>
                </c:pt>
                <c:pt idx="7613">
                  <c:v>9527.3099551356445</c:v>
                </c:pt>
                <c:pt idx="7614">
                  <c:v>9733.8002284203612</c:v>
                </c:pt>
                <c:pt idx="7615">
                  <c:v>9865.5828842462997</c:v>
                </c:pt>
                <c:pt idx="7616">
                  <c:v>10049.671434383359</c:v>
                </c:pt>
                <c:pt idx="7617">
                  <c:v>10303.948915843197</c:v>
                </c:pt>
                <c:pt idx="7618">
                  <c:v>10497.815155415121</c:v>
                </c:pt>
                <c:pt idx="7619">
                  <c:v>10512.232927623143</c:v>
                </c:pt>
                <c:pt idx="7620">
                  <c:v>10476.096001323278</c:v>
                </c:pt>
                <c:pt idx="7621">
                  <c:v>10397.921527427188</c:v>
                </c:pt>
                <c:pt idx="7622">
                  <c:v>10382.902264814624</c:v>
                </c:pt>
                <c:pt idx="7623">
                  <c:v>10450.311775593131</c:v>
                </c:pt>
                <c:pt idx="7624">
                  <c:v>10771.414052379314</c:v>
                </c:pt>
                <c:pt idx="7625">
                  <c:v>11025.716652959914</c:v>
                </c:pt>
                <c:pt idx="7626">
                  <c:v>11045.85537988252</c:v>
                </c:pt>
                <c:pt idx="7627">
                  <c:v>11053.130810625011</c:v>
                </c:pt>
                <c:pt idx="7628">
                  <c:v>10922.746091936326</c:v>
                </c:pt>
                <c:pt idx="7629">
                  <c:v>10558.157269985069</c:v>
                </c:pt>
                <c:pt idx="7630">
                  <c:v>10775.312808867187</c:v>
                </c:pt>
                <c:pt idx="7631">
                  <c:v>10737.981940432068</c:v>
                </c:pt>
                <c:pt idx="7632">
                  <c:v>10460.813904636012</c:v>
                </c:pt>
                <c:pt idx="7633">
                  <c:v>10185.224803616977</c:v>
                </c:pt>
                <c:pt idx="7634">
                  <c:v>10020.990456988598</c:v>
                </c:pt>
                <c:pt idx="7635">
                  <c:v>10036.972341872466</c:v>
                </c:pt>
                <c:pt idx="7636">
                  <c:v>10125.802056343025</c:v>
                </c:pt>
                <c:pt idx="7637">
                  <c:v>10486.078275377098</c:v>
                </c:pt>
                <c:pt idx="7638">
                  <c:v>11313.109005593269</c:v>
                </c:pt>
                <c:pt idx="7639">
                  <c:v>11910.168265395652</c:v>
                </c:pt>
                <c:pt idx="7640">
                  <c:v>12038.006949289789</c:v>
                </c:pt>
                <c:pt idx="7641">
                  <c:v>12012.47767562288</c:v>
                </c:pt>
                <c:pt idx="7642">
                  <c:v>11949.998847465125</c:v>
                </c:pt>
                <c:pt idx="7643">
                  <c:v>11933.788823176212</c:v>
                </c:pt>
                <c:pt idx="7644">
                  <c:v>11838.184888305666</c:v>
                </c:pt>
                <c:pt idx="7645">
                  <c:v>11679.971996759567</c:v>
                </c:pt>
                <c:pt idx="7646">
                  <c:v>11573.156642946644</c:v>
                </c:pt>
                <c:pt idx="7647">
                  <c:v>11644.182617623244</c:v>
                </c:pt>
                <c:pt idx="7648">
                  <c:v>11744.05655632508</c:v>
                </c:pt>
                <c:pt idx="7649">
                  <c:v>11688.852616249185</c:v>
                </c:pt>
                <c:pt idx="7650">
                  <c:v>11582.770169504907</c:v>
                </c:pt>
                <c:pt idx="7651">
                  <c:v>11554.819281249615</c:v>
                </c:pt>
                <c:pt idx="7652">
                  <c:v>11249.896114459572</c:v>
                </c:pt>
                <c:pt idx="7653">
                  <c:v>10743.817857915605</c:v>
                </c:pt>
                <c:pt idx="7654">
                  <c:v>10879.784439577961</c:v>
                </c:pt>
                <c:pt idx="7655">
                  <c:v>10491.896186142947</c:v>
                </c:pt>
                <c:pt idx="7656">
                  <c:v>9907.3514600421495</c:v>
                </c:pt>
                <c:pt idx="7657">
                  <c:v>9573.015779805437</c:v>
                </c:pt>
                <c:pt idx="7658">
                  <c:v>9389.1461265220569</c:v>
                </c:pt>
                <c:pt idx="7659">
                  <c:v>9289.1392443145032</c:v>
                </c:pt>
                <c:pt idx="7660">
                  <c:v>9347.5218128086708</c:v>
                </c:pt>
                <c:pt idx="7661">
                  <c:v>9625.3696942975057</c:v>
                </c:pt>
                <c:pt idx="7662">
                  <c:v>10432.484239238376</c:v>
                </c:pt>
                <c:pt idx="7663">
                  <c:v>10868.288408818253</c:v>
                </c:pt>
                <c:pt idx="7664">
                  <c:v>10915.289626971535</c:v>
                </c:pt>
                <c:pt idx="7665">
                  <c:v>10921.982110718205</c:v>
                </c:pt>
                <c:pt idx="7666">
                  <c:v>10937.262930317738</c:v>
                </c:pt>
                <c:pt idx="7667">
                  <c:v>10903.551712272305</c:v>
                </c:pt>
                <c:pt idx="7668">
                  <c:v>10896.221559061762</c:v>
                </c:pt>
                <c:pt idx="7669">
                  <c:v>10824.895046950009</c:v>
                </c:pt>
                <c:pt idx="7670">
                  <c:v>10837.158653968776</c:v>
                </c:pt>
                <c:pt idx="7671">
                  <c:v>10950.084081796329</c:v>
                </c:pt>
                <c:pt idx="7672">
                  <c:v>11226.195052798743</c:v>
                </c:pt>
                <c:pt idx="7673">
                  <c:v>11231.472125409106</c:v>
                </c:pt>
                <c:pt idx="7674">
                  <c:v>11185.211188575502</c:v>
                </c:pt>
                <c:pt idx="7675">
                  <c:v>11069.708169867945</c:v>
                </c:pt>
                <c:pt idx="7676">
                  <c:v>10918.374441043219</c:v>
                </c:pt>
                <c:pt idx="7677">
                  <c:v>10476.028036768481</c:v>
                </c:pt>
                <c:pt idx="7678">
                  <c:v>10496.198055898125</c:v>
                </c:pt>
                <c:pt idx="7679">
                  <c:v>10200.902481998304</c:v>
                </c:pt>
                <c:pt idx="7680">
                  <c:v>9703.1166164608967</c:v>
                </c:pt>
                <c:pt idx="7681">
                  <c:v>9370.3492484744256</c:v>
                </c:pt>
                <c:pt idx="7682">
                  <c:v>9174.8793170693207</c:v>
                </c:pt>
                <c:pt idx="7683">
                  <c:v>9052.9888243074492</c:v>
                </c:pt>
                <c:pt idx="7684">
                  <c:v>9112.0260986935136</c:v>
                </c:pt>
                <c:pt idx="7685">
                  <c:v>9349.2347222484041</c:v>
                </c:pt>
                <c:pt idx="7686">
                  <c:v>10158.82926551036</c:v>
                </c:pt>
                <c:pt idx="7687">
                  <c:v>10706.472652844483</c:v>
                </c:pt>
                <c:pt idx="7688">
                  <c:v>10892.368836691279</c:v>
                </c:pt>
                <c:pt idx="7689">
                  <c:v>10865.138619251367</c:v>
                </c:pt>
                <c:pt idx="7690">
                  <c:v>10824.992701604182</c:v>
                </c:pt>
                <c:pt idx="7691">
                  <c:v>10836.620687388771</c:v>
                </c:pt>
                <c:pt idx="7692">
                  <c:v>10870.997934364668</c:v>
                </c:pt>
                <c:pt idx="7693">
                  <c:v>10803.874702518631</c:v>
                </c:pt>
                <c:pt idx="7694">
                  <c:v>10757.925987995095</c:v>
                </c:pt>
                <c:pt idx="7695">
                  <c:v>10931.814966436439</c:v>
                </c:pt>
                <c:pt idx="7696">
                  <c:v>11176.509828227321</c:v>
                </c:pt>
                <c:pt idx="7697">
                  <c:v>11268.591238357272</c:v>
                </c:pt>
                <c:pt idx="7698">
                  <c:v>11268.868583682224</c:v>
                </c:pt>
                <c:pt idx="7699">
                  <c:v>11306.830826457368</c:v>
                </c:pt>
                <c:pt idx="7700">
                  <c:v>11034.88440002515</c:v>
                </c:pt>
                <c:pt idx="7701">
                  <c:v>10479.40646069799</c:v>
                </c:pt>
                <c:pt idx="7702">
                  <c:v>10400.965632641441</c:v>
                </c:pt>
                <c:pt idx="7703">
                  <c:v>10130.735058288437</c:v>
                </c:pt>
                <c:pt idx="7704">
                  <c:v>9640.529507606796</c:v>
                </c:pt>
                <c:pt idx="7705">
                  <c:v>9293.2424512361667</c:v>
                </c:pt>
                <c:pt idx="7706">
                  <c:v>9058.0601160108345</c:v>
                </c:pt>
                <c:pt idx="7707">
                  <c:v>8956.5913787643822</c:v>
                </c:pt>
                <c:pt idx="7708">
                  <c:v>9037.1550295051566</c:v>
                </c:pt>
                <c:pt idx="7709">
                  <c:v>9265.3324057582049</c:v>
                </c:pt>
                <c:pt idx="7710">
                  <c:v>10081.930998906211</c:v>
                </c:pt>
                <c:pt idx="7711">
                  <c:v>10583.66013823247</c:v>
                </c:pt>
                <c:pt idx="7712">
                  <c:v>10730.397237521296</c:v>
                </c:pt>
                <c:pt idx="7713">
                  <c:v>10665.809786358759</c:v>
                </c:pt>
                <c:pt idx="7714">
                  <c:v>10633.64739549271</c:v>
                </c:pt>
                <c:pt idx="7715">
                  <c:v>10647.500145143333</c:v>
                </c:pt>
                <c:pt idx="7716">
                  <c:v>10651.442776085983</c:v>
                </c:pt>
                <c:pt idx="7717">
                  <c:v>10534.52358042553</c:v>
                </c:pt>
                <c:pt idx="7718">
                  <c:v>10610.674167274512</c:v>
                </c:pt>
                <c:pt idx="7719">
                  <c:v>10809.482957659937</c:v>
                </c:pt>
                <c:pt idx="7720">
                  <c:v>11092.683779290066</c:v>
                </c:pt>
                <c:pt idx="7721">
                  <c:v>11185.809255320914</c:v>
                </c:pt>
                <c:pt idx="7722">
                  <c:v>11185.445720371581</c:v>
                </c:pt>
                <c:pt idx="7723">
                  <c:v>11108.447367059875</c:v>
                </c:pt>
                <c:pt idx="7724">
                  <c:v>10964.383430955078</c:v>
                </c:pt>
                <c:pt idx="7725">
                  <c:v>10685.433938004793</c:v>
                </c:pt>
                <c:pt idx="7726">
                  <c:v>10671.63451631827</c:v>
                </c:pt>
                <c:pt idx="7727">
                  <c:v>10444.623506538319</c:v>
                </c:pt>
                <c:pt idx="7728">
                  <c:v>10039.444765223279</c:v>
                </c:pt>
                <c:pt idx="7729">
                  <c:v>9617.6031173671108</c:v>
                </c:pt>
                <c:pt idx="7730">
                  <c:v>9529.3896054726392</c:v>
                </c:pt>
                <c:pt idx="7731">
                  <c:v>9463.4029787857689</c:v>
                </c:pt>
                <c:pt idx="7732">
                  <c:v>9544.7822950360023</c:v>
                </c:pt>
                <c:pt idx="7733">
                  <c:v>9830.806910337129</c:v>
                </c:pt>
                <c:pt idx="7734">
                  <c:v>10655.382345475789</c:v>
                </c:pt>
                <c:pt idx="7735">
                  <c:v>11142.206988849268</c:v>
                </c:pt>
                <c:pt idx="7736">
                  <c:v>11407.467361118237</c:v>
                </c:pt>
                <c:pt idx="7737">
                  <c:v>11381.591064479016</c:v>
                </c:pt>
                <c:pt idx="7738">
                  <c:v>11361.416314063037</c:v>
                </c:pt>
                <c:pt idx="7739">
                  <c:v>11361.632678832233</c:v>
                </c:pt>
                <c:pt idx="7740">
                  <c:v>11262.854540032169</c:v>
                </c:pt>
                <c:pt idx="7741">
                  <c:v>11138.10472255381</c:v>
                </c:pt>
                <c:pt idx="7742">
                  <c:v>11018.392483616737</c:v>
                </c:pt>
                <c:pt idx="7743">
                  <c:v>11152.890054389631</c:v>
                </c:pt>
                <c:pt idx="7744">
                  <c:v>11420.348138359905</c:v>
                </c:pt>
                <c:pt idx="7745">
                  <c:v>11340.748417617873</c:v>
                </c:pt>
                <c:pt idx="7746">
                  <c:v>11361.68669265851</c:v>
                </c:pt>
                <c:pt idx="7747">
                  <c:v>11319.952770550744</c:v>
                </c:pt>
                <c:pt idx="7748">
                  <c:v>11005.583594602158</c:v>
                </c:pt>
                <c:pt idx="7749">
                  <c:v>10548.004925992982</c:v>
                </c:pt>
                <c:pt idx="7750">
                  <c:v>10585.941210534475</c:v>
                </c:pt>
                <c:pt idx="7751">
                  <c:v>10316.464870853382</c:v>
                </c:pt>
                <c:pt idx="7752">
                  <c:v>9884.4842020550677</c:v>
                </c:pt>
                <c:pt idx="7753">
                  <c:v>9526.2462852050448</c:v>
                </c:pt>
                <c:pt idx="7754">
                  <c:v>9333.9871647150685</c:v>
                </c:pt>
                <c:pt idx="7755">
                  <c:v>9218.2280593021369</c:v>
                </c:pt>
                <c:pt idx="7756">
                  <c:v>9291.1357936657496</c:v>
                </c:pt>
                <c:pt idx="7757">
                  <c:v>9453.5397799173988</c:v>
                </c:pt>
                <c:pt idx="7758">
                  <c:v>9721.1862800135859</c:v>
                </c:pt>
                <c:pt idx="7759">
                  <c:v>9905.2542595156337</c:v>
                </c:pt>
                <c:pt idx="7760">
                  <c:v>10080.358706335908</c:v>
                </c:pt>
                <c:pt idx="7761">
                  <c:v>10173.580616981097</c:v>
                </c:pt>
                <c:pt idx="7762">
                  <c:v>10357.74859566578</c:v>
                </c:pt>
                <c:pt idx="7763">
                  <c:v>10442.911676192816</c:v>
                </c:pt>
                <c:pt idx="7764">
                  <c:v>10497.239215637383</c:v>
                </c:pt>
                <c:pt idx="7765">
                  <c:v>10472.079192864609</c:v>
                </c:pt>
                <c:pt idx="7766">
                  <c:v>10450.97800431858</c:v>
                </c:pt>
                <c:pt idx="7767">
                  <c:v>10750.061217211793</c:v>
                </c:pt>
                <c:pt idx="7768">
                  <c:v>11116.253466749142</c:v>
                </c:pt>
                <c:pt idx="7769">
                  <c:v>11273.875195440205</c:v>
                </c:pt>
                <c:pt idx="7770">
                  <c:v>11295.914144797251</c:v>
                </c:pt>
                <c:pt idx="7771">
                  <c:v>11177.586823197893</c:v>
                </c:pt>
                <c:pt idx="7772">
                  <c:v>10811.942554613319</c:v>
                </c:pt>
                <c:pt idx="7773">
                  <c:v>10387.26085178338</c:v>
                </c:pt>
                <c:pt idx="7774">
                  <c:v>10518.504209732799</c:v>
                </c:pt>
                <c:pt idx="7775">
                  <c:v>10269.574642631886</c:v>
                </c:pt>
                <c:pt idx="7776">
                  <c:v>9892.6059593129175</c:v>
                </c:pt>
                <c:pt idx="7777">
                  <c:v>9637.995015141134</c:v>
                </c:pt>
                <c:pt idx="7778">
                  <c:v>9436.6672798965628</c:v>
                </c:pt>
                <c:pt idx="7779">
                  <c:v>9343.3905350203768</c:v>
                </c:pt>
                <c:pt idx="7780">
                  <c:v>9370.3457156488876</c:v>
                </c:pt>
                <c:pt idx="7781">
                  <c:v>9457.52815987555</c:v>
                </c:pt>
                <c:pt idx="7782">
                  <c:v>9666.1034689908738</c:v>
                </c:pt>
                <c:pt idx="7783">
                  <c:v>9748.6952580095331</c:v>
                </c:pt>
                <c:pt idx="7784">
                  <c:v>9898.7082384494533</c:v>
                </c:pt>
                <c:pt idx="7785">
                  <c:v>10117.806800125269</c:v>
                </c:pt>
                <c:pt idx="7786">
                  <c:v>10382.826528412157</c:v>
                </c:pt>
                <c:pt idx="7787">
                  <c:v>10438.797263958386</c:v>
                </c:pt>
                <c:pt idx="7788">
                  <c:v>10558.949343685472</c:v>
                </c:pt>
                <c:pt idx="7789">
                  <c:v>10529.194676963793</c:v>
                </c:pt>
                <c:pt idx="7790">
                  <c:v>10573.961243735683</c:v>
                </c:pt>
                <c:pt idx="7791">
                  <c:v>10754.442699440538</c:v>
                </c:pt>
                <c:pt idx="7792">
                  <c:v>11088.64308281684</c:v>
                </c:pt>
                <c:pt idx="7793">
                  <c:v>11250.580988116513</c:v>
                </c:pt>
                <c:pt idx="7794">
                  <c:v>11307.080017544697</c:v>
                </c:pt>
                <c:pt idx="7795">
                  <c:v>11382.004722421621</c:v>
                </c:pt>
                <c:pt idx="7796">
                  <c:v>11137.326873001492</c:v>
                </c:pt>
                <c:pt idx="7797">
                  <c:v>10741.784967065016</c:v>
                </c:pt>
                <c:pt idx="7798">
                  <c:v>10983.167432650262</c:v>
                </c:pt>
                <c:pt idx="7799">
                  <c:v>10914.046715676268</c:v>
                </c:pt>
                <c:pt idx="7800">
                  <c:v>10627.931251090502</c:v>
                </c:pt>
                <c:pt idx="7801">
                  <c:v>10348.562258041753</c:v>
                </c:pt>
                <c:pt idx="7802">
                  <c:v>10177.938058158261</c:v>
                </c:pt>
                <c:pt idx="7803">
                  <c:v>10112.432916418</c:v>
                </c:pt>
                <c:pt idx="7804">
                  <c:v>10258.846933673709</c:v>
                </c:pt>
                <c:pt idx="7805">
                  <c:v>10657.616226465278</c:v>
                </c:pt>
                <c:pt idx="7806">
                  <c:v>11461.340269993048</c:v>
                </c:pt>
                <c:pt idx="7807">
                  <c:v>11971.937698968675</c:v>
                </c:pt>
                <c:pt idx="7808">
                  <c:v>12053.718019582579</c:v>
                </c:pt>
                <c:pt idx="7809">
                  <c:v>12086.729195705993</c:v>
                </c:pt>
                <c:pt idx="7810">
                  <c:v>12093.86266094118</c:v>
                </c:pt>
                <c:pt idx="7811">
                  <c:v>12060.227041991811</c:v>
                </c:pt>
                <c:pt idx="7812">
                  <c:v>11993.454261315723</c:v>
                </c:pt>
                <c:pt idx="7813">
                  <c:v>11949.523025923607</c:v>
                </c:pt>
                <c:pt idx="7814">
                  <c:v>11896.616240571962</c:v>
                </c:pt>
                <c:pt idx="7815">
                  <c:v>12042.131162807451</c:v>
                </c:pt>
                <c:pt idx="7816">
                  <c:v>12263.29085290938</c:v>
                </c:pt>
                <c:pt idx="7817">
                  <c:v>12333.518792699111</c:v>
                </c:pt>
                <c:pt idx="7818">
                  <c:v>12268.423210458262</c:v>
                </c:pt>
                <c:pt idx="7819">
                  <c:v>12233.643795202059</c:v>
                </c:pt>
                <c:pt idx="7820">
                  <c:v>11962.323769308823</c:v>
                </c:pt>
                <c:pt idx="7821">
                  <c:v>11517.067608766465</c:v>
                </c:pt>
                <c:pt idx="7822">
                  <c:v>11540.801870456802</c:v>
                </c:pt>
                <c:pt idx="7823">
                  <c:v>11243.666155561699</c:v>
                </c:pt>
                <c:pt idx="7824">
                  <c:v>10793.901440103298</c:v>
                </c:pt>
                <c:pt idx="7825">
                  <c:v>10482.160025354058</c:v>
                </c:pt>
                <c:pt idx="7826">
                  <c:v>10339.082548419277</c:v>
                </c:pt>
                <c:pt idx="7827">
                  <c:v>10195.62688882462</c:v>
                </c:pt>
                <c:pt idx="7828">
                  <c:v>10302.750863576857</c:v>
                </c:pt>
                <c:pt idx="7829">
                  <c:v>10641.153893871135</c:v>
                </c:pt>
                <c:pt idx="7830">
                  <c:v>11499.217747592347</c:v>
                </c:pt>
                <c:pt idx="7831">
                  <c:v>11981.785324304819</c:v>
                </c:pt>
                <c:pt idx="7832">
                  <c:v>12009.28519835051</c:v>
                </c:pt>
                <c:pt idx="7833">
                  <c:v>11905.206808656209</c:v>
                </c:pt>
                <c:pt idx="7834">
                  <c:v>11959.733062186526</c:v>
                </c:pt>
                <c:pt idx="7835">
                  <c:v>11970.877033413721</c:v>
                </c:pt>
                <c:pt idx="7836">
                  <c:v>11991.030126189911</c:v>
                </c:pt>
                <c:pt idx="7837">
                  <c:v>11957.033739203507</c:v>
                </c:pt>
                <c:pt idx="7838">
                  <c:v>11998.095365940288</c:v>
                </c:pt>
                <c:pt idx="7839">
                  <c:v>12166.847405605142</c:v>
                </c:pt>
                <c:pt idx="7840">
                  <c:v>12344.024855529196</c:v>
                </c:pt>
                <c:pt idx="7841">
                  <c:v>12300.883278998332</c:v>
                </c:pt>
                <c:pt idx="7842">
                  <c:v>12136.666007599266</c:v>
                </c:pt>
                <c:pt idx="7843">
                  <c:v>12253.259922201298</c:v>
                </c:pt>
                <c:pt idx="7844">
                  <c:v>12011.424032432817</c:v>
                </c:pt>
                <c:pt idx="7845">
                  <c:v>11444.074625801024</c:v>
                </c:pt>
                <c:pt idx="7846">
                  <c:v>11456.809199392905</c:v>
                </c:pt>
                <c:pt idx="7847">
                  <c:v>11168.007368082857</c:v>
                </c:pt>
                <c:pt idx="7848">
                  <c:v>10670.595333747535</c:v>
                </c:pt>
                <c:pt idx="7849">
                  <c:v>10251.283993752395</c:v>
                </c:pt>
                <c:pt idx="7850">
                  <c:v>9918.4618706849433</c:v>
                </c:pt>
                <c:pt idx="7851">
                  <c:v>9863.4166603300619</c:v>
                </c:pt>
                <c:pt idx="7852">
                  <c:v>9856.8908984921582</c:v>
                </c:pt>
                <c:pt idx="7853">
                  <c:v>10083.34929990067</c:v>
                </c:pt>
                <c:pt idx="7854">
                  <c:v>10887.609802790099</c:v>
                </c:pt>
                <c:pt idx="7855">
                  <c:v>11339.94697606931</c:v>
                </c:pt>
                <c:pt idx="7856">
                  <c:v>11518.079704892774</c:v>
                </c:pt>
                <c:pt idx="7857">
                  <c:v>11439.749026943786</c:v>
                </c:pt>
                <c:pt idx="7858">
                  <c:v>11455.019894203579</c:v>
                </c:pt>
                <c:pt idx="7859">
                  <c:v>11505.494827185787</c:v>
                </c:pt>
                <c:pt idx="7860">
                  <c:v>11448.33917854116</c:v>
                </c:pt>
                <c:pt idx="7861">
                  <c:v>11384.995173921949</c:v>
                </c:pt>
                <c:pt idx="7862">
                  <c:v>11393.345957220799</c:v>
                </c:pt>
                <c:pt idx="7863">
                  <c:v>11551.977620280211</c:v>
                </c:pt>
                <c:pt idx="7864">
                  <c:v>11725.536245548999</c:v>
                </c:pt>
                <c:pt idx="7865">
                  <c:v>11888.4430797818</c:v>
                </c:pt>
                <c:pt idx="7866">
                  <c:v>11886.130025151131</c:v>
                </c:pt>
                <c:pt idx="7867">
                  <c:v>11896.179548315427</c:v>
                </c:pt>
                <c:pt idx="7868">
                  <c:v>11587.007046418368</c:v>
                </c:pt>
                <c:pt idx="7869">
                  <c:v>11153.391016926131</c:v>
                </c:pt>
                <c:pt idx="7870">
                  <c:v>11262.753847946946</c:v>
                </c:pt>
                <c:pt idx="7871">
                  <c:v>10994.024473359083</c:v>
                </c:pt>
                <c:pt idx="7872">
                  <c:v>10560.999083135628</c:v>
                </c:pt>
                <c:pt idx="7873">
                  <c:v>10242.917117147306</c:v>
                </c:pt>
                <c:pt idx="7874">
                  <c:v>10048.509654376596</c:v>
                </c:pt>
                <c:pt idx="7875">
                  <c:v>9962.7700683428047</c:v>
                </c:pt>
                <c:pt idx="7876">
                  <c:v>10037.933789707999</c:v>
                </c:pt>
                <c:pt idx="7877">
                  <c:v>10393.539052214728</c:v>
                </c:pt>
                <c:pt idx="7878">
                  <c:v>11216.86541161543</c:v>
                </c:pt>
                <c:pt idx="7879">
                  <c:v>11640.857571568911</c:v>
                </c:pt>
                <c:pt idx="7880">
                  <c:v>11871.796841046707</c:v>
                </c:pt>
                <c:pt idx="7881">
                  <c:v>11709.191776834385</c:v>
                </c:pt>
                <c:pt idx="7882">
                  <c:v>11655.035223575604</c:v>
                </c:pt>
                <c:pt idx="7883">
                  <c:v>11630.438343109508</c:v>
                </c:pt>
                <c:pt idx="7884">
                  <c:v>11616.051668662567</c:v>
                </c:pt>
                <c:pt idx="7885">
                  <c:v>11499.18998606565</c:v>
                </c:pt>
                <c:pt idx="7886">
                  <c:v>11553.296232330506</c:v>
                </c:pt>
                <c:pt idx="7887">
                  <c:v>11711.757728736611</c:v>
                </c:pt>
                <c:pt idx="7888">
                  <c:v>11887.656303930897</c:v>
                </c:pt>
                <c:pt idx="7889">
                  <c:v>11877.762389780557</c:v>
                </c:pt>
                <c:pt idx="7890">
                  <c:v>11797.033083011316</c:v>
                </c:pt>
                <c:pt idx="7891">
                  <c:v>11812.595346800645</c:v>
                </c:pt>
                <c:pt idx="7892">
                  <c:v>11596.430748910279</c:v>
                </c:pt>
                <c:pt idx="7893">
                  <c:v>11149.765531297315</c:v>
                </c:pt>
                <c:pt idx="7894">
                  <c:v>11221.298436105752</c:v>
                </c:pt>
                <c:pt idx="7895">
                  <c:v>10972.674038114164</c:v>
                </c:pt>
                <c:pt idx="7896">
                  <c:v>10522.735769859049</c:v>
                </c:pt>
                <c:pt idx="7897">
                  <c:v>10224.901007546368</c:v>
                </c:pt>
                <c:pt idx="7898">
                  <c:v>10095.89743265477</c:v>
                </c:pt>
                <c:pt idx="7899">
                  <c:v>10047.597301728971</c:v>
                </c:pt>
                <c:pt idx="7900">
                  <c:v>10188.317939200977</c:v>
                </c:pt>
                <c:pt idx="7901">
                  <c:v>10598.74064588498</c:v>
                </c:pt>
                <c:pt idx="7902">
                  <c:v>11443.5930514274</c:v>
                </c:pt>
                <c:pt idx="7903">
                  <c:v>11893.435243768454</c:v>
                </c:pt>
                <c:pt idx="7904">
                  <c:v>12043.41767496847</c:v>
                </c:pt>
                <c:pt idx="7905">
                  <c:v>11881.273753760855</c:v>
                </c:pt>
                <c:pt idx="7906">
                  <c:v>12003.231364663447</c:v>
                </c:pt>
                <c:pt idx="7907">
                  <c:v>12049.224027686807</c:v>
                </c:pt>
                <c:pt idx="7908">
                  <c:v>12025.274797883209</c:v>
                </c:pt>
                <c:pt idx="7909">
                  <c:v>11890.067034469215</c:v>
                </c:pt>
                <c:pt idx="7910">
                  <c:v>11866.428800211968</c:v>
                </c:pt>
                <c:pt idx="7911">
                  <c:v>11963.473163978761</c:v>
                </c:pt>
                <c:pt idx="7912">
                  <c:v>12126.831570419425</c:v>
                </c:pt>
                <c:pt idx="7913">
                  <c:v>12158.858227536424</c:v>
                </c:pt>
                <c:pt idx="7914">
                  <c:v>12166.742969050223</c:v>
                </c:pt>
                <c:pt idx="7915">
                  <c:v>12343.32244319504</c:v>
                </c:pt>
                <c:pt idx="7916">
                  <c:v>12275.66250385694</c:v>
                </c:pt>
                <c:pt idx="7917">
                  <c:v>11860.917538378593</c:v>
                </c:pt>
                <c:pt idx="7918">
                  <c:v>11918.457679212861</c:v>
                </c:pt>
                <c:pt idx="7919">
                  <c:v>11739.403123187261</c:v>
                </c:pt>
                <c:pt idx="7920">
                  <c:v>11346.70536070136</c:v>
                </c:pt>
                <c:pt idx="7921">
                  <c:v>11041.736769061854</c:v>
                </c:pt>
                <c:pt idx="7922">
                  <c:v>10868.079023298054</c:v>
                </c:pt>
                <c:pt idx="7923">
                  <c:v>10815.372939551311</c:v>
                </c:pt>
                <c:pt idx="7924">
                  <c:v>10869.235567312198</c:v>
                </c:pt>
                <c:pt idx="7925">
                  <c:v>11013.062849968441</c:v>
                </c:pt>
                <c:pt idx="7926">
                  <c:v>11313.533554311711</c:v>
                </c:pt>
                <c:pt idx="7927">
                  <c:v>11503.511628297443</c:v>
                </c:pt>
                <c:pt idx="7928">
                  <c:v>11832.451031008055</c:v>
                </c:pt>
                <c:pt idx="7929">
                  <c:v>11884.564804736734</c:v>
                </c:pt>
                <c:pt idx="7930">
                  <c:v>12067.245686171245</c:v>
                </c:pt>
                <c:pt idx="7931">
                  <c:v>12126.251794133208</c:v>
                </c:pt>
                <c:pt idx="7932">
                  <c:v>12136.840876846365</c:v>
                </c:pt>
                <c:pt idx="7933">
                  <c:v>12098.21843470808</c:v>
                </c:pt>
                <c:pt idx="7934">
                  <c:v>12101.777579834357</c:v>
                </c:pt>
                <c:pt idx="7935">
                  <c:v>12415.611831536326</c:v>
                </c:pt>
                <c:pt idx="7936">
                  <c:v>12804.787282771584</c:v>
                </c:pt>
                <c:pt idx="7937">
                  <c:v>12953.993539603187</c:v>
                </c:pt>
                <c:pt idx="7938">
                  <c:v>12912.024522710208</c:v>
                </c:pt>
                <c:pt idx="7939">
                  <c:v>12844.513445330171</c:v>
                </c:pt>
                <c:pt idx="7940">
                  <c:v>12460.751410485409</c:v>
                </c:pt>
                <c:pt idx="7941">
                  <c:v>11950.771680708784</c:v>
                </c:pt>
                <c:pt idx="7942">
                  <c:v>12073.985620949099</c:v>
                </c:pt>
                <c:pt idx="7943">
                  <c:v>11982.114257496227</c:v>
                </c:pt>
                <c:pt idx="7944">
                  <c:v>11436.706056704616</c:v>
                </c:pt>
                <c:pt idx="7945">
                  <c:v>11098.574211907178</c:v>
                </c:pt>
                <c:pt idx="7946">
                  <c:v>10930.1458035629</c:v>
                </c:pt>
                <c:pt idx="7947">
                  <c:v>10840.551736683963</c:v>
                </c:pt>
                <c:pt idx="7948">
                  <c:v>10824.602685219406</c:v>
                </c:pt>
                <c:pt idx="7949">
                  <c:v>10924.341270909266</c:v>
                </c:pt>
                <c:pt idx="7950">
                  <c:v>11081.302144353547</c:v>
                </c:pt>
                <c:pt idx="7951">
                  <c:v>11184.640646855762</c:v>
                </c:pt>
                <c:pt idx="7952">
                  <c:v>11428.538930727838</c:v>
                </c:pt>
                <c:pt idx="7953">
                  <c:v>11573.614735478524</c:v>
                </c:pt>
                <c:pt idx="7954">
                  <c:v>11848.523938664077</c:v>
                </c:pt>
                <c:pt idx="7955">
                  <c:v>11955.268206145753</c:v>
                </c:pt>
                <c:pt idx="7956">
                  <c:v>11913.131527754009</c:v>
                </c:pt>
                <c:pt idx="7957">
                  <c:v>11919.7997922952</c:v>
                </c:pt>
                <c:pt idx="7958">
                  <c:v>11911.828116048497</c:v>
                </c:pt>
                <c:pt idx="7959">
                  <c:v>12129.287269165423</c:v>
                </c:pt>
                <c:pt idx="7960">
                  <c:v>12434.938722201339</c:v>
                </c:pt>
                <c:pt idx="7961">
                  <c:v>12430.596454217557</c:v>
                </c:pt>
                <c:pt idx="7962">
                  <c:v>12519.005684927952</c:v>
                </c:pt>
                <c:pt idx="7963">
                  <c:v>12500.001282992123</c:v>
                </c:pt>
                <c:pt idx="7964">
                  <c:v>12252.456046392235</c:v>
                </c:pt>
                <c:pt idx="7965">
                  <c:v>11782.79422753399</c:v>
                </c:pt>
                <c:pt idx="7966">
                  <c:v>12003.356295156584</c:v>
                </c:pt>
                <c:pt idx="7967">
                  <c:v>11903.253274211886</c:v>
                </c:pt>
                <c:pt idx="7968">
                  <c:v>11464.424180494034</c:v>
                </c:pt>
                <c:pt idx="7969">
                  <c:v>11167.662662033767</c:v>
                </c:pt>
                <c:pt idx="7970">
                  <c:v>11009.182384281607</c:v>
                </c:pt>
                <c:pt idx="7971">
                  <c:v>10998.321480649591</c:v>
                </c:pt>
                <c:pt idx="7972">
                  <c:v>11126.895142273635</c:v>
                </c:pt>
                <c:pt idx="7973">
                  <c:v>11506.604172287112</c:v>
                </c:pt>
                <c:pt idx="7974">
                  <c:v>12250.716243000694</c:v>
                </c:pt>
                <c:pt idx="7975">
                  <c:v>12681.832717293019</c:v>
                </c:pt>
                <c:pt idx="7976">
                  <c:v>12874.84052069318</c:v>
                </c:pt>
                <c:pt idx="7977">
                  <c:v>12831.352860553341</c:v>
                </c:pt>
                <c:pt idx="7978">
                  <c:v>12782.093295919807</c:v>
                </c:pt>
                <c:pt idx="7979">
                  <c:v>12789.96393818939</c:v>
                </c:pt>
                <c:pt idx="7980">
                  <c:v>12833.460351838567</c:v>
                </c:pt>
                <c:pt idx="7981">
                  <c:v>12784.001930552244</c:v>
                </c:pt>
                <c:pt idx="7982">
                  <c:v>12727.415748066216</c:v>
                </c:pt>
                <c:pt idx="7983">
                  <c:v>12914.64333389017</c:v>
                </c:pt>
                <c:pt idx="7984">
                  <c:v>12935.828770567334</c:v>
                </c:pt>
                <c:pt idx="7985">
                  <c:v>12833.679327062062</c:v>
                </c:pt>
                <c:pt idx="7986">
                  <c:v>12767.23775176733</c:v>
                </c:pt>
                <c:pt idx="7987">
                  <c:v>12750.562447441633</c:v>
                </c:pt>
                <c:pt idx="7988">
                  <c:v>12529.364592928294</c:v>
                </c:pt>
                <c:pt idx="7989">
                  <c:v>12163.002105758622</c:v>
                </c:pt>
                <c:pt idx="7990">
                  <c:v>12375.34817776152</c:v>
                </c:pt>
                <c:pt idx="7991">
                  <c:v>12138.534472097055</c:v>
                </c:pt>
                <c:pt idx="7992">
                  <c:v>12157.063897115055</c:v>
                </c:pt>
                <c:pt idx="7993">
                  <c:v>11919.656652809839</c:v>
                </c:pt>
                <c:pt idx="7994">
                  <c:v>11768.568108577154</c:v>
                </c:pt>
                <c:pt idx="7995">
                  <c:v>11719.247615052851</c:v>
                </c:pt>
                <c:pt idx="7996">
                  <c:v>11797.082559397053</c:v>
                </c:pt>
                <c:pt idx="7997">
                  <c:v>12234.228911745446</c:v>
                </c:pt>
                <c:pt idx="7998">
                  <c:v>13051.959592090861</c:v>
                </c:pt>
                <c:pt idx="7999">
                  <c:v>13356.302929604322</c:v>
                </c:pt>
                <c:pt idx="8000">
                  <c:v>13517.67602934043</c:v>
                </c:pt>
                <c:pt idx="8001">
                  <c:v>13465.420357048562</c:v>
                </c:pt>
                <c:pt idx="8002">
                  <c:v>13469.822599093834</c:v>
                </c:pt>
                <c:pt idx="8003">
                  <c:v>13493.331021052642</c:v>
                </c:pt>
                <c:pt idx="8004">
                  <c:v>13584.790319149877</c:v>
                </c:pt>
                <c:pt idx="8005">
                  <c:v>13439.074469920011</c:v>
                </c:pt>
                <c:pt idx="8006">
                  <c:v>13397.341602669047</c:v>
                </c:pt>
                <c:pt idx="8007">
                  <c:v>13593.252189965748</c:v>
                </c:pt>
                <c:pt idx="8008">
                  <c:v>13713.069408260237</c:v>
                </c:pt>
                <c:pt idx="8009">
                  <c:v>13731.396959971673</c:v>
                </c:pt>
                <c:pt idx="8010">
                  <c:v>13633.375118353819</c:v>
                </c:pt>
                <c:pt idx="8011">
                  <c:v>13685.14036106564</c:v>
                </c:pt>
                <c:pt idx="8012">
                  <c:v>13426.193502779402</c:v>
                </c:pt>
                <c:pt idx="8013">
                  <c:v>12902.833988604973</c:v>
                </c:pt>
                <c:pt idx="8014">
                  <c:v>12883.734637585823</c:v>
                </c:pt>
                <c:pt idx="8015">
                  <c:v>12567.682546630049</c:v>
                </c:pt>
                <c:pt idx="8016">
                  <c:v>12192.540071771713</c:v>
                </c:pt>
                <c:pt idx="8017">
                  <c:v>11917.226177203978</c:v>
                </c:pt>
                <c:pt idx="8018">
                  <c:v>11711.393189362909</c:v>
                </c:pt>
                <c:pt idx="8019">
                  <c:v>11619.42846714969</c:v>
                </c:pt>
                <c:pt idx="8020">
                  <c:v>11733.081854803733</c:v>
                </c:pt>
                <c:pt idx="8021">
                  <c:v>12081.040784539604</c:v>
                </c:pt>
                <c:pt idx="8022">
                  <c:v>12820.267437765751</c:v>
                </c:pt>
                <c:pt idx="8023">
                  <c:v>13282.183329265787</c:v>
                </c:pt>
                <c:pt idx="8024">
                  <c:v>13433.323663196825</c:v>
                </c:pt>
                <c:pt idx="8025">
                  <c:v>13274.34883235794</c:v>
                </c:pt>
                <c:pt idx="8026">
                  <c:v>13262.704147083952</c:v>
                </c:pt>
                <c:pt idx="8027">
                  <c:v>13231.329269720451</c:v>
                </c:pt>
                <c:pt idx="8028">
                  <c:v>13203.604824897475</c:v>
                </c:pt>
                <c:pt idx="8029">
                  <c:v>13142.201093264695</c:v>
                </c:pt>
                <c:pt idx="8030">
                  <c:v>13168.423996631156</c:v>
                </c:pt>
                <c:pt idx="8031">
                  <c:v>13261.977915030922</c:v>
                </c:pt>
                <c:pt idx="8032">
                  <c:v>13469.172885691343</c:v>
                </c:pt>
                <c:pt idx="8033">
                  <c:v>13517.442036964914</c:v>
                </c:pt>
                <c:pt idx="8034">
                  <c:v>13551.446553811853</c:v>
                </c:pt>
                <c:pt idx="8035">
                  <c:v>13598.285842726442</c:v>
                </c:pt>
                <c:pt idx="8036">
                  <c:v>13367.424143695564</c:v>
                </c:pt>
                <c:pt idx="8037">
                  <c:v>12894.404882444724</c:v>
                </c:pt>
                <c:pt idx="8038">
                  <c:v>12884.846672728359</c:v>
                </c:pt>
                <c:pt idx="8039">
                  <c:v>12543.540558145776</c:v>
                </c:pt>
                <c:pt idx="8040">
                  <c:v>12132.55112367481</c:v>
                </c:pt>
                <c:pt idx="8041">
                  <c:v>11888.758424794589</c:v>
                </c:pt>
                <c:pt idx="8042">
                  <c:v>11690.536400123598</c:v>
                </c:pt>
                <c:pt idx="8043">
                  <c:v>11633.751453954761</c:v>
                </c:pt>
                <c:pt idx="8044">
                  <c:v>11722.061486075621</c:v>
                </c:pt>
                <c:pt idx="8045">
                  <c:v>12057.460724458157</c:v>
                </c:pt>
                <c:pt idx="8046">
                  <c:v>12806.834133521073</c:v>
                </c:pt>
                <c:pt idx="8047">
                  <c:v>13289.575936493769</c:v>
                </c:pt>
                <c:pt idx="8048">
                  <c:v>13494.92786748592</c:v>
                </c:pt>
                <c:pt idx="8049">
                  <c:v>13410.019799234968</c:v>
                </c:pt>
                <c:pt idx="8050">
                  <c:v>13334.014003398412</c:v>
                </c:pt>
                <c:pt idx="8051">
                  <c:v>13265.690977376576</c:v>
                </c:pt>
                <c:pt idx="8052">
                  <c:v>13233.344052476306</c:v>
                </c:pt>
                <c:pt idx="8053">
                  <c:v>13204.007347680945</c:v>
                </c:pt>
                <c:pt idx="8054">
                  <c:v>13210.731854885127</c:v>
                </c:pt>
                <c:pt idx="8055">
                  <c:v>13389.289152865256</c:v>
                </c:pt>
                <c:pt idx="8056">
                  <c:v>13393.298129025137</c:v>
                </c:pt>
                <c:pt idx="8057">
                  <c:v>13372.039334967438</c:v>
                </c:pt>
                <c:pt idx="8058">
                  <c:v>13332.163632316495</c:v>
                </c:pt>
                <c:pt idx="8059">
                  <c:v>13354.65373393401</c:v>
                </c:pt>
                <c:pt idx="8060">
                  <c:v>13400.50956911986</c:v>
                </c:pt>
                <c:pt idx="8061">
                  <c:v>12986.333474691572</c:v>
                </c:pt>
                <c:pt idx="8062">
                  <c:v>13074.872827099798</c:v>
                </c:pt>
                <c:pt idx="8063">
                  <c:v>12836.804089421976</c:v>
                </c:pt>
                <c:pt idx="8064">
                  <c:v>12348.532699090963</c:v>
                </c:pt>
                <c:pt idx="8065">
                  <c:v>12031.327646157975</c:v>
                </c:pt>
                <c:pt idx="8066">
                  <c:v>11926.651195618033</c:v>
                </c:pt>
                <c:pt idx="8067">
                  <c:v>11936.750828721884</c:v>
                </c:pt>
                <c:pt idx="8068">
                  <c:v>12054.393198697664</c:v>
                </c:pt>
                <c:pt idx="8069">
                  <c:v>12379.468817742683</c:v>
                </c:pt>
                <c:pt idx="8070">
                  <c:v>13142.870466988827</c:v>
                </c:pt>
                <c:pt idx="8071">
                  <c:v>13628.326842680373</c:v>
                </c:pt>
                <c:pt idx="8072">
                  <c:v>13835.203968320353</c:v>
                </c:pt>
                <c:pt idx="8073">
                  <c:v>13656.041785628235</c:v>
                </c:pt>
                <c:pt idx="8074">
                  <c:v>13586.792939845964</c:v>
                </c:pt>
                <c:pt idx="8075">
                  <c:v>13538.14299028843</c:v>
                </c:pt>
                <c:pt idx="8076">
                  <c:v>13529.942463221591</c:v>
                </c:pt>
                <c:pt idx="8077">
                  <c:v>13445.107307457556</c:v>
                </c:pt>
                <c:pt idx="8078">
                  <c:v>13427.762571795289</c:v>
                </c:pt>
                <c:pt idx="8079">
                  <c:v>13597.724643148204</c:v>
                </c:pt>
                <c:pt idx="8080">
                  <c:v>13741.334704788376</c:v>
                </c:pt>
                <c:pt idx="8081">
                  <c:v>13690.77903625894</c:v>
                </c:pt>
                <c:pt idx="8082">
                  <c:v>13577.299408142129</c:v>
                </c:pt>
                <c:pt idx="8083">
                  <c:v>13515.221056551656</c:v>
                </c:pt>
                <c:pt idx="8084">
                  <c:v>13263.271441717236</c:v>
                </c:pt>
                <c:pt idx="8085">
                  <c:v>12760.50180353396</c:v>
                </c:pt>
                <c:pt idx="8086">
                  <c:v>12784.841216715859</c:v>
                </c:pt>
                <c:pt idx="8087">
                  <c:v>12520.597076075997</c:v>
                </c:pt>
                <c:pt idx="8088">
                  <c:v>12040.473992970377</c:v>
                </c:pt>
                <c:pt idx="8089">
                  <c:v>11678.301072961431</c:v>
                </c:pt>
                <c:pt idx="8090">
                  <c:v>11469.72242990278</c:v>
                </c:pt>
                <c:pt idx="8091">
                  <c:v>11391.666323694537</c:v>
                </c:pt>
                <c:pt idx="8092">
                  <c:v>11412.804362374292</c:v>
                </c:pt>
                <c:pt idx="8093">
                  <c:v>11574.120416466376</c:v>
                </c:pt>
                <c:pt idx="8094">
                  <c:v>11904.443737768153</c:v>
                </c:pt>
                <c:pt idx="8095">
                  <c:v>12094.977694211291</c:v>
                </c:pt>
                <c:pt idx="8096">
                  <c:v>12392.960341561751</c:v>
                </c:pt>
                <c:pt idx="8097">
                  <c:v>12560.188725897349</c:v>
                </c:pt>
                <c:pt idx="8098">
                  <c:v>12667.217638025628</c:v>
                </c:pt>
                <c:pt idx="8099">
                  <c:v>12761.102397545301</c:v>
                </c:pt>
                <c:pt idx="8100">
                  <c:v>12835.54018884564</c:v>
                </c:pt>
                <c:pt idx="8101">
                  <c:v>12777.521488928925</c:v>
                </c:pt>
                <c:pt idx="8102">
                  <c:v>12846.231056524879</c:v>
                </c:pt>
                <c:pt idx="8103">
                  <c:v>13212.458189660018</c:v>
                </c:pt>
                <c:pt idx="8104">
                  <c:v>13579.231532052643</c:v>
                </c:pt>
                <c:pt idx="8105">
                  <c:v>13775.900536581559</c:v>
                </c:pt>
                <c:pt idx="8106">
                  <c:v>13847.341192464544</c:v>
                </c:pt>
                <c:pt idx="8107">
                  <c:v>13769.494324545189</c:v>
                </c:pt>
                <c:pt idx="8108">
                  <c:v>13470.430594739333</c:v>
                </c:pt>
                <c:pt idx="8109">
                  <c:v>13073.541339163638</c:v>
                </c:pt>
                <c:pt idx="8110">
                  <c:v>13276.2294711003</c:v>
                </c:pt>
                <c:pt idx="8111">
                  <c:v>13024.143181351097</c:v>
                </c:pt>
                <c:pt idx="8112">
                  <c:v>12521.707603678838</c:v>
                </c:pt>
                <c:pt idx="8113">
                  <c:v>12279.789939232225</c:v>
                </c:pt>
                <c:pt idx="8114">
                  <c:v>12098.481382492617</c:v>
                </c:pt>
                <c:pt idx="8115">
                  <c:v>12038.245959066189</c:v>
                </c:pt>
                <c:pt idx="8116">
                  <c:v>12057.493297710373</c:v>
                </c:pt>
                <c:pt idx="8117">
                  <c:v>12300.547060266537</c:v>
                </c:pt>
                <c:pt idx="8118">
                  <c:v>12479.284686595693</c:v>
                </c:pt>
                <c:pt idx="8119">
                  <c:v>12507.272335489119</c:v>
                </c:pt>
                <c:pt idx="8120">
                  <c:v>12887.349100695423</c:v>
                </c:pt>
                <c:pt idx="8121">
                  <c:v>13016.914293856151</c:v>
                </c:pt>
                <c:pt idx="8122">
                  <c:v>13326.828286810984</c:v>
                </c:pt>
                <c:pt idx="8123">
                  <c:v>13443.021406476573</c:v>
                </c:pt>
                <c:pt idx="8124">
                  <c:v>13384.744348939104</c:v>
                </c:pt>
                <c:pt idx="8125">
                  <c:v>13333.072992158786</c:v>
                </c:pt>
                <c:pt idx="8126">
                  <c:v>13360.441075173809</c:v>
                </c:pt>
                <c:pt idx="8127">
                  <c:v>13557.422799859971</c:v>
                </c:pt>
                <c:pt idx="8128">
                  <c:v>13846.203460358542</c:v>
                </c:pt>
                <c:pt idx="8129">
                  <c:v>13887.255616343464</c:v>
                </c:pt>
                <c:pt idx="8130">
                  <c:v>13935.307330963882</c:v>
                </c:pt>
                <c:pt idx="8131">
                  <c:v>13839.78966364306</c:v>
                </c:pt>
                <c:pt idx="8132">
                  <c:v>13599.078749558657</c:v>
                </c:pt>
                <c:pt idx="8133">
                  <c:v>13257.228751816996</c:v>
                </c:pt>
                <c:pt idx="8134">
                  <c:v>13389.127832300839</c:v>
                </c:pt>
                <c:pt idx="8135">
                  <c:v>13321.797693519287</c:v>
                </c:pt>
                <c:pt idx="8136">
                  <c:v>13205.014255321665</c:v>
                </c:pt>
                <c:pt idx="8137">
                  <c:v>12872.225723158343</c:v>
                </c:pt>
                <c:pt idx="8138">
                  <c:v>12688.99742191623</c:v>
                </c:pt>
                <c:pt idx="8139">
                  <c:v>12626.98723824234</c:v>
                </c:pt>
                <c:pt idx="8140">
                  <c:v>12628.063002355741</c:v>
                </c:pt>
                <c:pt idx="8141">
                  <c:v>12766.958764243271</c:v>
                </c:pt>
                <c:pt idx="8142">
                  <c:v>12949.973712011508</c:v>
                </c:pt>
                <c:pt idx="8143">
                  <c:v>12886.585704629235</c:v>
                </c:pt>
                <c:pt idx="8144">
                  <c:v>12890.119162780898</c:v>
                </c:pt>
                <c:pt idx="8145">
                  <c:v>13036.568211506044</c:v>
                </c:pt>
                <c:pt idx="8146">
                  <c:v>13217.102354631659</c:v>
                </c:pt>
                <c:pt idx="8147">
                  <c:v>13319.718231211798</c:v>
                </c:pt>
                <c:pt idx="8148">
                  <c:v>13309.659812274831</c:v>
                </c:pt>
                <c:pt idx="8149">
                  <c:v>13275.069032696836</c:v>
                </c:pt>
                <c:pt idx="8150">
                  <c:v>13241.887163794388</c:v>
                </c:pt>
                <c:pt idx="8151">
                  <c:v>13440.752896204935</c:v>
                </c:pt>
                <c:pt idx="8152">
                  <c:v>13698.054502497474</c:v>
                </c:pt>
                <c:pt idx="8153">
                  <c:v>13745.628272915479</c:v>
                </c:pt>
                <c:pt idx="8154">
                  <c:v>13743.793564643845</c:v>
                </c:pt>
                <c:pt idx="8155">
                  <c:v>13664.580731236358</c:v>
                </c:pt>
                <c:pt idx="8156">
                  <c:v>13436.592993119906</c:v>
                </c:pt>
                <c:pt idx="8157">
                  <c:v>13121.10357459407</c:v>
                </c:pt>
                <c:pt idx="8158">
                  <c:v>13382.439627502568</c:v>
                </c:pt>
                <c:pt idx="8159">
                  <c:v>13266.313992865658</c:v>
                </c:pt>
                <c:pt idx="8160">
                  <c:v>12932.448703558906</c:v>
                </c:pt>
                <c:pt idx="8161">
                  <c:v>12691.678735321537</c:v>
                </c:pt>
                <c:pt idx="8162">
                  <c:v>12536.372955016168</c:v>
                </c:pt>
                <c:pt idx="8163">
                  <c:v>12511.743325753554</c:v>
                </c:pt>
                <c:pt idx="8164">
                  <c:v>12675.631823556729</c:v>
                </c:pt>
                <c:pt idx="8165">
                  <c:v>13042.19458314433</c:v>
                </c:pt>
                <c:pt idx="8166">
                  <c:v>13770.589173425535</c:v>
                </c:pt>
                <c:pt idx="8167">
                  <c:v>13935.194579133342</c:v>
                </c:pt>
                <c:pt idx="8168">
                  <c:v>14150.433464498996</c:v>
                </c:pt>
                <c:pt idx="8169">
                  <c:v>14060.375032273088</c:v>
                </c:pt>
                <c:pt idx="8170">
                  <c:v>14007.381104270265</c:v>
                </c:pt>
                <c:pt idx="8171">
                  <c:v>14035.182967092051</c:v>
                </c:pt>
                <c:pt idx="8172">
                  <c:v>13995.675193278745</c:v>
                </c:pt>
                <c:pt idx="8173">
                  <c:v>13913.364888704042</c:v>
                </c:pt>
                <c:pt idx="8174">
                  <c:v>13946.069144393197</c:v>
                </c:pt>
                <c:pt idx="8175">
                  <c:v>14194.356271357266</c:v>
                </c:pt>
                <c:pt idx="8176">
                  <c:v>14322.016369984691</c:v>
                </c:pt>
                <c:pt idx="8177">
                  <c:v>14321.750386423239</c:v>
                </c:pt>
                <c:pt idx="8178">
                  <c:v>14299.841255379506</c:v>
                </c:pt>
                <c:pt idx="8179">
                  <c:v>14237.737436211342</c:v>
                </c:pt>
                <c:pt idx="8180">
                  <c:v>14071.219773298481</c:v>
                </c:pt>
                <c:pt idx="8181">
                  <c:v>13765.520663661735</c:v>
                </c:pt>
                <c:pt idx="8182">
                  <c:v>13991.853934385956</c:v>
                </c:pt>
                <c:pt idx="8183">
                  <c:v>13787.366262366861</c:v>
                </c:pt>
                <c:pt idx="8184">
                  <c:v>13406.480364787882</c:v>
                </c:pt>
                <c:pt idx="8185">
                  <c:v>13004.740043418193</c:v>
                </c:pt>
                <c:pt idx="8186">
                  <c:v>12835.347343583056</c:v>
                </c:pt>
                <c:pt idx="8187">
                  <c:v>12829.622926103282</c:v>
                </c:pt>
                <c:pt idx="8188">
                  <c:v>12976.494983373712</c:v>
                </c:pt>
                <c:pt idx="8189">
                  <c:v>13275.297692880136</c:v>
                </c:pt>
                <c:pt idx="8190">
                  <c:v>14039.830221252043</c:v>
                </c:pt>
                <c:pt idx="8191">
                  <c:v>14299.045697496536</c:v>
                </c:pt>
                <c:pt idx="8192">
                  <c:v>14467.787725070075</c:v>
                </c:pt>
                <c:pt idx="8193">
                  <c:v>14425.954302655729</c:v>
                </c:pt>
                <c:pt idx="8194">
                  <c:v>14371.959942028909</c:v>
                </c:pt>
                <c:pt idx="8195">
                  <c:v>14386.750456926122</c:v>
                </c:pt>
                <c:pt idx="8196">
                  <c:v>14352.942294256804</c:v>
                </c:pt>
                <c:pt idx="8197">
                  <c:v>14288.808924997154</c:v>
                </c:pt>
                <c:pt idx="8198">
                  <c:v>14347.073984715622</c:v>
                </c:pt>
                <c:pt idx="8199">
                  <c:v>14457.460617549295</c:v>
                </c:pt>
                <c:pt idx="8200">
                  <c:v>14597.205251343672</c:v>
                </c:pt>
                <c:pt idx="8201">
                  <c:v>14629.896176688626</c:v>
                </c:pt>
                <c:pt idx="8202">
                  <c:v>14612.974346642746</c:v>
                </c:pt>
                <c:pt idx="8203">
                  <c:v>14597.25610630741</c:v>
                </c:pt>
                <c:pt idx="8204">
                  <c:v>14360.849010775335</c:v>
                </c:pt>
                <c:pt idx="8205">
                  <c:v>14021.896927490328</c:v>
                </c:pt>
                <c:pt idx="8206">
                  <c:v>13982.83074923928</c:v>
                </c:pt>
                <c:pt idx="8207">
                  <c:v>13831.21967144295</c:v>
                </c:pt>
                <c:pt idx="8208">
                  <c:v>13210.390590719026</c:v>
                </c:pt>
                <c:pt idx="8209">
                  <c:v>12894.129317311725</c:v>
                </c:pt>
                <c:pt idx="8210">
                  <c:v>12698.609302689149</c:v>
                </c:pt>
                <c:pt idx="8211">
                  <c:v>12597.055458829213</c:v>
                </c:pt>
                <c:pt idx="8212">
                  <c:v>12704.022115705393</c:v>
                </c:pt>
                <c:pt idx="8213">
                  <c:v>13033.474039920477</c:v>
                </c:pt>
                <c:pt idx="8214">
                  <c:v>13653.02507708035</c:v>
                </c:pt>
                <c:pt idx="8215">
                  <c:v>13845.458766400887</c:v>
                </c:pt>
                <c:pt idx="8216">
                  <c:v>14041.505711293587</c:v>
                </c:pt>
                <c:pt idx="8217">
                  <c:v>13993.597649630385</c:v>
                </c:pt>
                <c:pt idx="8218">
                  <c:v>13883.193438388626</c:v>
                </c:pt>
                <c:pt idx="8219">
                  <c:v>13780.650432471617</c:v>
                </c:pt>
                <c:pt idx="8220">
                  <c:v>13779.317723211383</c:v>
                </c:pt>
                <c:pt idx="8221">
                  <c:v>13632.079207669853</c:v>
                </c:pt>
                <c:pt idx="8222">
                  <c:v>13661.923341497581</c:v>
                </c:pt>
                <c:pt idx="8223">
                  <c:v>13859.842514450953</c:v>
                </c:pt>
                <c:pt idx="8224">
                  <c:v>13829.731002734763</c:v>
                </c:pt>
                <c:pt idx="8225">
                  <c:v>13735.896446879669</c:v>
                </c:pt>
                <c:pt idx="8226">
                  <c:v>13628.176506226364</c:v>
                </c:pt>
                <c:pt idx="8227">
                  <c:v>13661.219030803801</c:v>
                </c:pt>
                <c:pt idx="8228">
                  <c:v>13383.216961709411</c:v>
                </c:pt>
                <c:pt idx="8229">
                  <c:v>12977.005616748138</c:v>
                </c:pt>
                <c:pt idx="8230">
                  <c:v>13000.671627253554</c:v>
                </c:pt>
                <c:pt idx="8231">
                  <c:v>12759.649191608376</c:v>
                </c:pt>
                <c:pt idx="8232">
                  <c:v>12567.319086302314</c:v>
                </c:pt>
                <c:pt idx="8233">
                  <c:v>12325.135934858221</c:v>
                </c:pt>
                <c:pt idx="8234">
                  <c:v>12134.099022431343</c:v>
                </c:pt>
                <c:pt idx="8235">
                  <c:v>12066.511464181123</c:v>
                </c:pt>
                <c:pt idx="8236">
                  <c:v>12191.242441012444</c:v>
                </c:pt>
                <c:pt idx="8237">
                  <c:v>12536.383659742425</c:v>
                </c:pt>
                <c:pt idx="8238">
                  <c:v>13280.015412769622</c:v>
                </c:pt>
                <c:pt idx="8239">
                  <c:v>13643.598157650933</c:v>
                </c:pt>
                <c:pt idx="8240">
                  <c:v>13843.569737470931</c:v>
                </c:pt>
                <c:pt idx="8241">
                  <c:v>13676.741179510413</c:v>
                </c:pt>
                <c:pt idx="8242">
                  <c:v>13501.469712960192</c:v>
                </c:pt>
                <c:pt idx="8243">
                  <c:v>13542.544599456971</c:v>
                </c:pt>
                <c:pt idx="8244">
                  <c:v>13460.880048883988</c:v>
                </c:pt>
                <c:pt idx="8245">
                  <c:v>13454.870280246765</c:v>
                </c:pt>
                <c:pt idx="8246">
                  <c:v>13450.168655078507</c:v>
                </c:pt>
                <c:pt idx="8247">
                  <c:v>13587.268998455869</c:v>
                </c:pt>
                <c:pt idx="8248">
                  <c:v>13641.280835491547</c:v>
                </c:pt>
                <c:pt idx="8249">
                  <c:v>13583.62857456157</c:v>
                </c:pt>
                <c:pt idx="8250">
                  <c:v>13460.379102249994</c:v>
                </c:pt>
                <c:pt idx="8251">
                  <c:v>13324.484529383613</c:v>
                </c:pt>
                <c:pt idx="8252">
                  <c:v>13070.119150761248</c:v>
                </c:pt>
                <c:pt idx="8253">
                  <c:v>12634.87905944966</c:v>
                </c:pt>
                <c:pt idx="8254">
                  <c:v>12633.425941576166</c:v>
                </c:pt>
                <c:pt idx="8255">
                  <c:v>12342.532759489415</c:v>
                </c:pt>
                <c:pt idx="8256">
                  <c:v>11840.513384478849</c:v>
                </c:pt>
                <c:pt idx="8257">
                  <c:v>11432.572121288707</c:v>
                </c:pt>
                <c:pt idx="8258">
                  <c:v>11216.565023615603</c:v>
                </c:pt>
                <c:pt idx="8259">
                  <c:v>11096.612682814894</c:v>
                </c:pt>
                <c:pt idx="8260">
                  <c:v>11060.229948299366</c:v>
                </c:pt>
                <c:pt idx="8261">
                  <c:v>11188.502167724835</c:v>
                </c:pt>
                <c:pt idx="8262">
                  <c:v>11408.941629551844</c:v>
                </c:pt>
                <c:pt idx="8263">
                  <c:v>11515.600272414338</c:v>
                </c:pt>
                <c:pt idx="8264">
                  <c:v>11835.993921267343</c:v>
                </c:pt>
                <c:pt idx="8265">
                  <c:v>11881.251251850952</c:v>
                </c:pt>
                <c:pt idx="8266">
                  <c:v>11874.236051533831</c:v>
                </c:pt>
                <c:pt idx="8267">
                  <c:v>11979.540356731348</c:v>
                </c:pt>
                <c:pt idx="8268">
                  <c:v>12005.297007102929</c:v>
                </c:pt>
                <c:pt idx="8269">
                  <c:v>11993.653331130281</c:v>
                </c:pt>
                <c:pt idx="8270">
                  <c:v>12030.105287154116</c:v>
                </c:pt>
                <c:pt idx="8271">
                  <c:v>12303.738539974907</c:v>
                </c:pt>
                <c:pt idx="8272">
                  <c:v>12448.583444072228</c:v>
                </c:pt>
                <c:pt idx="8273">
                  <c:v>12515.184241134864</c:v>
                </c:pt>
                <c:pt idx="8274">
                  <c:v>12522.799595797056</c:v>
                </c:pt>
                <c:pt idx="8275">
                  <c:v>12271.530024231088</c:v>
                </c:pt>
                <c:pt idx="8276">
                  <c:v>12069.624247291553</c:v>
                </c:pt>
                <c:pt idx="8277">
                  <c:v>11654.841288922607</c:v>
                </c:pt>
                <c:pt idx="8278">
                  <c:v>11740.968556847814</c:v>
                </c:pt>
                <c:pt idx="8279">
                  <c:v>11574.919439507841</c:v>
                </c:pt>
                <c:pt idx="8280">
                  <c:v>11203.609299088455</c:v>
                </c:pt>
                <c:pt idx="8281">
                  <c:v>10878.612805659535</c:v>
                </c:pt>
                <c:pt idx="8282">
                  <c:v>10629.556946464141</c:v>
                </c:pt>
                <c:pt idx="8283">
                  <c:v>10468.633840361184</c:v>
                </c:pt>
                <c:pt idx="8284">
                  <c:v>10440.326479791134</c:v>
                </c:pt>
                <c:pt idx="8285">
                  <c:v>10507.510083843546</c:v>
                </c:pt>
                <c:pt idx="8286">
                  <c:v>10686.695427418819</c:v>
                </c:pt>
                <c:pt idx="8287">
                  <c:v>10775.716400708907</c:v>
                </c:pt>
                <c:pt idx="8288">
                  <c:v>11108.454015115592</c:v>
                </c:pt>
                <c:pt idx="8289">
                  <c:v>11176.504294863815</c:v>
                </c:pt>
                <c:pt idx="8290">
                  <c:v>11258.89657370289</c:v>
                </c:pt>
                <c:pt idx="8291">
                  <c:v>11361.141741565461</c:v>
                </c:pt>
                <c:pt idx="8292">
                  <c:v>11450.447716882356</c:v>
                </c:pt>
                <c:pt idx="8293">
                  <c:v>11399.798187027587</c:v>
                </c:pt>
                <c:pt idx="8294">
                  <c:v>11450.601302187166</c:v>
                </c:pt>
                <c:pt idx="8295">
                  <c:v>11646.850398516757</c:v>
                </c:pt>
                <c:pt idx="8296">
                  <c:v>11770.485375905097</c:v>
                </c:pt>
                <c:pt idx="8297">
                  <c:v>11852.516494584725</c:v>
                </c:pt>
                <c:pt idx="8298">
                  <c:v>11806.696841045519</c:v>
                </c:pt>
                <c:pt idx="8299">
                  <c:v>11804.483410043735</c:v>
                </c:pt>
                <c:pt idx="8300">
                  <c:v>11491.096705701473</c:v>
                </c:pt>
                <c:pt idx="8301">
                  <c:v>11162.674400820611</c:v>
                </c:pt>
                <c:pt idx="8302">
                  <c:v>11395.906853655979</c:v>
                </c:pt>
                <c:pt idx="8303">
                  <c:v>11286.390934245032</c:v>
                </c:pt>
                <c:pt idx="8304">
                  <c:v>10911.003430975459</c:v>
                </c:pt>
                <c:pt idx="8305">
                  <c:v>10632.239439869094</c:v>
                </c:pt>
                <c:pt idx="8306">
                  <c:v>10411.846304067869</c:v>
                </c:pt>
                <c:pt idx="8307">
                  <c:v>10406.585971088314</c:v>
                </c:pt>
                <c:pt idx="8308">
                  <c:v>10492.591810431551</c:v>
                </c:pt>
                <c:pt idx="8309">
                  <c:v>10855.000212957366</c:v>
                </c:pt>
                <c:pt idx="8310">
                  <c:v>11690.565759361612</c:v>
                </c:pt>
                <c:pt idx="8311">
                  <c:v>12179.321560813911</c:v>
                </c:pt>
                <c:pt idx="8312">
                  <c:v>12350.604340473563</c:v>
                </c:pt>
                <c:pt idx="8313">
                  <c:v>12333.077019321856</c:v>
                </c:pt>
                <c:pt idx="8314">
                  <c:v>12251.734238307947</c:v>
                </c:pt>
                <c:pt idx="8315">
                  <c:v>12190.163759482159</c:v>
                </c:pt>
                <c:pt idx="8316">
                  <c:v>12175.369400106669</c:v>
                </c:pt>
                <c:pt idx="8317">
                  <c:v>12148.998893174605</c:v>
                </c:pt>
                <c:pt idx="8318">
                  <c:v>12203.105439743487</c:v>
                </c:pt>
                <c:pt idx="8319">
                  <c:v>12315.617412495038</c:v>
                </c:pt>
                <c:pt idx="8320">
                  <c:v>12299.591704976945</c:v>
                </c:pt>
                <c:pt idx="8321">
                  <c:v>12211.90213216721</c:v>
                </c:pt>
                <c:pt idx="8322">
                  <c:v>12097.009869851639</c:v>
                </c:pt>
                <c:pt idx="8323">
                  <c:v>12049.769810168385</c:v>
                </c:pt>
                <c:pt idx="8324">
                  <c:v>11914.196329055494</c:v>
                </c:pt>
                <c:pt idx="8325">
                  <c:v>11518.964525296928</c:v>
                </c:pt>
                <c:pt idx="8326">
                  <c:v>11580.627006566721</c:v>
                </c:pt>
                <c:pt idx="8327">
                  <c:v>11277.900937199653</c:v>
                </c:pt>
                <c:pt idx="8328">
                  <c:v>10793.597083108902</c:v>
                </c:pt>
                <c:pt idx="8329">
                  <c:v>10467.322469891626</c:v>
                </c:pt>
                <c:pt idx="8330">
                  <c:v>10235.03921867192</c:v>
                </c:pt>
                <c:pt idx="8331">
                  <c:v>10113.197639252545</c:v>
                </c:pt>
                <c:pt idx="8332">
                  <c:v>10180.669390447505</c:v>
                </c:pt>
                <c:pt idx="8333">
                  <c:v>10455.859213204414</c:v>
                </c:pt>
                <c:pt idx="8334">
                  <c:v>11171.549580241419</c:v>
                </c:pt>
                <c:pt idx="8335">
                  <c:v>11601.187708248755</c:v>
                </c:pt>
                <c:pt idx="8336">
                  <c:v>11875.226464691435</c:v>
                </c:pt>
                <c:pt idx="8337">
                  <c:v>11800.336997223816</c:v>
                </c:pt>
                <c:pt idx="8338">
                  <c:v>11714.076307549842</c:v>
                </c:pt>
                <c:pt idx="8339">
                  <c:v>11705.437629919212</c:v>
                </c:pt>
                <c:pt idx="8340">
                  <c:v>11685.518122439364</c:v>
                </c:pt>
                <c:pt idx="8341">
                  <c:v>11647.907449529697</c:v>
                </c:pt>
                <c:pt idx="8342">
                  <c:v>11650.783339859232</c:v>
                </c:pt>
                <c:pt idx="8343">
                  <c:v>11898.097495470134</c:v>
                </c:pt>
                <c:pt idx="8344">
                  <c:v>11849.589990916065</c:v>
                </c:pt>
                <c:pt idx="8345">
                  <c:v>11836.900967466096</c:v>
                </c:pt>
                <c:pt idx="8346">
                  <c:v>11780.201654091798</c:v>
                </c:pt>
                <c:pt idx="8347">
                  <c:v>11859.303319845243</c:v>
                </c:pt>
                <c:pt idx="8348">
                  <c:v>11731.695540222061</c:v>
                </c:pt>
                <c:pt idx="8349">
                  <c:v>11292.602540787537</c:v>
                </c:pt>
                <c:pt idx="8350">
                  <c:v>11365.402755892832</c:v>
                </c:pt>
                <c:pt idx="8351">
                  <c:v>11044.55639321821</c:v>
                </c:pt>
                <c:pt idx="8352">
                  <c:v>10618.945127115652</c:v>
                </c:pt>
                <c:pt idx="8353">
                  <c:v>10216.175901220653</c:v>
                </c:pt>
                <c:pt idx="8354">
                  <c:v>10085.13555047009</c:v>
                </c:pt>
                <c:pt idx="8355">
                  <c:v>10122.539896424749</c:v>
                </c:pt>
                <c:pt idx="8356">
                  <c:v>10141.869756405598</c:v>
                </c:pt>
                <c:pt idx="8357">
                  <c:v>10419.496841125105</c:v>
                </c:pt>
                <c:pt idx="8358">
                  <c:v>11235.980501740871</c:v>
                </c:pt>
                <c:pt idx="8359">
                  <c:v>11623.529819923922</c:v>
                </c:pt>
                <c:pt idx="8360">
                  <c:v>11889.298166224731</c:v>
                </c:pt>
                <c:pt idx="8361">
                  <c:v>11851.558769427726</c:v>
                </c:pt>
                <c:pt idx="8362">
                  <c:v>11740.179358267849</c:v>
                </c:pt>
                <c:pt idx="8363">
                  <c:v>11722.481078900129</c:v>
                </c:pt>
                <c:pt idx="8364">
                  <c:v>11804.35356889206</c:v>
                </c:pt>
                <c:pt idx="8365">
                  <c:v>11737.396350035302</c:v>
                </c:pt>
                <c:pt idx="8366">
                  <c:v>11771.646281528554</c:v>
                </c:pt>
                <c:pt idx="8367">
                  <c:v>11908.074036298438</c:v>
                </c:pt>
                <c:pt idx="8368">
                  <c:v>11895.192514471657</c:v>
                </c:pt>
                <c:pt idx="8369">
                  <c:v>11974.475448624773</c:v>
                </c:pt>
                <c:pt idx="8370">
                  <c:v>12005.581171802532</c:v>
                </c:pt>
                <c:pt idx="8371">
                  <c:v>11971.155991605807</c:v>
                </c:pt>
                <c:pt idx="8372">
                  <c:v>11732.404355851319</c:v>
                </c:pt>
                <c:pt idx="8373">
                  <c:v>11273.18093707817</c:v>
                </c:pt>
                <c:pt idx="8374">
                  <c:v>11299.632461531392</c:v>
                </c:pt>
                <c:pt idx="8375">
                  <c:v>11045.650554107511</c:v>
                </c:pt>
                <c:pt idx="8376">
                  <c:v>10579.357640765775</c:v>
                </c:pt>
                <c:pt idx="8377">
                  <c:v>10243.454490744884</c:v>
                </c:pt>
                <c:pt idx="8378">
                  <c:v>9997.1473469218799</c:v>
                </c:pt>
                <c:pt idx="8379">
                  <c:v>9941.7929140184951</c:v>
                </c:pt>
                <c:pt idx="8380">
                  <c:v>10017.56182954547</c:v>
                </c:pt>
                <c:pt idx="8381">
                  <c:v>10355.558770545003</c:v>
                </c:pt>
                <c:pt idx="8382">
                  <c:v>11158.622048014628</c:v>
                </c:pt>
                <c:pt idx="8383">
                  <c:v>11625.941292770214</c:v>
                </c:pt>
                <c:pt idx="8384">
                  <c:v>11895.291886600528</c:v>
                </c:pt>
                <c:pt idx="8385">
                  <c:v>11858.469404440342</c:v>
                </c:pt>
                <c:pt idx="8386">
                  <c:v>11791.682958529012</c:v>
                </c:pt>
                <c:pt idx="8387">
                  <c:v>11744.245145492519</c:v>
                </c:pt>
                <c:pt idx="8388">
                  <c:v>11695.893698079552</c:v>
                </c:pt>
                <c:pt idx="8389">
                  <c:v>11715.567996109026</c:v>
                </c:pt>
                <c:pt idx="8390">
                  <c:v>11727.434918023026</c:v>
                </c:pt>
                <c:pt idx="8391">
                  <c:v>11918.941450267075</c:v>
                </c:pt>
                <c:pt idx="8392">
                  <c:v>12042.857524998204</c:v>
                </c:pt>
                <c:pt idx="8393">
                  <c:v>12072.182969488358</c:v>
                </c:pt>
                <c:pt idx="8394">
                  <c:v>12001.291746124776</c:v>
                </c:pt>
                <c:pt idx="8395">
                  <c:v>12000.736123012377</c:v>
                </c:pt>
                <c:pt idx="8396">
                  <c:v>11905.885811459222</c:v>
                </c:pt>
                <c:pt idx="8397">
                  <c:v>11470.100176137988</c:v>
                </c:pt>
                <c:pt idx="8398">
                  <c:v>11541.519559422302</c:v>
                </c:pt>
                <c:pt idx="8399">
                  <c:v>11280.954177207601</c:v>
                </c:pt>
                <c:pt idx="8400">
                  <c:v>10879.891310367058</c:v>
                </c:pt>
                <c:pt idx="8401">
                  <c:v>10556.640379013446</c:v>
                </c:pt>
                <c:pt idx="8402">
                  <c:v>10356.143251963487</c:v>
                </c:pt>
                <c:pt idx="8403">
                  <c:v>10259.769960689875</c:v>
                </c:pt>
                <c:pt idx="8404">
                  <c:v>10332.506170601311</c:v>
                </c:pt>
                <c:pt idx="8405">
                  <c:v>10710.984294206679</c:v>
                </c:pt>
                <c:pt idx="8406">
                  <c:v>11459.429926167621</c:v>
                </c:pt>
                <c:pt idx="8407">
                  <c:v>11975.046823321391</c:v>
                </c:pt>
                <c:pt idx="8408">
                  <c:v>12265.464695169951</c:v>
                </c:pt>
                <c:pt idx="8409">
                  <c:v>12205.523871208745</c:v>
                </c:pt>
                <c:pt idx="8410">
                  <c:v>12102.179389654581</c:v>
                </c:pt>
                <c:pt idx="8411">
                  <c:v>12077.091262327311</c:v>
                </c:pt>
                <c:pt idx="8412">
                  <c:v>11982.498442089041</c:v>
                </c:pt>
                <c:pt idx="8413">
                  <c:v>11828.398474792622</c:v>
                </c:pt>
                <c:pt idx="8414">
                  <c:v>11823.392569632917</c:v>
                </c:pt>
                <c:pt idx="8415">
                  <c:v>12102.216497355575</c:v>
                </c:pt>
                <c:pt idx="8416">
                  <c:v>12229.812832383417</c:v>
                </c:pt>
                <c:pt idx="8417">
                  <c:v>12168.444287234741</c:v>
                </c:pt>
                <c:pt idx="8418">
                  <c:v>12135.542124784797</c:v>
                </c:pt>
                <c:pt idx="8419">
                  <c:v>12176.817856324087</c:v>
                </c:pt>
                <c:pt idx="8420">
                  <c:v>12050.374643697012</c:v>
                </c:pt>
                <c:pt idx="8421">
                  <c:v>11599.186737870168</c:v>
                </c:pt>
                <c:pt idx="8422">
                  <c:v>11625.865169317249</c:v>
                </c:pt>
                <c:pt idx="8423">
                  <c:v>11380.080596366181</c:v>
                </c:pt>
                <c:pt idx="8424">
                  <c:v>10884.703896179639</c:v>
                </c:pt>
                <c:pt idx="8425">
                  <c:v>10567.185142210286</c:v>
                </c:pt>
                <c:pt idx="8426">
                  <c:v>10393.962298444445</c:v>
                </c:pt>
                <c:pt idx="8427">
                  <c:v>10278.858861634681</c:v>
                </c:pt>
                <c:pt idx="8428">
                  <c:v>10263.054356377985</c:v>
                </c:pt>
                <c:pt idx="8429">
                  <c:v>10321.77655948207</c:v>
                </c:pt>
                <c:pt idx="8430">
                  <c:v>10628.859378423462</c:v>
                </c:pt>
                <c:pt idx="8431">
                  <c:v>10760.507234070614</c:v>
                </c:pt>
                <c:pt idx="8432">
                  <c:v>10985.525667870341</c:v>
                </c:pt>
                <c:pt idx="8433">
                  <c:v>11115.471716118296</c:v>
                </c:pt>
                <c:pt idx="8434">
                  <c:v>11197.929286618953</c:v>
                </c:pt>
                <c:pt idx="8435">
                  <c:v>11208.452274164632</c:v>
                </c:pt>
                <c:pt idx="8436">
                  <c:v>11205.495143689999</c:v>
                </c:pt>
                <c:pt idx="8437">
                  <c:v>11177.641708805246</c:v>
                </c:pt>
                <c:pt idx="8438">
                  <c:v>11200.337473479263</c:v>
                </c:pt>
                <c:pt idx="8439">
                  <c:v>11516.765065893249</c:v>
                </c:pt>
                <c:pt idx="8440">
                  <c:v>11721.368741151053</c:v>
                </c:pt>
                <c:pt idx="8441">
                  <c:v>11872.633917259393</c:v>
                </c:pt>
                <c:pt idx="8442">
                  <c:v>11969.06552486044</c:v>
                </c:pt>
                <c:pt idx="8443">
                  <c:v>11856.178277972653</c:v>
                </c:pt>
                <c:pt idx="8444">
                  <c:v>11504.862480878621</c:v>
                </c:pt>
                <c:pt idx="8445">
                  <c:v>11048.966649790093</c:v>
                </c:pt>
                <c:pt idx="8446">
                  <c:v>11222.632599658284</c:v>
                </c:pt>
                <c:pt idx="8447">
                  <c:v>11030.613810521329</c:v>
                </c:pt>
                <c:pt idx="8448">
                  <c:v>10724.935158996137</c:v>
                </c:pt>
                <c:pt idx="8449">
                  <c:v>10344.825619060632</c:v>
                </c:pt>
                <c:pt idx="8450">
                  <c:v>10122.361204973353</c:v>
                </c:pt>
                <c:pt idx="8451">
                  <c:v>10028.857106706031</c:v>
                </c:pt>
                <c:pt idx="8452">
                  <c:v>10019.403824774899</c:v>
                </c:pt>
                <c:pt idx="8453">
                  <c:v>10088.302921013787</c:v>
                </c:pt>
                <c:pt idx="8454">
                  <c:v>10265.533045508777</c:v>
                </c:pt>
                <c:pt idx="8455">
                  <c:v>10451.072119568858</c:v>
                </c:pt>
                <c:pt idx="8456">
                  <c:v>10767.986871741841</c:v>
                </c:pt>
                <c:pt idx="8457">
                  <c:v>10933.923940314489</c:v>
                </c:pt>
                <c:pt idx="8458">
                  <c:v>11053.716131850166</c:v>
                </c:pt>
                <c:pt idx="8459">
                  <c:v>11193.094037577192</c:v>
                </c:pt>
                <c:pt idx="8460">
                  <c:v>11235.110094599862</c:v>
                </c:pt>
                <c:pt idx="8461">
                  <c:v>11268.895933729962</c:v>
                </c:pt>
                <c:pt idx="8462">
                  <c:v>11353.85232990067</c:v>
                </c:pt>
                <c:pt idx="8463">
                  <c:v>11598.838515304065</c:v>
                </c:pt>
                <c:pt idx="8464">
                  <c:v>11752.757574046125</c:v>
                </c:pt>
                <c:pt idx="8465">
                  <c:v>11902.63908647161</c:v>
                </c:pt>
                <c:pt idx="8466">
                  <c:v>12022.694712203598</c:v>
                </c:pt>
                <c:pt idx="8467">
                  <c:v>12012.382384825594</c:v>
                </c:pt>
                <c:pt idx="8468">
                  <c:v>11949.240596489124</c:v>
                </c:pt>
                <c:pt idx="8469">
                  <c:v>11649.192634053799</c:v>
                </c:pt>
                <c:pt idx="8470">
                  <c:v>11892.938916267229</c:v>
                </c:pt>
                <c:pt idx="8471">
                  <c:v>11819.461772548611</c:v>
                </c:pt>
                <c:pt idx="8472">
                  <c:v>11502.209064995055</c:v>
                </c:pt>
                <c:pt idx="8473">
                  <c:v>11199.044929314379</c:v>
                </c:pt>
                <c:pt idx="8474">
                  <c:v>11054.585676675941</c:v>
                </c:pt>
                <c:pt idx="8475">
                  <c:v>11060.00796346033</c:v>
                </c:pt>
                <c:pt idx="8476">
                  <c:v>11242.644761794087</c:v>
                </c:pt>
                <c:pt idx="8477">
                  <c:v>11701.788088679361</c:v>
                </c:pt>
                <c:pt idx="8478">
                  <c:v>12520.096265701519</c:v>
                </c:pt>
                <c:pt idx="8479">
                  <c:v>13058.73720701827</c:v>
                </c:pt>
                <c:pt idx="8480">
                  <c:v>13442.862013116375</c:v>
                </c:pt>
                <c:pt idx="8481">
                  <c:v>13450.152615847168</c:v>
                </c:pt>
                <c:pt idx="8482">
                  <c:v>13376.907404851103</c:v>
                </c:pt>
                <c:pt idx="8483">
                  <c:v>13454.813506041881</c:v>
                </c:pt>
                <c:pt idx="8484">
                  <c:v>13404.299757583591</c:v>
                </c:pt>
                <c:pt idx="8485">
                  <c:v>13358.857668746623</c:v>
                </c:pt>
                <c:pt idx="8486">
                  <c:v>13332.383544051245</c:v>
                </c:pt>
                <c:pt idx="8487">
                  <c:v>13515.064587846955</c:v>
                </c:pt>
                <c:pt idx="8488">
                  <c:v>13596.377841728467</c:v>
                </c:pt>
                <c:pt idx="8489">
                  <c:v>13582.131891670882</c:v>
                </c:pt>
                <c:pt idx="8490">
                  <c:v>13511.386306763767</c:v>
                </c:pt>
                <c:pt idx="8491">
                  <c:v>13446.175571944947</c:v>
                </c:pt>
                <c:pt idx="8492">
                  <c:v>13314.435045484699</c:v>
                </c:pt>
                <c:pt idx="8493">
                  <c:v>12890.250224380323</c:v>
                </c:pt>
                <c:pt idx="8494">
                  <c:v>12937.393413547899</c:v>
                </c:pt>
                <c:pt idx="8495">
                  <c:v>12678.008034582044</c:v>
                </c:pt>
                <c:pt idx="8496">
                  <c:v>12233.32751138518</c:v>
                </c:pt>
                <c:pt idx="8497">
                  <c:v>11892.62735498889</c:v>
                </c:pt>
                <c:pt idx="8498">
                  <c:v>11736.451669944972</c:v>
                </c:pt>
                <c:pt idx="8499">
                  <c:v>11687.452433631355</c:v>
                </c:pt>
                <c:pt idx="8500">
                  <c:v>11713.698519511368</c:v>
                </c:pt>
                <c:pt idx="8501">
                  <c:v>12072.797431687381</c:v>
                </c:pt>
                <c:pt idx="8502">
                  <c:v>12788.864511999342</c:v>
                </c:pt>
                <c:pt idx="8503">
                  <c:v>13273.8899599263</c:v>
                </c:pt>
                <c:pt idx="8504">
                  <c:v>13543.552191369758</c:v>
                </c:pt>
                <c:pt idx="8505">
                  <c:v>13449.46649271635</c:v>
                </c:pt>
                <c:pt idx="8506">
                  <c:v>13446.146731117055</c:v>
                </c:pt>
                <c:pt idx="8507">
                  <c:v>13468.986245118906</c:v>
                </c:pt>
                <c:pt idx="8508">
                  <c:v>13492.16543812083</c:v>
                </c:pt>
                <c:pt idx="8509">
                  <c:v>13460.164960959772</c:v>
                </c:pt>
                <c:pt idx="8510">
                  <c:v>13455.879720814564</c:v>
                </c:pt>
                <c:pt idx="8511">
                  <c:v>13547.357005900538</c:v>
                </c:pt>
                <c:pt idx="8512">
                  <c:v>13667.397138124848</c:v>
                </c:pt>
                <c:pt idx="8513">
                  <c:v>13683.137327802475</c:v>
                </c:pt>
                <c:pt idx="8514">
                  <c:v>13658.085719829873</c:v>
                </c:pt>
                <c:pt idx="8515">
                  <c:v>13673.110209019291</c:v>
                </c:pt>
                <c:pt idx="8516">
                  <c:v>13478.945210509557</c:v>
                </c:pt>
                <c:pt idx="8517">
                  <c:v>13069.697839473249</c:v>
                </c:pt>
                <c:pt idx="8518">
                  <c:v>13099.804064698816</c:v>
                </c:pt>
                <c:pt idx="8519">
                  <c:v>12878.248905275883</c:v>
                </c:pt>
                <c:pt idx="8520">
                  <c:v>12424.757226361991</c:v>
                </c:pt>
                <c:pt idx="8521">
                  <c:v>12159.59668500678</c:v>
                </c:pt>
                <c:pt idx="8522">
                  <c:v>11985.129459718779</c:v>
                </c:pt>
                <c:pt idx="8523">
                  <c:v>11898.350960424063</c:v>
                </c:pt>
                <c:pt idx="8524">
                  <c:v>11979.95299768903</c:v>
                </c:pt>
                <c:pt idx="8525">
                  <c:v>12315.410789761709</c:v>
                </c:pt>
                <c:pt idx="8526">
                  <c:v>12969.684728437825</c:v>
                </c:pt>
                <c:pt idx="8527">
                  <c:v>13394.259376431924</c:v>
                </c:pt>
                <c:pt idx="8528">
                  <c:v>13637.730341165598</c:v>
                </c:pt>
                <c:pt idx="8529">
                  <c:v>13582.206238599192</c:v>
                </c:pt>
                <c:pt idx="8530">
                  <c:v>13547.495537677263</c:v>
                </c:pt>
                <c:pt idx="8531">
                  <c:v>13524.344398771036</c:v>
                </c:pt>
                <c:pt idx="8532">
                  <c:v>13486.349627031203</c:v>
                </c:pt>
                <c:pt idx="8533">
                  <c:v>13376.570299446743</c:v>
                </c:pt>
                <c:pt idx="8534">
                  <c:v>13361.569925334292</c:v>
                </c:pt>
                <c:pt idx="8535">
                  <c:v>13527.048269680638</c:v>
                </c:pt>
                <c:pt idx="8536">
                  <c:v>13628.212101415098</c:v>
                </c:pt>
                <c:pt idx="8537">
                  <c:v>13641.87451406557</c:v>
                </c:pt>
                <c:pt idx="8538">
                  <c:v>13604.960845594802</c:v>
                </c:pt>
                <c:pt idx="8539">
                  <c:v>13529.582820015616</c:v>
                </c:pt>
                <c:pt idx="8540">
                  <c:v>13272.534367600181</c:v>
                </c:pt>
                <c:pt idx="8541">
                  <c:v>12914.065015058975</c:v>
                </c:pt>
                <c:pt idx="8542">
                  <c:v>12839.247304529468</c:v>
                </c:pt>
                <c:pt idx="8543">
                  <c:v>12537.834988437242</c:v>
                </c:pt>
                <c:pt idx="8544">
                  <c:v>12031.620547536013</c:v>
                </c:pt>
                <c:pt idx="8545">
                  <c:v>11540.755996855756</c:v>
                </c:pt>
                <c:pt idx="8546">
                  <c:v>11300.653102715907</c:v>
                </c:pt>
                <c:pt idx="8547">
                  <c:v>11092.369351789475</c:v>
                </c:pt>
                <c:pt idx="8548">
                  <c:v>11126.651720878965</c:v>
                </c:pt>
                <c:pt idx="8549">
                  <c:v>11342.424723652104</c:v>
                </c:pt>
                <c:pt idx="8550">
                  <c:v>11852.089335148015</c:v>
                </c:pt>
                <c:pt idx="8551">
                  <c:v>12174.406850426136</c:v>
                </c:pt>
                <c:pt idx="8552">
                  <c:v>12534.468006605774</c:v>
                </c:pt>
                <c:pt idx="8553">
                  <c:v>12611.477572754837</c:v>
                </c:pt>
                <c:pt idx="8554">
                  <c:v>12470.26513600579</c:v>
                </c:pt>
                <c:pt idx="8555">
                  <c:v>12377.129001336229</c:v>
                </c:pt>
                <c:pt idx="8556">
                  <c:v>12361.495219077304</c:v>
                </c:pt>
                <c:pt idx="8557">
                  <c:v>12272.404977261818</c:v>
                </c:pt>
                <c:pt idx="8558">
                  <c:v>12174.63349864436</c:v>
                </c:pt>
                <c:pt idx="8559">
                  <c:v>12358.363300063096</c:v>
                </c:pt>
                <c:pt idx="8560">
                  <c:v>12409.824364204183</c:v>
                </c:pt>
                <c:pt idx="8561">
                  <c:v>12415.058903008983</c:v>
                </c:pt>
                <c:pt idx="8562">
                  <c:v>12384.484216184206</c:v>
                </c:pt>
                <c:pt idx="8563">
                  <c:v>12362.647016302333</c:v>
                </c:pt>
                <c:pt idx="8564">
                  <c:v>12186.805530960775</c:v>
                </c:pt>
                <c:pt idx="8565">
                  <c:v>11784.951238801015</c:v>
                </c:pt>
                <c:pt idx="8566">
                  <c:v>11886.520630409907</c:v>
                </c:pt>
                <c:pt idx="8567">
                  <c:v>11633.033484271298</c:v>
                </c:pt>
                <c:pt idx="8568">
                  <c:v>11232.587691168674</c:v>
                </c:pt>
                <c:pt idx="8569">
                  <c:v>10821.464342788558</c:v>
                </c:pt>
                <c:pt idx="8570">
                  <c:v>10662.321798171444</c:v>
                </c:pt>
                <c:pt idx="8571">
                  <c:v>10595.719559392359</c:v>
                </c:pt>
                <c:pt idx="8572">
                  <c:v>10633.871738742275</c:v>
                </c:pt>
                <c:pt idx="8573">
                  <c:v>10798.937834790175</c:v>
                </c:pt>
                <c:pt idx="8574">
                  <c:v>11099.600016744937</c:v>
                </c:pt>
                <c:pt idx="8575">
                  <c:v>11417.329701647852</c:v>
                </c:pt>
                <c:pt idx="8576">
                  <c:v>11967.644564129325</c:v>
                </c:pt>
                <c:pt idx="8577">
                  <c:v>12224.272147482076</c:v>
                </c:pt>
                <c:pt idx="8578">
                  <c:v>12361.080162903938</c:v>
                </c:pt>
                <c:pt idx="8579">
                  <c:v>12402.836384606142</c:v>
                </c:pt>
                <c:pt idx="8580">
                  <c:v>12332.151105419738</c:v>
                </c:pt>
                <c:pt idx="8581">
                  <c:v>12239.983066289529</c:v>
                </c:pt>
                <c:pt idx="8582">
                  <c:v>12280.998580296986</c:v>
                </c:pt>
                <c:pt idx="8583">
                  <c:v>12476.211113348576</c:v>
                </c:pt>
                <c:pt idx="8584">
                  <c:v>12600.696123810232</c:v>
                </c:pt>
                <c:pt idx="8585">
                  <c:v>12444.537247810205</c:v>
                </c:pt>
                <c:pt idx="8586">
                  <c:v>12310.592774169192</c:v>
                </c:pt>
                <c:pt idx="8587">
                  <c:v>12204.067070819161</c:v>
                </c:pt>
                <c:pt idx="8588">
                  <c:v>12087.08030075607</c:v>
                </c:pt>
                <c:pt idx="8589">
                  <c:v>11890.116153040562</c:v>
                </c:pt>
                <c:pt idx="8590">
                  <c:v>12212.666833729629</c:v>
                </c:pt>
                <c:pt idx="8591">
                  <c:v>12173.197064983959</c:v>
                </c:pt>
                <c:pt idx="8592">
                  <c:v>11834.768120094623</c:v>
                </c:pt>
                <c:pt idx="8593">
                  <c:v>11554.611292276546</c:v>
                </c:pt>
                <c:pt idx="8594">
                  <c:v>11324.886509004262</c:v>
                </c:pt>
                <c:pt idx="8595">
                  <c:v>11214.544624018696</c:v>
                </c:pt>
                <c:pt idx="8596">
                  <c:v>11202.717113949542</c:v>
                </c:pt>
                <c:pt idx="8597">
                  <c:v>11283.976966812623</c:v>
                </c:pt>
                <c:pt idx="8598">
                  <c:v>11453.464184941791</c:v>
                </c:pt>
                <c:pt idx="8599">
                  <c:v>11511.115801183278</c:v>
                </c:pt>
                <c:pt idx="8600">
                  <c:v>11748.725641103416</c:v>
                </c:pt>
                <c:pt idx="8601">
                  <c:v>11845.647756189737</c:v>
                </c:pt>
                <c:pt idx="8602">
                  <c:v>11960.561240847128</c:v>
                </c:pt>
                <c:pt idx="8603">
                  <c:v>12068.939586034012</c:v>
                </c:pt>
                <c:pt idx="8604">
                  <c:v>12075.116281020519</c:v>
                </c:pt>
                <c:pt idx="8605">
                  <c:v>12009.194619562342</c:v>
                </c:pt>
                <c:pt idx="8606">
                  <c:v>12070.535829829545</c:v>
                </c:pt>
                <c:pt idx="8607">
                  <c:v>12256.353383392967</c:v>
                </c:pt>
                <c:pt idx="8608">
                  <c:v>12488.120765422213</c:v>
                </c:pt>
                <c:pt idx="8609">
                  <c:v>12551.805504418857</c:v>
                </c:pt>
                <c:pt idx="8610">
                  <c:v>12603.234714070131</c:v>
                </c:pt>
                <c:pt idx="8611">
                  <c:v>12524.366559791953</c:v>
                </c:pt>
                <c:pt idx="8612">
                  <c:v>12367.685793929302</c:v>
                </c:pt>
                <c:pt idx="8613">
                  <c:v>12063.82644598938</c:v>
                </c:pt>
                <c:pt idx="8614">
                  <c:v>12344.278803727142</c:v>
                </c:pt>
                <c:pt idx="8615">
                  <c:v>12241.880928157982</c:v>
                </c:pt>
                <c:pt idx="8616">
                  <c:v>11919.346747185566</c:v>
                </c:pt>
                <c:pt idx="8617">
                  <c:v>11622.180764921315</c:v>
                </c:pt>
                <c:pt idx="8618">
                  <c:v>11494.66998342499</c:v>
                </c:pt>
                <c:pt idx="8619">
                  <c:v>11504.317221360605</c:v>
                </c:pt>
                <c:pt idx="8620">
                  <c:v>11547.63916018871</c:v>
                </c:pt>
                <c:pt idx="8621">
                  <c:v>11639.743147632822</c:v>
                </c:pt>
                <c:pt idx="8622">
                  <c:v>11817.267016296606</c:v>
                </c:pt>
                <c:pt idx="8623">
                  <c:v>11841.438088523266</c:v>
                </c:pt>
                <c:pt idx="8624">
                  <c:v>12214.941328031382</c:v>
                </c:pt>
                <c:pt idx="8625">
                  <c:v>12334.827963932135</c:v>
                </c:pt>
                <c:pt idx="8626">
                  <c:v>12501.430891361693</c:v>
                </c:pt>
                <c:pt idx="8627">
                  <c:v>12606.379230188404</c:v>
                </c:pt>
                <c:pt idx="8628">
                  <c:v>12584.365634328988</c:v>
                </c:pt>
                <c:pt idx="8629">
                  <c:v>12428.378834180592</c:v>
                </c:pt>
                <c:pt idx="8630">
                  <c:v>12440.819409049524</c:v>
                </c:pt>
                <c:pt idx="8631">
                  <c:v>12569.695411392624</c:v>
                </c:pt>
                <c:pt idx="8632">
                  <c:v>12870.835578069935</c:v>
                </c:pt>
                <c:pt idx="8633">
                  <c:v>12946.399653660721</c:v>
                </c:pt>
                <c:pt idx="8634">
                  <c:v>12994.775233167104</c:v>
                </c:pt>
                <c:pt idx="8635">
                  <c:v>12943.562822098513</c:v>
                </c:pt>
                <c:pt idx="8636">
                  <c:v>12765.025891090048</c:v>
                </c:pt>
                <c:pt idx="8637">
                  <c:v>12420.751868616815</c:v>
                </c:pt>
                <c:pt idx="8638">
                  <c:v>12597.29751787826</c:v>
                </c:pt>
                <c:pt idx="8639">
                  <c:v>12470.206178734765</c:v>
                </c:pt>
                <c:pt idx="8640">
                  <c:v>12062.550103647753</c:v>
                </c:pt>
                <c:pt idx="8641">
                  <c:v>11771.130098420635</c:v>
                </c:pt>
                <c:pt idx="8642">
                  <c:v>11525.253428005435</c:v>
                </c:pt>
                <c:pt idx="8643">
                  <c:v>11476.153232126791</c:v>
                </c:pt>
                <c:pt idx="8644">
                  <c:v>11551.985329249603</c:v>
                </c:pt>
                <c:pt idx="8645">
                  <c:v>11873.475869445832</c:v>
                </c:pt>
                <c:pt idx="8646">
                  <c:v>12449.316566725734</c:v>
                </c:pt>
                <c:pt idx="8647">
                  <c:v>12775.235714934377</c:v>
                </c:pt>
                <c:pt idx="8648">
                  <c:v>13123.635511923389</c:v>
                </c:pt>
                <c:pt idx="8649">
                  <c:v>13223.632583161309</c:v>
                </c:pt>
                <c:pt idx="8650">
                  <c:v>13249.076542984822</c:v>
                </c:pt>
                <c:pt idx="8651">
                  <c:v>13310.260640233391</c:v>
                </c:pt>
                <c:pt idx="8652">
                  <c:v>13292.138142437645</c:v>
                </c:pt>
                <c:pt idx="8653">
                  <c:v>13244.170159807572</c:v>
                </c:pt>
                <c:pt idx="8654">
                  <c:v>13257.302746182684</c:v>
                </c:pt>
                <c:pt idx="8655">
                  <c:v>13430.27740801835</c:v>
                </c:pt>
                <c:pt idx="8656">
                  <c:v>13546.873780280668</c:v>
                </c:pt>
                <c:pt idx="8657">
                  <c:v>13578.571679742361</c:v>
                </c:pt>
                <c:pt idx="8658">
                  <c:v>13605.323264927238</c:v>
                </c:pt>
                <c:pt idx="8659">
                  <c:v>13638.126383173185</c:v>
                </c:pt>
                <c:pt idx="8660">
                  <c:v>13440.508327174475</c:v>
                </c:pt>
                <c:pt idx="8661">
                  <c:v>12988.951277043256</c:v>
                </c:pt>
                <c:pt idx="8662">
                  <c:v>13128.746408798617</c:v>
                </c:pt>
                <c:pt idx="8663">
                  <c:v>12965.041497846099</c:v>
                </c:pt>
                <c:pt idx="8664">
                  <c:v>12454.618575432276</c:v>
                </c:pt>
                <c:pt idx="8665">
                  <c:v>12177.621713392527</c:v>
                </c:pt>
                <c:pt idx="8666">
                  <c:v>11919.478541252827</c:v>
                </c:pt>
                <c:pt idx="8667">
                  <c:v>11840.370737289848</c:v>
                </c:pt>
                <c:pt idx="8668">
                  <c:v>11935.52457143999</c:v>
                </c:pt>
                <c:pt idx="8669">
                  <c:v>12168.255866267667</c:v>
                </c:pt>
                <c:pt idx="8670">
                  <c:v>12737.039244134008</c:v>
                </c:pt>
                <c:pt idx="8671">
                  <c:v>12969.802004255105</c:v>
                </c:pt>
                <c:pt idx="8672">
                  <c:v>13240.456410204753</c:v>
                </c:pt>
                <c:pt idx="8673">
                  <c:v>13234.455486436362</c:v>
                </c:pt>
                <c:pt idx="8674">
                  <c:v>13166.150667161815</c:v>
                </c:pt>
                <c:pt idx="8675">
                  <c:v>13192.18047517899</c:v>
                </c:pt>
                <c:pt idx="8676">
                  <c:v>13132.656833805979</c:v>
                </c:pt>
                <c:pt idx="8677">
                  <c:v>13036.899341112512</c:v>
                </c:pt>
                <c:pt idx="8678">
                  <c:v>12999.533153882267</c:v>
                </c:pt>
                <c:pt idx="8679">
                  <c:v>13071.928200028984</c:v>
                </c:pt>
                <c:pt idx="8680">
                  <c:v>13192.58657072883</c:v>
                </c:pt>
                <c:pt idx="8681">
                  <c:v>13209.768848795753</c:v>
                </c:pt>
                <c:pt idx="8682">
                  <c:v>13170.861448924577</c:v>
                </c:pt>
                <c:pt idx="8683">
                  <c:v>13107.363307847081</c:v>
                </c:pt>
                <c:pt idx="8684">
                  <c:v>12818.377438302188</c:v>
                </c:pt>
                <c:pt idx="8685">
                  <c:v>12282.520240591697</c:v>
                </c:pt>
                <c:pt idx="8686">
                  <c:v>12297.994114484887</c:v>
                </c:pt>
                <c:pt idx="8687">
                  <c:v>12081.835279837631</c:v>
                </c:pt>
                <c:pt idx="8688">
                  <c:v>11646.932774423696</c:v>
                </c:pt>
                <c:pt idx="8689">
                  <c:v>11324.728773782717</c:v>
                </c:pt>
                <c:pt idx="8690">
                  <c:v>11178.053238267892</c:v>
                </c:pt>
                <c:pt idx="8691">
                  <c:v>11120.725501997103</c:v>
                </c:pt>
                <c:pt idx="8692">
                  <c:v>11132.466291535889</c:v>
                </c:pt>
                <c:pt idx="8693">
                  <c:v>11322.547010385399</c:v>
                </c:pt>
                <c:pt idx="8694">
                  <c:v>11913.154042565979</c:v>
                </c:pt>
                <c:pt idx="8695">
                  <c:v>12181.693695529682</c:v>
                </c:pt>
                <c:pt idx="8696">
                  <c:v>12426.239400160095</c:v>
                </c:pt>
                <c:pt idx="8697">
                  <c:v>12443.31237920883</c:v>
                </c:pt>
                <c:pt idx="8698">
                  <c:v>12411.081842442451</c:v>
                </c:pt>
                <c:pt idx="8699">
                  <c:v>12447.300124207815</c:v>
                </c:pt>
                <c:pt idx="8700">
                  <c:v>12540.557299863862</c:v>
                </c:pt>
                <c:pt idx="8701">
                  <c:v>12523.570282485938</c:v>
                </c:pt>
                <c:pt idx="8702">
                  <c:v>12473.472998953672</c:v>
                </c:pt>
                <c:pt idx="8703">
                  <c:v>12647.570926500506</c:v>
                </c:pt>
                <c:pt idx="8704">
                  <c:v>12715.231566175153</c:v>
                </c:pt>
                <c:pt idx="8705">
                  <c:v>12660.615381558819</c:v>
                </c:pt>
                <c:pt idx="8706">
                  <c:v>12607.409229293211</c:v>
                </c:pt>
                <c:pt idx="8707">
                  <c:v>12543.50512997767</c:v>
                </c:pt>
                <c:pt idx="8708">
                  <c:v>12250.228600262571</c:v>
                </c:pt>
                <c:pt idx="8709">
                  <c:v>11883.460723613511</c:v>
                </c:pt>
                <c:pt idx="8710">
                  <c:v>11915.932697817198</c:v>
                </c:pt>
                <c:pt idx="8711">
                  <c:v>11686.588071548509</c:v>
                </c:pt>
                <c:pt idx="8712">
                  <c:v>11183.818532999563</c:v>
                </c:pt>
                <c:pt idx="8713">
                  <c:v>10750.575380809136</c:v>
                </c:pt>
                <c:pt idx="8714">
                  <c:v>10522.624942938877</c:v>
                </c:pt>
                <c:pt idx="8715">
                  <c:v>10436.212511654761</c:v>
                </c:pt>
                <c:pt idx="8716">
                  <c:v>10515.510849872573</c:v>
                </c:pt>
                <c:pt idx="8717">
                  <c:v>10775.670402053862</c:v>
                </c:pt>
                <c:pt idx="8718">
                  <c:v>11384.870165425235</c:v>
                </c:pt>
                <c:pt idx="8719">
                  <c:v>11624.282402233292</c:v>
                </c:pt>
                <c:pt idx="8720">
                  <c:v>11907.67158205904</c:v>
                </c:pt>
                <c:pt idx="8721">
                  <c:v>11965.574298467387</c:v>
                </c:pt>
                <c:pt idx="8722">
                  <c:v>11991.753925162748</c:v>
                </c:pt>
                <c:pt idx="8723">
                  <c:v>11967.084286051768</c:v>
                </c:pt>
                <c:pt idx="8724">
                  <c:v>12036.386834628502</c:v>
                </c:pt>
                <c:pt idx="8725">
                  <c:v>12016.40510120028</c:v>
                </c:pt>
                <c:pt idx="8726">
                  <c:v>12006.891416743993</c:v>
                </c:pt>
                <c:pt idx="8727">
                  <c:v>12140.240489919704</c:v>
                </c:pt>
                <c:pt idx="8728">
                  <c:v>12239.326133951625</c:v>
                </c:pt>
                <c:pt idx="8729">
                  <c:v>12241.373114922237</c:v>
                </c:pt>
                <c:pt idx="8730">
                  <c:v>12198.950275925663</c:v>
                </c:pt>
                <c:pt idx="8731">
                  <c:v>12170.862366481813</c:v>
                </c:pt>
                <c:pt idx="8732">
                  <c:v>11983.604927088769</c:v>
                </c:pt>
                <c:pt idx="8733">
                  <c:v>11469.20912354637</c:v>
                </c:pt>
                <c:pt idx="8734">
                  <c:v>11540.988013073114</c:v>
                </c:pt>
                <c:pt idx="8735">
                  <c:v>11322.68774788828</c:v>
                </c:pt>
                <c:pt idx="8736">
                  <c:v>10846.059818321279</c:v>
                </c:pt>
                <c:pt idx="8737">
                  <c:v>10388.977084672821</c:v>
                </c:pt>
                <c:pt idx="8738">
                  <c:v>10209.299411154216</c:v>
                </c:pt>
                <c:pt idx="8739">
                  <c:v>10137.742039393872</c:v>
                </c:pt>
                <c:pt idx="8740">
                  <c:v>10162.405440026272</c:v>
                </c:pt>
                <c:pt idx="8741">
                  <c:v>10373.429185888792</c:v>
                </c:pt>
                <c:pt idx="8742">
                  <c:v>10780.277672373328</c:v>
                </c:pt>
                <c:pt idx="8743">
                  <c:v>11041.272793089147</c:v>
                </c:pt>
                <c:pt idx="8744">
                  <c:v>11362.542114650689</c:v>
                </c:pt>
                <c:pt idx="8745">
                  <c:v>11399.875998436262</c:v>
                </c:pt>
                <c:pt idx="8746">
                  <c:v>11390.120226200881</c:v>
                </c:pt>
                <c:pt idx="8747">
                  <c:v>11461.288405286563</c:v>
                </c:pt>
                <c:pt idx="8748">
                  <c:v>11473.37427935971</c:v>
                </c:pt>
                <c:pt idx="8749">
                  <c:v>11440.563963611183</c:v>
                </c:pt>
                <c:pt idx="8750">
                  <c:v>11428.599089905376</c:v>
                </c:pt>
                <c:pt idx="8751">
                  <c:v>11624.135073092353</c:v>
                </c:pt>
                <c:pt idx="8752">
                  <c:v>11873.302911703477</c:v>
                </c:pt>
                <c:pt idx="8753">
                  <c:v>11894.655523215375</c:v>
                </c:pt>
                <c:pt idx="8754">
                  <c:v>11750.92058504295</c:v>
                </c:pt>
                <c:pt idx="8755">
                  <c:v>11535.215350672224</c:v>
                </c:pt>
                <c:pt idx="8756">
                  <c:v>11204.945754545872</c:v>
                </c:pt>
                <c:pt idx="8757">
                  <c:v>10880.603566435817</c:v>
                </c:pt>
                <c:pt idx="8758">
                  <c:v>11087.84458836969</c:v>
                </c:pt>
                <c:pt idx="8759">
                  <c:v>10980.743540638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965-408F-8E9C-192B9809D5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79103408"/>
        <c:axId val="779104128"/>
      </c:lineChart>
      <c:catAx>
        <c:axId val="779103408"/>
        <c:scaling>
          <c:orientation val="minMax"/>
        </c:scaling>
        <c:delete val="1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MW</a:t>
                </a:r>
              </a:p>
            </c:rich>
          </c:tx>
          <c:layout>
            <c:manualLayout>
              <c:xMode val="edge"/>
              <c:yMode val="edge"/>
              <c:x val="5.1913972199472067E-2"/>
              <c:y val="9.1051551839931317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majorTickMark val="none"/>
        <c:minorTickMark val="none"/>
        <c:tickLblPos val="nextTo"/>
        <c:crossAx val="779104128"/>
        <c:crosses val="autoZero"/>
        <c:auto val="1"/>
        <c:lblAlgn val="ctr"/>
        <c:lblOffset val="100"/>
        <c:noMultiLvlLbl val="0"/>
      </c:catAx>
      <c:valAx>
        <c:axId val="779104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77910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fi-FI"/>
    </a:p>
  </c:txPr>
  <c:externalData r:id="rId4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Kaukolämmön tuotanto, GW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ähkökattiloiden vaikutus polttoaineidenkäyttöön_Case Seinäjoki 2022-2023.xlsx]Kooste'!$D$16</c:f>
              <c:strCache>
                <c:ptCount val="1"/>
                <c:pt idx="0">
                  <c:v>Kaukolämmön tuotan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Sähkökattiloiden vaikutus polttoaineidenkäyttöön_Case Seinäjoki 2022-2023.xlsx]Kooste'!$C$17:$C$18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[Sähkökattiloiden vaikutus polttoaineidenkäyttöön_Case Seinäjoki 2022-2023.xlsx]Kooste'!$D$17:$D$18</c:f>
              <c:numCache>
                <c:formatCode>0</c:formatCode>
                <c:ptCount val="2"/>
                <c:pt idx="0">
                  <c:v>523.9</c:v>
                </c:pt>
                <c:pt idx="1">
                  <c:v>549.2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FB-4C13-BD91-F6C317C3CE1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72544392"/>
        <c:axId val="672550872"/>
      </c:barChart>
      <c:catAx>
        <c:axId val="672544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72550872"/>
        <c:crosses val="autoZero"/>
        <c:auto val="1"/>
        <c:lblAlgn val="ctr"/>
        <c:lblOffset val="100"/>
        <c:noMultiLvlLbl val="0"/>
      </c:catAx>
      <c:valAx>
        <c:axId val="672550872"/>
        <c:scaling>
          <c:orientation val="minMax"/>
          <c:min val="0"/>
        </c:scaling>
        <c:delete val="1"/>
        <c:axPos val="l"/>
        <c:numFmt formatCode="0" sourceLinked="1"/>
        <c:majorTickMark val="none"/>
        <c:minorTickMark val="none"/>
        <c:tickLblPos val="nextTo"/>
        <c:crossAx val="672544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fi-FI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ähkön tuotanto, GW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ähkökattiloiden vaikutus polttoaineidenkäyttöön_Case Seinäjoki 2022-2023.xlsx]Kooste'!$E$16</c:f>
              <c:strCache>
                <c:ptCount val="1"/>
                <c:pt idx="0">
                  <c:v>Sähkön tuotant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Sähkökattiloiden vaikutus polttoaineidenkäyttöön_Case Seinäjoki 2022-2023.xlsx]Kooste'!$C$17:$C$18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[Sähkökattiloiden vaikutus polttoaineidenkäyttöön_Case Seinäjoki 2022-2023.xlsx]Kooste'!$E$17:$E$18</c:f>
              <c:numCache>
                <c:formatCode>0</c:formatCode>
                <c:ptCount val="2"/>
                <c:pt idx="0">
                  <c:v>156.69999999999999</c:v>
                </c:pt>
                <c:pt idx="1">
                  <c:v>68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2D-4C7F-82B0-16777DB5666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72544392"/>
        <c:axId val="672550872"/>
      </c:barChart>
      <c:catAx>
        <c:axId val="672544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72550872"/>
        <c:crosses val="autoZero"/>
        <c:auto val="1"/>
        <c:lblAlgn val="ctr"/>
        <c:lblOffset val="100"/>
        <c:noMultiLvlLbl val="0"/>
      </c:catAx>
      <c:valAx>
        <c:axId val="672550872"/>
        <c:scaling>
          <c:orientation val="minMax"/>
          <c:min val="0"/>
        </c:scaling>
        <c:delete val="1"/>
        <c:axPos val="l"/>
        <c:numFmt formatCode="0" sourceLinked="1"/>
        <c:majorTickMark val="none"/>
        <c:minorTickMark val="none"/>
        <c:tickLblPos val="nextTo"/>
        <c:crossAx val="672544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fi-FI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olttoaineet, GW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ähkökattiloiden vaikutus polttoaineidenkäyttöön_Case Seinäjoki 2022-2023.xlsx]Kooste'!$F$16</c:f>
              <c:strCache>
                <c:ptCount val="1"/>
                <c:pt idx="0">
                  <c:v>Polttoaine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Sähkökattiloiden vaikutus polttoaineidenkäyttöön_Case Seinäjoki 2022-2023.xlsx]Kooste'!$C$17:$C$18</c:f>
              <c:numCache>
                <c:formatCode>General</c:formatCode>
                <c:ptCount val="2"/>
                <c:pt idx="0">
                  <c:v>2022</c:v>
                </c:pt>
                <c:pt idx="1">
                  <c:v>2023</c:v>
                </c:pt>
              </c:numCache>
            </c:numRef>
          </c:cat>
          <c:val>
            <c:numRef>
              <c:f>'[Sähkökattiloiden vaikutus polttoaineidenkäyttöön_Case Seinäjoki 2022-2023.xlsx]Kooste'!$F$17:$F$18</c:f>
              <c:numCache>
                <c:formatCode>0</c:formatCode>
                <c:ptCount val="2"/>
                <c:pt idx="0">
                  <c:v>829.80000000000007</c:v>
                </c:pt>
                <c:pt idx="1">
                  <c:v>570.8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F2-4B66-BC8C-7F6BA2B5046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72544392"/>
        <c:axId val="672550872"/>
      </c:barChart>
      <c:catAx>
        <c:axId val="672544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72550872"/>
        <c:crosses val="autoZero"/>
        <c:auto val="1"/>
        <c:lblAlgn val="ctr"/>
        <c:lblOffset val="100"/>
        <c:noMultiLvlLbl val="0"/>
      </c:catAx>
      <c:valAx>
        <c:axId val="672550872"/>
        <c:scaling>
          <c:orientation val="minMax"/>
          <c:min val="0"/>
        </c:scaling>
        <c:delete val="1"/>
        <c:axPos val="l"/>
        <c:numFmt formatCode="0" sourceLinked="1"/>
        <c:majorTickMark val="none"/>
        <c:minorTickMark val="none"/>
        <c:tickLblPos val="nextTo"/>
        <c:crossAx val="672544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fi-FI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8204925273136882E-2"/>
          <c:y val="7.0667036185694185E-2"/>
          <c:w val="0.95063268837325998"/>
          <c:h val="0.7964021888568275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Yhtiöt yhteenveto'!$B$119</c:f>
              <c:strCache>
                <c:ptCount val="1"/>
                <c:pt idx="0">
                  <c:v>Hiil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('Yhtiöt yhteenveto'!$C$118,'Yhtiöt yhteenveto'!$E$118:$L$118)</c:f>
              <c:numCache>
                <c:formatCode>General</c:formatCode>
                <c:ptCount val="9"/>
                <c:pt idx="0">
                  <c:v>2021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  <c:extLst/>
            </c:numRef>
          </c:cat>
          <c:val>
            <c:numRef>
              <c:f>('Yhtiöt yhteenveto'!$C$119,'Yhtiöt yhteenveto'!$E$119:$L$119)</c:f>
              <c:numCache>
                <c:formatCode>0</c:formatCode>
                <c:ptCount val="9"/>
                <c:pt idx="0">
                  <c:v>4732.6502578204882</c:v>
                </c:pt>
                <c:pt idx="1">
                  <c:v>3555.1815098324582</c:v>
                </c:pt>
                <c:pt idx="2">
                  <c:v>2068.9331997336358</c:v>
                </c:pt>
                <c:pt idx="3">
                  <c:v>701.83615963132127</c:v>
                </c:pt>
                <c:pt idx="4">
                  <c:v>60.591794728875158</c:v>
                </c:pt>
                <c:pt idx="5">
                  <c:v>51.753168023079631</c:v>
                </c:pt>
                <c:pt idx="6">
                  <c:v>38.599649341875825</c:v>
                </c:pt>
                <c:pt idx="7">
                  <c:v>32.559780801168351</c:v>
                </c:pt>
                <c:pt idx="8">
                  <c:v>32.49466123956600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364D-4C01-B1B3-58D258BCC289}"/>
            </c:ext>
          </c:extLst>
        </c:ser>
        <c:ser>
          <c:idx val="1"/>
          <c:order val="1"/>
          <c:tx>
            <c:strRef>
              <c:f>'Yhtiöt yhteenveto'!$B$120</c:f>
              <c:strCache>
                <c:ptCount val="1"/>
                <c:pt idx="0">
                  <c:v>Kaasu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('Yhtiöt yhteenveto'!$C$118,'Yhtiöt yhteenveto'!$E$118:$L$118)</c:f>
              <c:numCache>
                <c:formatCode>General</c:formatCode>
                <c:ptCount val="9"/>
                <c:pt idx="0">
                  <c:v>2021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  <c:extLst/>
            </c:numRef>
          </c:cat>
          <c:val>
            <c:numRef>
              <c:f>('Yhtiöt yhteenveto'!$C$120,'Yhtiöt yhteenveto'!$E$120:$L$120)</c:f>
              <c:numCache>
                <c:formatCode>0</c:formatCode>
                <c:ptCount val="9"/>
                <c:pt idx="0">
                  <c:v>4105.6060375780917</c:v>
                </c:pt>
                <c:pt idx="1">
                  <c:v>2190.7269660488337</c:v>
                </c:pt>
                <c:pt idx="2">
                  <c:v>2270.64489090094</c:v>
                </c:pt>
                <c:pt idx="3">
                  <c:v>1766.7713625909801</c:v>
                </c:pt>
                <c:pt idx="4">
                  <c:v>1438.3531803505932</c:v>
                </c:pt>
                <c:pt idx="5">
                  <c:v>1565.3035197819925</c:v>
                </c:pt>
                <c:pt idx="6">
                  <c:v>1569.8087648936735</c:v>
                </c:pt>
                <c:pt idx="7">
                  <c:v>1332.0834214813437</c:v>
                </c:pt>
                <c:pt idx="8">
                  <c:v>382.395842121349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364D-4C01-B1B3-58D258BCC289}"/>
            </c:ext>
          </c:extLst>
        </c:ser>
        <c:ser>
          <c:idx val="2"/>
          <c:order val="2"/>
          <c:tx>
            <c:strRef>
              <c:f>'Yhtiöt yhteenveto'!$B$121</c:f>
              <c:strCache>
                <c:ptCount val="1"/>
                <c:pt idx="0">
                  <c:v>Ölj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('Yhtiöt yhteenveto'!$C$118,'Yhtiöt yhteenveto'!$E$118:$L$118)</c:f>
              <c:numCache>
                <c:formatCode>General</c:formatCode>
                <c:ptCount val="9"/>
                <c:pt idx="0">
                  <c:v>2021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  <c:extLst/>
            </c:numRef>
          </c:cat>
          <c:val>
            <c:numRef>
              <c:f>('Yhtiöt yhteenveto'!$C$121,'Yhtiöt yhteenveto'!$E$121:$L$121)</c:f>
              <c:numCache>
                <c:formatCode>0</c:formatCode>
                <c:ptCount val="9"/>
                <c:pt idx="0">
                  <c:v>974.46694400727006</c:v>
                </c:pt>
                <c:pt idx="1">
                  <c:v>393.3197559871889</c:v>
                </c:pt>
                <c:pt idx="2">
                  <c:v>360.48178437806052</c:v>
                </c:pt>
                <c:pt idx="3">
                  <c:v>171.33945240957945</c:v>
                </c:pt>
                <c:pt idx="4">
                  <c:v>138.79349710833691</c:v>
                </c:pt>
                <c:pt idx="5">
                  <c:v>146.09693134942273</c:v>
                </c:pt>
                <c:pt idx="6">
                  <c:v>100.43014725705419</c:v>
                </c:pt>
                <c:pt idx="7">
                  <c:v>86.158500188110509</c:v>
                </c:pt>
                <c:pt idx="8">
                  <c:v>75.53383893157874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364D-4C01-B1B3-58D258BCC289}"/>
            </c:ext>
          </c:extLst>
        </c:ser>
        <c:ser>
          <c:idx val="3"/>
          <c:order val="3"/>
          <c:tx>
            <c:strRef>
              <c:f>'Yhtiöt yhteenveto'!$B$122</c:f>
              <c:strCache>
                <c:ptCount val="1"/>
                <c:pt idx="0">
                  <c:v>Turv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('Yhtiöt yhteenveto'!$C$118,'Yhtiöt yhteenveto'!$E$118:$L$118)</c:f>
              <c:numCache>
                <c:formatCode>General</c:formatCode>
                <c:ptCount val="9"/>
                <c:pt idx="0">
                  <c:v>2021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  <c:extLst/>
            </c:numRef>
          </c:cat>
          <c:val>
            <c:numRef>
              <c:f>('Yhtiöt yhteenveto'!$C$122,'Yhtiöt yhteenveto'!$E$122:$L$122)</c:f>
              <c:numCache>
                <c:formatCode>0</c:formatCode>
                <c:ptCount val="9"/>
                <c:pt idx="0">
                  <c:v>2796.2075252596874</c:v>
                </c:pt>
                <c:pt idx="1">
                  <c:v>2019.8340330781084</c:v>
                </c:pt>
                <c:pt idx="2">
                  <c:v>1572.250190125058</c:v>
                </c:pt>
                <c:pt idx="3">
                  <c:v>1063.0727852875034</c:v>
                </c:pt>
                <c:pt idx="4">
                  <c:v>703.65577664644945</c:v>
                </c:pt>
                <c:pt idx="5">
                  <c:v>480.95724217169078</c:v>
                </c:pt>
                <c:pt idx="6">
                  <c:v>381.58794251981482</c:v>
                </c:pt>
                <c:pt idx="7">
                  <c:v>256.55880027229534</c:v>
                </c:pt>
                <c:pt idx="8">
                  <c:v>159.1675475040620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364D-4C01-B1B3-58D258BCC2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29325616"/>
        <c:axId val="629320936"/>
      </c:barChart>
      <c:catAx>
        <c:axId val="629325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sz="1400" err="1"/>
                  <a:t>GWh</a:t>
                </a:r>
                <a:endParaRPr lang="fi-FI"/>
              </a:p>
            </c:rich>
          </c:tx>
          <c:layout>
            <c:manualLayout>
              <c:xMode val="edge"/>
              <c:yMode val="edge"/>
              <c:x val="4.5275042358048523E-2"/>
              <c:y val="0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29320936"/>
        <c:crosses val="autoZero"/>
        <c:auto val="1"/>
        <c:lblAlgn val="ctr"/>
        <c:lblOffset val="100"/>
        <c:noMultiLvlLbl val="0"/>
      </c:catAx>
      <c:valAx>
        <c:axId val="629320936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29325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108141711707054"/>
          <c:y val="0.93673160420164869"/>
          <c:w val="0.25783706690816943"/>
          <c:h val="6.32683957983512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fi-FI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124999999999999E-2"/>
          <c:y val="7.871592006372119E-2"/>
          <c:w val="0.89687499999999998"/>
          <c:h val="0.78914470317582508"/>
        </c:manualLayout>
      </c:layout>
      <c:barChart>
        <c:barDir val="col"/>
        <c:grouping val="clustered"/>
        <c:varyColors val="0"/>
        <c:ser>
          <c:idx val="1"/>
          <c:order val="1"/>
          <c:tx>
            <c:v>Mitattu käyttö (TWh)</c:v>
          </c:tx>
          <c:spPr>
            <a:solidFill>
              <a:schemeClr val="accent4"/>
            </a:solidFill>
          </c:spPr>
          <c:invertIfNegative val="0"/>
          <c:cat>
            <c:numRef>
              <c:f>'Taul1_vanha vertailukausi'!$A$7:$A$61</c:f>
              <c:numCache>
                <c:formatCode>0\ \ _ </c:formatCode>
                <c:ptCount val="55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17</c:v>
                </c:pt>
                <c:pt idx="48">
                  <c:v>2018</c:v>
                </c:pt>
                <c:pt idx="49">
                  <c:v>2019</c:v>
                </c:pt>
                <c:pt idx="50">
                  <c:v>2020</c:v>
                </c:pt>
                <c:pt idx="51">
                  <c:v>2021</c:v>
                </c:pt>
                <c:pt idx="52">
                  <c:v>2022</c:v>
                </c:pt>
                <c:pt idx="53">
                  <c:v>2023</c:v>
                </c:pt>
              </c:numCache>
            </c:numRef>
          </c:cat>
          <c:val>
            <c:numRef>
              <c:f>'Taul1 Mikko'!$B$7:$B$60</c:f>
              <c:numCache>
                <c:formatCode>0.0\ \ _ \ _ \ _ </c:formatCode>
                <c:ptCount val="54"/>
                <c:pt idx="0">
                  <c:v>4.5999999999999996</c:v>
                </c:pt>
                <c:pt idx="1">
                  <c:v>5.2</c:v>
                </c:pt>
                <c:pt idx="2">
                  <c:v>5.9</c:v>
                </c:pt>
                <c:pt idx="3">
                  <c:v>7</c:v>
                </c:pt>
                <c:pt idx="4">
                  <c:v>6.5648</c:v>
                </c:pt>
                <c:pt idx="5">
                  <c:v>7.6852</c:v>
                </c:pt>
                <c:pt idx="6">
                  <c:v>9.8469999999999995</c:v>
                </c:pt>
                <c:pt idx="7">
                  <c:v>10.217499999999999</c:v>
                </c:pt>
                <c:pt idx="8">
                  <c:v>11.835900000000001</c:v>
                </c:pt>
                <c:pt idx="9">
                  <c:v>12.196400000000001</c:v>
                </c:pt>
                <c:pt idx="10">
                  <c:v>13.304399999999999</c:v>
                </c:pt>
                <c:pt idx="11">
                  <c:v>14.2522</c:v>
                </c:pt>
                <c:pt idx="12">
                  <c:v>15.135899999999999</c:v>
                </c:pt>
                <c:pt idx="13">
                  <c:v>16.1844</c:v>
                </c:pt>
                <c:pt idx="14">
                  <c:v>17.4651</c:v>
                </c:pt>
                <c:pt idx="15">
                  <c:v>21.651199999999999</c:v>
                </c:pt>
                <c:pt idx="16">
                  <c:v>20.994800000000001</c:v>
                </c:pt>
                <c:pt idx="17">
                  <c:v>23.6066</c:v>
                </c:pt>
                <c:pt idx="18">
                  <c:v>22.2379</c:v>
                </c:pt>
                <c:pt idx="19">
                  <c:v>20.8521</c:v>
                </c:pt>
                <c:pt idx="20">
                  <c:v>22.266400000000001</c:v>
                </c:pt>
                <c:pt idx="21">
                  <c:v>23.4924</c:v>
                </c:pt>
                <c:pt idx="22">
                  <c:v>23.585899999999999</c:v>
                </c:pt>
                <c:pt idx="23">
                  <c:v>24.645</c:v>
                </c:pt>
                <c:pt idx="24">
                  <c:v>25.3383</c:v>
                </c:pt>
                <c:pt idx="25">
                  <c:v>24.845700000000001</c:v>
                </c:pt>
                <c:pt idx="26">
                  <c:v>26.667999999999999</c:v>
                </c:pt>
                <c:pt idx="27">
                  <c:v>26.3584</c:v>
                </c:pt>
                <c:pt idx="28">
                  <c:v>27.5136</c:v>
                </c:pt>
                <c:pt idx="29">
                  <c:v>26.9206</c:v>
                </c:pt>
                <c:pt idx="30">
                  <c:v>25.6435</c:v>
                </c:pt>
                <c:pt idx="31">
                  <c:v>28.373899999999999</c:v>
                </c:pt>
                <c:pt idx="32">
                  <c:v>29.610700000000001</c:v>
                </c:pt>
                <c:pt idx="33">
                  <c:v>30.545500000000001</c:v>
                </c:pt>
                <c:pt idx="34">
                  <c:v>29.503</c:v>
                </c:pt>
                <c:pt idx="35">
                  <c:v>29.280999999999999</c:v>
                </c:pt>
                <c:pt idx="36">
                  <c:v>30.1203</c:v>
                </c:pt>
                <c:pt idx="37">
                  <c:v>30.101299999999998</c:v>
                </c:pt>
                <c:pt idx="38">
                  <c:v>29.317499999999999</c:v>
                </c:pt>
                <c:pt idx="39">
                  <c:v>32.415599999999998</c:v>
                </c:pt>
                <c:pt idx="40">
                  <c:v>35.8949</c:v>
                </c:pt>
                <c:pt idx="41">
                  <c:v>31.192399999999999</c:v>
                </c:pt>
                <c:pt idx="42">
                  <c:v>34.0488</c:v>
                </c:pt>
                <c:pt idx="43">
                  <c:v>31.709700000000002</c:v>
                </c:pt>
                <c:pt idx="44">
                  <c:v>31.557099999999998</c:v>
                </c:pt>
                <c:pt idx="45">
                  <c:v>30.043099999999999</c:v>
                </c:pt>
                <c:pt idx="46">
                  <c:v>33.224699999999999</c:v>
                </c:pt>
                <c:pt idx="47">
                  <c:v>33.136200000000002</c:v>
                </c:pt>
                <c:pt idx="48">
                  <c:v>33.453200000000002</c:v>
                </c:pt>
                <c:pt idx="49">
                  <c:v>33.186799999999998</c:v>
                </c:pt>
                <c:pt idx="50">
                  <c:v>30.097300000000001</c:v>
                </c:pt>
                <c:pt idx="51">
                  <c:v>35.299800000000005</c:v>
                </c:pt>
                <c:pt idx="52">
                  <c:v>32.976899999999986</c:v>
                </c:pt>
                <c:pt idx="53">
                  <c:v>33.2273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F7-440F-B6BE-3234F4B018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13216896"/>
        <c:axId val="113226880"/>
      </c:barChart>
      <c:lineChart>
        <c:grouping val="standard"/>
        <c:varyColors val="0"/>
        <c:ser>
          <c:idx val="0"/>
          <c:order val="0"/>
          <c:tx>
            <c:v>Lämpötilakorjattu käyttö (TWh)</c:v>
          </c:tx>
          <c:spPr>
            <a:ln w="38100">
              <a:solidFill>
                <a:schemeClr val="accent1"/>
              </a:solidFill>
              <a:prstDash val="solid"/>
            </a:ln>
            <a:effectLst/>
          </c:spPr>
          <c:marker>
            <c:symbol val="none"/>
          </c:marker>
          <c:cat>
            <c:numRef>
              <c:f>'Taul1_vanha vertailukausi'!$A$7:$A$61</c:f>
              <c:numCache>
                <c:formatCode>0\ \ _ </c:formatCode>
                <c:ptCount val="55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17</c:v>
                </c:pt>
                <c:pt idx="48">
                  <c:v>2018</c:v>
                </c:pt>
                <c:pt idx="49">
                  <c:v>2019</c:v>
                </c:pt>
                <c:pt idx="50">
                  <c:v>2020</c:v>
                </c:pt>
                <c:pt idx="51">
                  <c:v>2021</c:v>
                </c:pt>
                <c:pt idx="52">
                  <c:v>2022</c:v>
                </c:pt>
                <c:pt idx="53">
                  <c:v>2023</c:v>
                </c:pt>
              </c:numCache>
            </c:numRef>
          </c:cat>
          <c:val>
            <c:numRef>
              <c:f>'Taul1 Mikko'!$X$7:$X$60</c:f>
              <c:numCache>
                <c:formatCode>#,##0</c:formatCode>
                <c:ptCount val="54"/>
                <c:pt idx="0">
                  <c:v>4.8241363459643418</c:v>
                </c:pt>
                <c:pt idx="1">
                  <c:v>5.2504560983569357</c:v>
                </c:pt>
                <c:pt idx="2">
                  <c:v>6.1163632427858685</c:v>
                </c:pt>
                <c:pt idx="3">
                  <c:v>6.6982390612843998</c:v>
                </c:pt>
                <c:pt idx="4">
                  <c:v>7.3965579028237913</c:v>
                </c:pt>
                <c:pt idx="5">
                  <c:v>8.1496790926681442</c:v>
                </c:pt>
                <c:pt idx="6">
                  <c:v>9.1700652104706233</c:v>
                </c:pt>
                <c:pt idx="7">
                  <c:v>10.156107583418764</c:v>
                </c:pt>
                <c:pt idx="8">
                  <c:v>11.067753564394692</c:v>
                </c:pt>
                <c:pt idx="9">
                  <c:v>12.075099429631402</c:v>
                </c:pt>
                <c:pt idx="10">
                  <c:v>13.034567920108488</c:v>
                </c:pt>
                <c:pt idx="11">
                  <c:v>14.116125989150964</c:v>
                </c:pt>
                <c:pt idx="12">
                  <c:v>15.337719299671249</c:v>
                </c:pt>
                <c:pt idx="13">
                  <c:v>16.697200882042406</c:v>
                </c:pt>
                <c:pt idx="14">
                  <c:v>18.29609936039596</c:v>
                </c:pt>
                <c:pt idx="15">
                  <c:v>19.695944772264358</c:v>
                </c:pt>
                <c:pt idx="16">
                  <c:v>20.951253174330514</c:v>
                </c:pt>
                <c:pt idx="17">
                  <c:v>21.870272027318567</c:v>
                </c:pt>
                <c:pt idx="18">
                  <c:v>22.479224634888883</c:v>
                </c:pt>
                <c:pt idx="19">
                  <c:v>23.042218800690843</c:v>
                </c:pt>
                <c:pt idx="20">
                  <c:v>23.530615841552123</c:v>
                </c:pt>
                <c:pt idx="21">
                  <c:v>24.221845906093943</c:v>
                </c:pt>
                <c:pt idx="22">
                  <c:v>24.710085777538158</c:v>
                </c:pt>
                <c:pt idx="23">
                  <c:v>25.15010438364391</c:v>
                </c:pt>
                <c:pt idx="24">
                  <c:v>25.469451353160036</c:v>
                </c:pt>
                <c:pt idx="25" formatCode="#\ ##0.0">
                  <c:v>25.691814357698416</c:v>
                </c:pt>
                <c:pt idx="26" formatCode="#\ ##0.0">
                  <c:v>25.878331893752122</c:v>
                </c:pt>
                <c:pt idx="27" formatCode="#\ ##0.0">
                  <c:v>26.525147978051447</c:v>
                </c:pt>
                <c:pt idx="28" formatCode="#\ ##0.0">
                  <c:v>27.139116879145561</c:v>
                </c:pt>
                <c:pt idx="29" formatCode="#\ ##0.0">
                  <c:v>28.122109783788016</c:v>
                </c:pt>
                <c:pt idx="30" formatCode="#\ ##0.0">
                  <c:v>28.486034117197807</c:v>
                </c:pt>
                <c:pt idx="31" formatCode="#\ ##0.0">
                  <c:v>29.021570370813745</c:v>
                </c:pt>
                <c:pt idx="32" formatCode="#\ ##0.0">
                  <c:v>29.596747860609643</c:v>
                </c:pt>
                <c:pt idx="33" formatCode="#\ ##0.0">
                  <c:v>29.975016632705817</c:v>
                </c:pt>
                <c:pt idx="34" formatCode="#\ ##0.0">
                  <c:v>30.277505286268422</c:v>
                </c:pt>
                <c:pt idx="35" formatCode="#\ ##0.0">
                  <c:v>30.299730991424781</c:v>
                </c:pt>
                <c:pt idx="36" formatCode="#\ ##0.0">
                  <c:v>30.85593127318241</c:v>
                </c:pt>
                <c:pt idx="37" formatCode="#\ ##0.0">
                  <c:v>31.356842067308595</c:v>
                </c:pt>
                <c:pt idx="38" formatCode="#\ ##0.0">
                  <c:v>31.717710492649871</c:v>
                </c:pt>
                <c:pt idx="39" formatCode="#\ ##0.0">
                  <c:v>31.875002389518233</c:v>
                </c:pt>
                <c:pt idx="40" formatCode="#\ ##0.0">
                  <c:v>32.209528045303756</c:v>
                </c:pt>
                <c:pt idx="41" formatCode="#\ ##0.0">
                  <c:v>32.486431747982401</c:v>
                </c:pt>
                <c:pt idx="42" formatCode="#\ ##0.0">
                  <c:v>32.781681059616609</c:v>
                </c:pt>
                <c:pt idx="43" formatCode="#\ ##0.0">
                  <c:v>32.845773008862061</c:v>
                </c:pt>
                <c:pt idx="44" formatCode="#\ ##0.0">
                  <c:v>33.177169472395185</c:v>
                </c:pt>
                <c:pt idx="45" formatCode="#\ ##0.0">
                  <c:v>33.526305882811762</c:v>
                </c:pt>
                <c:pt idx="46" formatCode="#\ ##0.0">
                  <c:v>33.767608239498664</c:v>
                </c:pt>
                <c:pt idx="47" formatCode="#\ ##0.0">
                  <c:v>33.888272775799308</c:v>
                </c:pt>
                <c:pt idx="48" formatCode="#\ ##0.0">
                  <c:v>34.099088739876812</c:v>
                </c:pt>
                <c:pt idx="49" formatCode="#\ ##0.0">
                  <c:v>34.315887151142697</c:v>
                </c:pt>
                <c:pt idx="50" formatCode="#\ ##0.0">
                  <c:v>34.338848497237741</c:v>
                </c:pt>
                <c:pt idx="51" formatCode="#\ ##0.0">
                  <c:v>34.067721996679026</c:v>
                </c:pt>
                <c:pt idx="52" formatCode="#\ ##0.0">
                  <c:v>33.923401557821066</c:v>
                </c:pt>
                <c:pt idx="53" formatCode="#\ ##0.0">
                  <c:v>33.8139614604473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FF7-440F-B6BE-3234F4B018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3216896"/>
        <c:axId val="113226880"/>
      </c:lineChart>
      <c:catAx>
        <c:axId val="113216896"/>
        <c:scaling>
          <c:orientation val="minMax"/>
        </c:scaling>
        <c:delete val="0"/>
        <c:axPos val="b"/>
        <c:numFmt formatCode="0\ \ _ 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/>
                <a:cs typeface="Verdana"/>
              </a:defRPr>
            </a:pPr>
            <a:endParaRPr lang="fi-FI"/>
          </a:p>
        </c:txPr>
        <c:crossAx val="113226880"/>
        <c:crosses val="autoZero"/>
        <c:auto val="1"/>
        <c:lblAlgn val="ctr"/>
        <c:lblOffset val="100"/>
        <c:tickLblSkip val="4"/>
        <c:noMultiLvlLbl val="0"/>
      </c:catAx>
      <c:valAx>
        <c:axId val="113226880"/>
        <c:scaling>
          <c:orientation val="minMax"/>
        </c:scaling>
        <c:delete val="0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  <a:prstDash val="solid"/>
            </a:ln>
          </c:spPr>
        </c:majorGridlines>
        <c:title>
          <c:tx>
            <c:rich>
              <a:bodyPr rot="0" vert="horz"/>
              <a:lstStyle/>
              <a:p>
                <a:pPr algn="ctr">
                  <a:defRPr sz="1400" b="1" i="0" u="none" strike="noStrike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Verdana"/>
                    <a:cs typeface="Verdana"/>
                  </a:defRPr>
                </a:pPr>
                <a:r>
                  <a:rPr lang="fi-FI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TWh</a:t>
                </a:r>
              </a:p>
            </c:rich>
          </c:tx>
          <c:layout>
            <c:manualLayout>
              <c:xMode val="edge"/>
              <c:yMode val="edge"/>
              <c:x val="1.4312322711071978E-3"/>
              <c:y val="9.1220981715761286E-6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noFill/>
          <a:ln w="3175">
            <a:noFill/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/>
                <a:cs typeface="Verdana"/>
              </a:defRPr>
            </a:pPr>
            <a:endParaRPr lang="fi-FI"/>
          </a:p>
        </c:txPr>
        <c:crossAx val="113216896"/>
        <c:crosses val="autoZero"/>
        <c:crossBetween val="between"/>
      </c:valAx>
      <c:spPr>
        <a:noFill/>
        <a:ln w="3175">
          <a:noFill/>
          <a:prstDash val="solid"/>
        </a:ln>
      </c:spPr>
    </c:plotArea>
    <c:legend>
      <c:legendPos val="b"/>
      <c:layout>
        <c:manualLayout>
          <c:xMode val="edge"/>
          <c:yMode val="edge"/>
          <c:x val="0.16333574725991595"/>
          <c:y val="0.95162927688412313"/>
          <c:w val="0.67332850548016809"/>
          <c:h val="4.8370723115876896E-2"/>
        </c:manualLayout>
      </c:layout>
      <c:overlay val="0"/>
      <c:txPr>
        <a:bodyPr/>
        <a:lstStyle/>
        <a:p>
          <a:pPr>
            <a:defRPr sz="14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defRPr>
          </a:pPr>
          <a:endParaRPr lang="fi-FI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2352050884150444E-2"/>
          <c:y val="8.9794226407525324E-2"/>
          <c:w val="0.95063268837325998"/>
          <c:h val="0.764211544099116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Yhtiöt yhteenveto'!$B$123</c:f>
              <c:strCache>
                <c:ptCount val="1"/>
                <c:pt idx="0">
                  <c:v>Biomassa ja pellett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('Yhtiöt yhteenveto'!$C$118,'Yhtiöt yhteenveto'!$E$118:$L$118)</c:f>
              <c:numCache>
                <c:formatCode>General</c:formatCode>
                <c:ptCount val="9"/>
                <c:pt idx="0">
                  <c:v>2021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  <c:extLst/>
            </c:numRef>
          </c:cat>
          <c:val>
            <c:numRef>
              <c:f>('Yhtiöt yhteenveto'!$C$123,'Yhtiöt yhteenveto'!$E$123:$L$123)</c:f>
              <c:numCache>
                <c:formatCode>0</c:formatCode>
                <c:ptCount val="9"/>
                <c:pt idx="0">
                  <c:v>12093.102169063028</c:v>
                </c:pt>
                <c:pt idx="1">
                  <c:v>13837.659965864385</c:v>
                </c:pt>
                <c:pt idx="2">
                  <c:v>14496.25342455721</c:v>
                </c:pt>
                <c:pt idx="3">
                  <c:v>13847.198677298269</c:v>
                </c:pt>
                <c:pt idx="4">
                  <c:v>13061.000064599866</c:v>
                </c:pt>
                <c:pt idx="5">
                  <c:v>12541.622923519833</c:v>
                </c:pt>
                <c:pt idx="6">
                  <c:v>12031.784804856772</c:v>
                </c:pt>
                <c:pt idx="7">
                  <c:v>11547.352572498599</c:v>
                </c:pt>
                <c:pt idx="8">
                  <c:v>11982.70863631974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A7DD-4455-A5B7-D694F4A09ABF}"/>
            </c:ext>
          </c:extLst>
        </c:ser>
        <c:ser>
          <c:idx val="1"/>
          <c:order val="1"/>
          <c:tx>
            <c:strRef>
              <c:f>'Yhtiöt yhteenveto'!$B$124</c:f>
              <c:strCache>
                <c:ptCount val="1"/>
                <c:pt idx="0">
                  <c:v>Jät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('Yhtiöt yhteenveto'!$C$118,'Yhtiöt yhteenveto'!$E$118:$L$118)</c:f>
              <c:numCache>
                <c:formatCode>General</c:formatCode>
                <c:ptCount val="9"/>
                <c:pt idx="0">
                  <c:v>2021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  <c:extLst/>
            </c:numRef>
          </c:cat>
          <c:val>
            <c:numRef>
              <c:f>('Yhtiöt yhteenveto'!$C$124,'Yhtiöt yhteenveto'!$E$124:$L$124)</c:f>
              <c:numCache>
                <c:formatCode>0</c:formatCode>
                <c:ptCount val="9"/>
                <c:pt idx="0">
                  <c:v>2525.9155645339974</c:v>
                </c:pt>
                <c:pt idx="1">
                  <c:v>2919.2427480315987</c:v>
                </c:pt>
                <c:pt idx="2">
                  <c:v>2918.3587695346032</c:v>
                </c:pt>
                <c:pt idx="3">
                  <c:v>2788.5795595346035</c:v>
                </c:pt>
                <c:pt idx="4">
                  <c:v>2751.5996318155344</c:v>
                </c:pt>
                <c:pt idx="5">
                  <c:v>2733.2151028598637</c:v>
                </c:pt>
                <c:pt idx="6">
                  <c:v>2605.5317858757521</c:v>
                </c:pt>
                <c:pt idx="7">
                  <c:v>2542.1308537458335</c:v>
                </c:pt>
                <c:pt idx="8">
                  <c:v>2483.724582004931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A7DD-4455-A5B7-D694F4A09ABF}"/>
            </c:ext>
          </c:extLst>
        </c:ser>
        <c:ser>
          <c:idx val="2"/>
          <c:order val="2"/>
          <c:tx>
            <c:strRef>
              <c:f>'Yhtiöt yhteenveto'!$B$125</c:f>
              <c:strCache>
                <c:ptCount val="1"/>
                <c:pt idx="0">
                  <c:v>Kierrätyspolttoainee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('Yhtiöt yhteenveto'!$C$118,'Yhtiöt yhteenveto'!$E$118:$L$118)</c:f>
              <c:numCache>
                <c:formatCode>General</c:formatCode>
                <c:ptCount val="9"/>
                <c:pt idx="0">
                  <c:v>2021</c:v>
                </c:pt>
                <c:pt idx="1">
                  <c:v>2023</c:v>
                </c:pt>
                <c:pt idx="2">
                  <c:v>2024</c:v>
                </c:pt>
                <c:pt idx="3">
                  <c:v>2025</c:v>
                </c:pt>
                <c:pt idx="4">
                  <c:v>2026</c:v>
                </c:pt>
                <c:pt idx="5">
                  <c:v>2027</c:v>
                </c:pt>
                <c:pt idx="6">
                  <c:v>2028</c:v>
                </c:pt>
                <c:pt idx="7">
                  <c:v>2029</c:v>
                </c:pt>
                <c:pt idx="8">
                  <c:v>2030</c:v>
                </c:pt>
              </c:numCache>
              <c:extLst/>
            </c:numRef>
          </c:cat>
          <c:val>
            <c:numRef>
              <c:f>('Yhtiöt yhteenveto'!$C$125,'Yhtiöt yhteenveto'!$E$125:$L$125)</c:f>
              <c:numCache>
                <c:formatCode>0</c:formatCode>
                <c:ptCount val="9"/>
                <c:pt idx="0">
                  <c:v>597.62292556287605</c:v>
                </c:pt>
                <c:pt idx="1">
                  <c:v>569.09096863822015</c:v>
                </c:pt>
                <c:pt idx="2">
                  <c:v>656.42243555555547</c:v>
                </c:pt>
                <c:pt idx="3">
                  <c:v>727.52183777777805</c:v>
                </c:pt>
                <c:pt idx="4">
                  <c:v>716.64981580222207</c:v>
                </c:pt>
                <c:pt idx="5">
                  <c:v>657.83089910721753</c:v>
                </c:pt>
                <c:pt idx="6">
                  <c:v>598.77908231723961</c:v>
                </c:pt>
                <c:pt idx="7">
                  <c:v>604.82503295656807</c:v>
                </c:pt>
                <c:pt idx="8">
                  <c:v>609.1243126199963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A7DD-4455-A5B7-D694F4A09A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29325616"/>
        <c:axId val="629320936"/>
      </c:barChart>
      <c:catAx>
        <c:axId val="629325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sz="1400" err="1"/>
                  <a:t>GWh</a:t>
                </a:r>
                <a:endParaRPr lang="fi-FI" sz="1400"/>
              </a:p>
            </c:rich>
          </c:tx>
          <c:layout>
            <c:manualLayout>
              <c:xMode val="edge"/>
              <c:yMode val="edge"/>
              <c:x val="4.5058145104124757E-3"/>
              <c:y val="5.2963170589959731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29320936"/>
        <c:crosses val="autoZero"/>
        <c:auto val="1"/>
        <c:lblAlgn val="ctr"/>
        <c:lblOffset val="100"/>
        <c:noMultiLvlLbl val="0"/>
      </c:catAx>
      <c:valAx>
        <c:axId val="629320936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29325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321589363373376"/>
          <c:y val="0.94996384433004011"/>
          <c:w val="0.37600130275686344"/>
          <c:h val="5.001993920655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fi-FI"/>
    </a:p>
  </c:txPr>
  <c:externalData r:id="rId4">
    <c:autoUpdate val="0"/>
  </c:externalData>
  <c:userShapes r:id="rId5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8204925273136882E-2"/>
          <c:y val="5.9183734767160996E-2"/>
          <c:w val="0.95063268837325998"/>
          <c:h val="0.8078854272799759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Yhtiöt yhteenveto'!$B$126</c:f>
              <c:strCache>
                <c:ptCount val="1"/>
                <c:pt idx="0">
                  <c:v>Sähkökattil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Yhtiöt yhteenveto'!$C$118:$L$118</c:f>
              <c:numCache>
                <c:formatCode>General</c:formatCode>
                <c:ptCount val="10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  <c:pt idx="7">
                  <c:v>2028</c:v>
                </c:pt>
                <c:pt idx="8">
                  <c:v>2029</c:v>
                </c:pt>
                <c:pt idx="9">
                  <c:v>2030</c:v>
                </c:pt>
              </c:numCache>
              <c:extLst/>
            </c:numRef>
          </c:cat>
          <c:val>
            <c:numRef>
              <c:f>'Yhtiöt yhteenveto'!$C$126:$L$126</c:f>
              <c:numCache>
                <c:formatCode>0</c:formatCode>
                <c:ptCount val="10"/>
                <c:pt idx="0">
                  <c:v>0</c:v>
                </c:pt>
                <c:pt idx="1">
                  <c:v>60.112839999999998</c:v>
                </c:pt>
                <c:pt idx="2">
                  <c:v>545.00534532960182</c:v>
                </c:pt>
                <c:pt idx="3">
                  <c:v>1136.9799728615003</c:v>
                </c:pt>
                <c:pt idx="4">
                  <c:v>2668.6760901384005</c:v>
                </c:pt>
                <c:pt idx="5">
                  <c:v>3627.930691003603</c:v>
                </c:pt>
                <c:pt idx="6">
                  <c:v>3320.9298168091527</c:v>
                </c:pt>
                <c:pt idx="7">
                  <c:v>3143.0779752967655</c:v>
                </c:pt>
                <c:pt idx="8">
                  <c:v>2870.8824033877668</c:v>
                </c:pt>
                <c:pt idx="9">
                  <c:v>3003.680786384685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D909-4FC8-9B72-350C36AB1FF1}"/>
            </c:ext>
          </c:extLst>
        </c:ser>
        <c:ser>
          <c:idx val="1"/>
          <c:order val="1"/>
          <c:tx>
            <c:strRef>
              <c:f>'Yhtiöt yhteenveto'!$B$127</c:f>
              <c:strCache>
                <c:ptCount val="1"/>
                <c:pt idx="0">
                  <c:v>LTO, HL ja LP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Yhtiöt yhteenveto'!$C$118:$L$118</c:f>
              <c:numCache>
                <c:formatCode>General</c:formatCode>
                <c:ptCount val="10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  <c:pt idx="4">
                  <c:v>2025</c:v>
                </c:pt>
                <c:pt idx="5">
                  <c:v>2026</c:v>
                </c:pt>
                <c:pt idx="6">
                  <c:v>2027</c:v>
                </c:pt>
                <c:pt idx="7">
                  <c:v>2028</c:v>
                </c:pt>
                <c:pt idx="8">
                  <c:v>2029</c:v>
                </c:pt>
                <c:pt idx="9">
                  <c:v>2030</c:v>
                </c:pt>
              </c:numCache>
              <c:extLst/>
            </c:numRef>
          </c:cat>
          <c:val>
            <c:numRef>
              <c:f>'Yhtiöt yhteenveto'!$C$127:$L$127</c:f>
              <c:numCache>
                <c:formatCode>0</c:formatCode>
                <c:ptCount val="10"/>
                <c:pt idx="0">
                  <c:v>4399.0751024995288</c:v>
                </c:pt>
                <c:pt idx="1">
                  <c:v>4305.4355492009745</c:v>
                </c:pt>
                <c:pt idx="2">
                  <c:v>5322.7744276340482</c:v>
                </c:pt>
                <c:pt idx="3">
                  <c:v>5882.0577079089953</c:v>
                </c:pt>
                <c:pt idx="4">
                  <c:v>7631.5218531093424</c:v>
                </c:pt>
                <c:pt idx="5">
                  <c:v>8799.3857581311877</c:v>
                </c:pt>
                <c:pt idx="6">
                  <c:v>9739.979003131939</c:v>
                </c:pt>
                <c:pt idx="7">
                  <c:v>10703.980089983204</c:v>
                </c:pt>
                <c:pt idx="8">
                  <c:v>11837.580850638147</c:v>
                </c:pt>
                <c:pt idx="9">
                  <c:v>12309.86379394338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D909-4FC8-9B72-350C36AB1F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29325616"/>
        <c:axId val="629320936"/>
      </c:barChart>
      <c:catAx>
        <c:axId val="629325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sz="1400" err="1"/>
                  <a:t>GWh</a:t>
                </a:r>
                <a:endParaRPr lang="fi-FI"/>
              </a:p>
            </c:rich>
          </c:tx>
          <c:layout>
            <c:manualLayout>
              <c:xMode val="edge"/>
              <c:yMode val="edge"/>
              <c:x val="4.0245760654252644E-2"/>
              <c:y val="7.0935869926194757E-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29320936"/>
        <c:crosses val="autoZero"/>
        <c:auto val="1"/>
        <c:lblAlgn val="ctr"/>
        <c:lblOffset val="100"/>
        <c:noMultiLvlLbl val="0"/>
      </c:catAx>
      <c:valAx>
        <c:axId val="629320936"/>
        <c:scaling>
          <c:orientation val="minMax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629325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742695577953633"/>
          <c:y val="0.93799587208622393"/>
          <c:w val="0.24746270420996735"/>
          <c:h val="6.20041279137760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ysClr val="windowText" lastClr="000000"/>
          </a:solidFill>
        </a:defRPr>
      </a:pPr>
      <a:endParaRPr lang="fi-FI"/>
    </a:p>
  </c:txPr>
  <c:externalData r:id="rId4">
    <c:autoUpdate val="0"/>
  </c:externalData>
  <c:userShapes r:id="rId5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806251821563703E-2"/>
          <c:y val="2.8286665484910743E-2"/>
          <c:w val="0.86638749635687262"/>
          <c:h val="0.90389068472670364"/>
        </c:manualLayout>
      </c:layout>
      <c:areaChart>
        <c:grouping val="stacked"/>
        <c:varyColors val="0"/>
        <c:ser>
          <c:idx val="2"/>
          <c:order val="0"/>
          <c:tx>
            <c:strRef>
              <c:f>'[Energialähteet_23_ENNAKKO.xlsx]Energialähteet%_jäte_sk'!$C$5</c:f>
              <c:strCache>
                <c:ptCount val="1"/>
                <c:pt idx="0">
                  <c:v>hiili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solidFill>
                <a:srgbClr val="FFFFFF"/>
              </a:solidFill>
            </a:ln>
            <a:effectLst/>
          </c:spPr>
          <c:cat>
            <c:numRef>
              <c:f>'[Energialähteet_23_ENNAKKO.xlsx]Energialähteet%_jäte_sk'!$A$8:$A$62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  <c:extLst/>
            </c:numRef>
          </c:cat>
          <c:val>
            <c:numRef>
              <c:f>'[Energialähteet_23_ENNAKKO.xlsx]Energialähteet%_jäte_sk'!$C$8:$C$62</c:f>
              <c:numCache>
                <c:formatCode>0.0\ %</c:formatCode>
                <c:ptCount val="41"/>
                <c:pt idx="0">
                  <c:v>0.43600000000000005</c:v>
                </c:pt>
                <c:pt idx="1">
                  <c:v>0.45100000000000007</c:v>
                </c:pt>
                <c:pt idx="2">
                  <c:v>0.41</c:v>
                </c:pt>
                <c:pt idx="3">
                  <c:v>0.41200000000000003</c:v>
                </c:pt>
                <c:pt idx="4">
                  <c:v>0.40200000000000002</c:v>
                </c:pt>
                <c:pt idx="5">
                  <c:v>0.375</c:v>
                </c:pt>
                <c:pt idx="6">
                  <c:v>0.37630000000000002</c:v>
                </c:pt>
                <c:pt idx="7">
                  <c:v>0.36109999999999998</c:v>
                </c:pt>
                <c:pt idx="8">
                  <c:v>0.29459999999999997</c:v>
                </c:pt>
                <c:pt idx="9">
                  <c:v>0.2782</c:v>
                </c:pt>
                <c:pt idx="10">
                  <c:v>0.26440080437734348</c:v>
                </c:pt>
                <c:pt idx="11">
                  <c:v>0.27427085442116583</c:v>
                </c:pt>
                <c:pt idx="12">
                  <c:v>0.26223367953172005</c:v>
                </c:pt>
                <c:pt idx="13">
                  <c:v>0.26059183104079109</c:v>
                </c:pt>
                <c:pt idx="14">
                  <c:v>0.25055368896783659</c:v>
                </c:pt>
                <c:pt idx="15">
                  <c:v>0.23599723836692238</c:v>
                </c:pt>
                <c:pt idx="16">
                  <c:v>0.25409263899218237</c:v>
                </c:pt>
                <c:pt idx="17">
                  <c:v>0.23994714821714053</c:v>
                </c:pt>
                <c:pt idx="18">
                  <c:v>0.21753633230878905</c:v>
                </c:pt>
                <c:pt idx="19">
                  <c:v>0.22212720101344915</c:v>
                </c:pt>
                <c:pt idx="20">
                  <c:v>0.20476906418638249</c:v>
                </c:pt>
                <c:pt idx="21">
                  <c:v>0.22702136640176715</c:v>
                </c:pt>
                <c:pt idx="22">
                  <c:v>0.2233224709386008</c:v>
                </c:pt>
                <c:pt idx="23">
                  <c:v>0.24115404805963284</c:v>
                </c:pt>
                <c:pt idx="24">
                  <c:v>0.22423575500001328</c:v>
                </c:pt>
                <c:pt idx="25">
                  <c:v>0.19569022689278859</c:v>
                </c:pt>
                <c:pt idx="26">
                  <c:v>0.22913798977304509</c:v>
                </c:pt>
                <c:pt idx="27">
                  <c:v>0.22891851972397068</c:v>
                </c:pt>
                <c:pt idx="28">
                  <c:v>0.19440222439228816</c:v>
                </c:pt>
                <c:pt idx="29">
                  <c:v>0.17641324334937211</c:v>
                </c:pt>
                <c:pt idx="30">
                  <c:v>0.11486118239672327</c:v>
                </c:pt>
                <c:pt idx="31">
                  <c:v>0.11481447544482958</c:v>
                </c:pt>
                <c:pt idx="32">
                  <c:v>0.15235359883741345</c:v>
                </c:pt>
                <c:pt idx="33">
                  <c:v>8.0048935371167987E-2</c:v>
                </c:pt>
                <c:pt idx="34">
                  <c:v>6.5968623651059169E-2</c:v>
                </c:pt>
                <c:pt idx="35">
                  <c:v>2.2375329152047312E-2</c:v>
                </c:pt>
                <c:pt idx="36">
                  <c:v>1.9359662521762076E-3</c:v>
                </c:pt>
                <c:pt idx="37">
                  <c:v>1.6567540791699164E-3</c:v>
                </c:pt>
                <c:pt idx="38">
                  <c:v>1.2382167541169064E-3</c:v>
                </c:pt>
                <c:pt idx="39">
                  <c:v>1.0465973135419322E-3</c:v>
                </c:pt>
                <c:pt idx="40">
                  <c:v>1.0469081346801043E-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F393-4154-8FF1-732089AF7A91}"/>
            </c:ext>
          </c:extLst>
        </c:ser>
        <c:ser>
          <c:idx val="1"/>
          <c:order val="1"/>
          <c:tx>
            <c:strRef>
              <c:f>'[Energialähteet_23_ENNAKKO.xlsx]Energialähteet%_jäte_sk'!$B$5</c:f>
              <c:strCache>
                <c:ptCount val="1"/>
                <c:pt idx="0">
                  <c:v>öljy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cat>
            <c:numRef>
              <c:f>'[Energialähteet_23_ENNAKKO.xlsx]Energialähteet%_jäte_sk'!$A$8:$A$62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  <c:extLst/>
            </c:numRef>
          </c:cat>
          <c:val>
            <c:numRef>
              <c:f>'[Energialähteet_23_ENNAKKO.xlsx]Energialähteet%_jäte_sk'!$B$8:$B$62</c:f>
              <c:numCache>
                <c:formatCode>0.0\ %</c:formatCode>
                <c:ptCount val="41"/>
                <c:pt idx="0">
                  <c:v>0.11</c:v>
                </c:pt>
                <c:pt idx="1">
                  <c:v>0.10400000000000001</c:v>
                </c:pt>
                <c:pt idx="2">
                  <c:v>0.10199999999999999</c:v>
                </c:pt>
                <c:pt idx="3">
                  <c:v>9.4E-2</c:v>
                </c:pt>
                <c:pt idx="4">
                  <c:v>0.1</c:v>
                </c:pt>
                <c:pt idx="5">
                  <c:v>8.6999999999999994E-2</c:v>
                </c:pt>
                <c:pt idx="6">
                  <c:v>8.2400000000000001E-2</c:v>
                </c:pt>
                <c:pt idx="7">
                  <c:v>6.0199999999999997E-2</c:v>
                </c:pt>
                <c:pt idx="8">
                  <c:v>7.0900000000000005E-2</c:v>
                </c:pt>
                <c:pt idx="9">
                  <c:v>7.85E-2</c:v>
                </c:pt>
                <c:pt idx="10">
                  <c:v>8.4100444381102299E-2</c:v>
                </c:pt>
                <c:pt idx="11">
                  <c:v>9.141291655628643E-2</c:v>
                </c:pt>
                <c:pt idx="12">
                  <c:v>8.3644023605498524E-2</c:v>
                </c:pt>
                <c:pt idx="13">
                  <c:v>8.0872220066667749E-2</c:v>
                </c:pt>
                <c:pt idx="14">
                  <c:v>6.4109623871972082E-2</c:v>
                </c:pt>
                <c:pt idx="15">
                  <c:v>5.7347610346760218E-2</c:v>
                </c:pt>
                <c:pt idx="16">
                  <c:v>6.3640519823831274E-2</c:v>
                </c:pt>
                <c:pt idx="17">
                  <c:v>6.5904158205790264E-2</c:v>
                </c:pt>
                <c:pt idx="18">
                  <c:v>4.874517866634949E-2</c:v>
                </c:pt>
                <c:pt idx="19">
                  <c:v>7.2848323865800146E-2</c:v>
                </c:pt>
                <c:pt idx="20">
                  <c:v>7.1663113564089984E-2</c:v>
                </c:pt>
                <c:pt idx="21">
                  <c:v>4.6647173839300032E-2</c:v>
                </c:pt>
                <c:pt idx="22">
                  <c:v>5.0258783246717405E-2</c:v>
                </c:pt>
                <c:pt idx="23">
                  <c:v>2.9499950112475162E-2</c:v>
                </c:pt>
                <c:pt idx="24">
                  <c:v>2.813987186714435E-2</c:v>
                </c:pt>
                <c:pt idx="25">
                  <c:v>2.9404192621838063E-2</c:v>
                </c:pt>
                <c:pt idx="26">
                  <c:v>3.064191277253879E-2</c:v>
                </c:pt>
                <c:pt idx="27">
                  <c:v>2.1658228956033945E-2</c:v>
                </c:pt>
                <c:pt idx="28">
                  <c:v>2.2121827625443617E-2</c:v>
                </c:pt>
                <c:pt idx="29">
                  <c:v>1.9300571504350474E-2</c:v>
                </c:pt>
                <c:pt idx="30">
                  <c:v>1.2497829605267106E-2</c:v>
                </c:pt>
                <c:pt idx="31">
                  <c:v>2.9795587399925466E-2</c:v>
                </c:pt>
                <c:pt idx="32">
                  <c:v>5.6687956030201186E-2</c:v>
                </c:pt>
                <c:pt idx="33">
                  <c:v>2.7202394526551363E-2</c:v>
                </c:pt>
                <c:pt idx="34">
                  <c:v>1.1494081669606417E-2</c:v>
                </c:pt>
                <c:pt idx="35">
                  <c:v>5.4624951874947449E-3</c:v>
                </c:pt>
                <c:pt idx="36">
                  <c:v>4.4345860297682676E-3</c:v>
                </c:pt>
                <c:pt idx="37">
                  <c:v>4.6769443536175638E-3</c:v>
                </c:pt>
                <c:pt idx="38">
                  <c:v>3.2216430219536634E-3</c:v>
                </c:pt>
                <c:pt idx="39">
                  <c:v>2.7694675030626378E-3</c:v>
                </c:pt>
                <c:pt idx="40">
                  <c:v>2.4335379229865972E-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F393-4154-8FF1-732089AF7A91}"/>
            </c:ext>
          </c:extLst>
        </c:ser>
        <c:ser>
          <c:idx val="3"/>
          <c:order val="2"/>
          <c:tx>
            <c:strRef>
              <c:f>'[Energialähteet_23_ENNAKKO.xlsx]Energialähteet%_jäte_sk'!$D$5</c:f>
              <c:strCache>
                <c:ptCount val="1"/>
                <c:pt idx="0">
                  <c:v>maakaasu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  <a:effectLst/>
          </c:spPr>
          <c:cat>
            <c:numRef>
              <c:f>'[Energialähteet_23_ENNAKKO.xlsx]Energialähteet%_jäte_sk'!$A$8:$A$62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  <c:extLst/>
            </c:numRef>
          </c:cat>
          <c:val>
            <c:numRef>
              <c:f>'[Energialähteet_23_ENNAKKO.xlsx]Energialähteet%_jäte_sk'!$D$8:$D$62</c:f>
              <c:numCache>
                <c:formatCode>0.0\ %</c:formatCode>
                <c:ptCount val="41"/>
                <c:pt idx="0">
                  <c:v>0.21099999999999997</c:v>
                </c:pt>
                <c:pt idx="1">
                  <c:v>0.20299999999999996</c:v>
                </c:pt>
                <c:pt idx="2">
                  <c:v>0.24</c:v>
                </c:pt>
                <c:pt idx="3">
                  <c:v>0.252</c:v>
                </c:pt>
                <c:pt idx="4">
                  <c:v>0.248</c:v>
                </c:pt>
                <c:pt idx="5">
                  <c:v>0.26299999999999996</c:v>
                </c:pt>
                <c:pt idx="6">
                  <c:v>0.25940000000000002</c:v>
                </c:pt>
                <c:pt idx="7">
                  <c:v>0.2898</c:v>
                </c:pt>
                <c:pt idx="8">
                  <c:v>0.34239999999999998</c:v>
                </c:pt>
                <c:pt idx="9">
                  <c:v>0.35649999999999998</c:v>
                </c:pt>
                <c:pt idx="10">
                  <c:v>0.34488584219441615</c:v>
                </c:pt>
                <c:pt idx="11">
                  <c:v>0.31005370092612039</c:v>
                </c:pt>
                <c:pt idx="12">
                  <c:v>0.31766941781824992</c:v>
                </c:pt>
                <c:pt idx="13">
                  <c:v>0.30737565307073739</c:v>
                </c:pt>
                <c:pt idx="14">
                  <c:v>0.32993216466691783</c:v>
                </c:pt>
                <c:pt idx="15">
                  <c:v>0.33756330185212702</c:v>
                </c:pt>
                <c:pt idx="16">
                  <c:v>0.29743459342582679</c:v>
                </c:pt>
                <c:pt idx="17">
                  <c:v>0.29432140220582664</c:v>
                </c:pt>
                <c:pt idx="18">
                  <c:v>0.31545070670249054</c:v>
                </c:pt>
                <c:pt idx="19">
                  <c:v>0.28982256315894406</c:v>
                </c:pt>
                <c:pt idx="20">
                  <c:v>0.30220783707209753</c:v>
                </c:pt>
                <c:pt idx="21">
                  <c:v>0.24182417345861767</c:v>
                </c:pt>
                <c:pt idx="22">
                  <c:v>0.24771891917703087</c:v>
                </c:pt>
                <c:pt idx="23">
                  <c:v>0.22522069025419447</c:v>
                </c:pt>
                <c:pt idx="24">
                  <c:v>0.19554329630883938</c:v>
                </c:pt>
                <c:pt idx="25">
                  <c:v>0.16806597864511913</c:v>
                </c:pt>
                <c:pt idx="26">
                  <c:v>0.12540554714662752</c:v>
                </c:pt>
                <c:pt idx="27">
                  <c:v>9.9782070214724738E-2</c:v>
                </c:pt>
                <c:pt idx="28">
                  <c:v>0.12643355843502393</c:v>
                </c:pt>
                <c:pt idx="29">
                  <c:v>0.10732255242389084</c:v>
                </c:pt>
                <c:pt idx="30">
                  <c:v>0.11397261235453215</c:v>
                </c:pt>
                <c:pt idx="31">
                  <c:v>0.10004224260773817</c:v>
                </c:pt>
                <c:pt idx="32">
                  <c:v>3.1217499322922129E-2</c:v>
                </c:pt>
                <c:pt idx="33">
                  <c:v>6.2805474164469396E-2</c:v>
                </c:pt>
                <c:pt idx="34">
                  <c:v>7.2400268057146194E-2</c:v>
                </c:pt>
                <c:pt idx="35">
                  <c:v>5.6326665749383373E-2</c:v>
                </c:pt>
                <c:pt idx="36">
                  <c:v>4.5956770687006203E-2</c:v>
                </c:pt>
                <c:pt idx="37">
                  <c:v>5.0109453983209998E-2</c:v>
                </c:pt>
                <c:pt idx="38">
                  <c:v>5.0357025169712417E-2</c:v>
                </c:pt>
                <c:pt idx="39">
                  <c:v>4.2818314375325676E-2</c:v>
                </c:pt>
                <c:pt idx="40">
                  <c:v>1.2319972035813609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F393-4154-8FF1-732089AF7A91}"/>
            </c:ext>
          </c:extLst>
        </c:ser>
        <c:ser>
          <c:idx val="4"/>
          <c:order val="3"/>
          <c:tx>
            <c:strRef>
              <c:f>'[Energialähteet_23_ENNAKKO.xlsx]Energialähteet%_jäte_sk'!$E$5</c:f>
              <c:strCache>
                <c:ptCount val="1"/>
                <c:pt idx="0">
                  <c:v>turve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  <a:effectLst/>
          </c:spPr>
          <c:cat>
            <c:numRef>
              <c:f>'[Energialähteet_23_ENNAKKO.xlsx]Energialähteet%_jäte_sk'!$A$8:$A$62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  <c:extLst/>
            </c:numRef>
          </c:cat>
          <c:val>
            <c:numRef>
              <c:f>'[Energialähteet_23_ENNAKKO.xlsx]Energialähteet%_jäte_sk'!$E$8:$E$62</c:f>
              <c:numCache>
                <c:formatCode>0.0\ %</c:formatCode>
                <c:ptCount val="41"/>
                <c:pt idx="0">
                  <c:v>0.19899999999999995</c:v>
                </c:pt>
                <c:pt idx="1">
                  <c:v>0.19900000000000007</c:v>
                </c:pt>
                <c:pt idx="2">
                  <c:v>0.20499999999999999</c:v>
                </c:pt>
                <c:pt idx="3">
                  <c:v>0.19500000000000001</c:v>
                </c:pt>
                <c:pt idx="4">
                  <c:v>0.19500000000000001</c:v>
                </c:pt>
                <c:pt idx="5">
                  <c:v>0.217</c:v>
                </c:pt>
                <c:pt idx="6">
                  <c:v>0.214</c:v>
                </c:pt>
                <c:pt idx="7">
                  <c:v>0.2117</c:v>
                </c:pt>
                <c:pt idx="8">
                  <c:v>0.20050000000000001</c:v>
                </c:pt>
                <c:pt idx="9">
                  <c:v>0.1875</c:v>
                </c:pt>
                <c:pt idx="10">
                  <c:v>0.18992087068012578</c:v>
                </c:pt>
                <c:pt idx="11">
                  <c:v>0.20717384236362293</c:v>
                </c:pt>
                <c:pt idx="12">
                  <c:v>0.20479586603561234</c:v>
                </c:pt>
                <c:pt idx="13">
                  <c:v>0.21523045881292754</c:v>
                </c:pt>
                <c:pt idx="14">
                  <c:v>0.20150853379007114</c:v>
                </c:pt>
                <c:pt idx="15">
                  <c:v>0.17684324896447948</c:v>
                </c:pt>
                <c:pt idx="16">
                  <c:v>0.20067130734592598</c:v>
                </c:pt>
                <c:pt idx="17">
                  <c:v>0.21882026316015857</c:v>
                </c:pt>
                <c:pt idx="18">
                  <c:v>0.19640577932404144</c:v>
                </c:pt>
                <c:pt idx="19">
                  <c:v>0.17208377522391255</c:v>
                </c:pt>
                <c:pt idx="20">
                  <c:v>0.19223668225483354</c:v>
                </c:pt>
                <c:pt idx="21">
                  <c:v>0.19408249843238751</c:v>
                </c:pt>
                <c:pt idx="22">
                  <c:v>0.16162902322592157</c:v>
                </c:pt>
                <c:pt idx="23">
                  <c:v>0.13868927320769997</c:v>
                </c:pt>
                <c:pt idx="24">
                  <c:v>0.14576112461172713</c:v>
                </c:pt>
                <c:pt idx="25">
                  <c:v>0.16219172168746174</c:v>
                </c:pt>
                <c:pt idx="26">
                  <c:v>0.14744430814360446</c:v>
                </c:pt>
                <c:pt idx="27">
                  <c:v>0.14537529235898702</c:v>
                </c:pt>
                <c:pt idx="28">
                  <c:v>0.15534052664231135</c:v>
                </c:pt>
                <c:pt idx="29">
                  <c:v>0.15334277722379427</c:v>
                </c:pt>
                <c:pt idx="30">
                  <c:v>0.14104054095232152</c:v>
                </c:pt>
                <c:pt idx="31">
                  <c:v>0.10581351810186097</c:v>
                </c:pt>
                <c:pt idx="32">
                  <c:v>0.10134949421379638</c:v>
                </c:pt>
                <c:pt idx="33">
                  <c:v>8.3527405127061791E-2</c:v>
                </c:pt>
                <c:pt idx="34">
                  <c:v>5.0131720584801615E-2</c:v>
                </c:pt>
                <c:pt idx="35">
                  <c:v>3.3891960619251725E-2</c:v>
                </c:pt>
                <c:pt idx="36">
                  <c:v>2.2482480389166955E-2</c:v>
                </c:pt>
                <c:pt idx="37">
                  <c:v>1.5396697503018791E-2</c:v>
                </c:pt>
                <c:pt idx="38">
                  <c:v>1.2240748080694152E-2</c:v>
                </c:pt>
                <c:pt idx="39">
                  <c:v>8.2467923469831932E-3</c:v>
                </c:pt>
                <c:pt idx="40">
                  <c:v>5.1280362343395849E-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F393-4154-8FF1-732089AF7A91}"/>
            </c:ext>
          </c:extLst>
        </c:ser>
        <c:ser>
          <c:idx val="8"/>
          <c:order val="4"/>
          <c:tx>
            <c:strRef>
              <c:f>'[Energialähteet_23_ENNAKKO.xlsx]Energialähteet%_jäte_sk'!$I$5</c:f>
              <c:strCache>
                <c:ptCount val="1"/>
                <c:pt idx="0">
                  <c:v>sähkökattila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chemeClr val="bg1"/>
              </a:solidFill>
            </a:ln>
            <a:effectLst/>
          </c:spPr>
          <c:cat>
            <c:numRef>
              <c:f>'[Energialähteet_23_ENNAKKO.xlsx]Energialähteet%_jäte_sk'!$A$8:$A$62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  <c:extLst/>
            </c:numRef>
          </c:cat>
          <c:val>
            <c:numRef>
              <c:f>'[Energialähteet_23_ENNAKKO.xlsx]Energialähteet%_jäte_sk'!$I$8:$I$62</c:f>
              <c:numCache>
                <c:formatCode>General</c:formatCode>
                <c:ptCount val="41"/>
                <c:pt idx="20" formatCode="0.0\ %">
                  <c:v>1.5264703081371072E-3</c:v>
                </c:pt>
                <c:pt idx="21" formatCode="0.0\ %">
                  <c:v>1.6749909870878786E-3</c:v>
                </c:pt>
                <c:pt idx="22" formatCode="0.0\ %">
                  <c:v>4.1643622429490155E-3</c:v>
                </c:pt>
                <c:pt idx="23" formatCode="0.0\ %">
                  <c:v>4.4507028461968955E-3</c:v>
                </c:pt>
                <c:pt idx="24" formatCode="0.0\ %">
                  <c:v>5.3572432930224963E-3</c:v>
                </c:pt>
                <c:pt idx="25" formatCode="0.0\ %">
                  <c:v>9.5731036316058782E-3</c:v>
                </c:pt>
                <c:pt idx="26" formatCode="0.0\ %">
                  <c:v>2.6613121378891492E-4</c:v>
                </c:pt>
                <c:pt idx="27" formatCode="0.0\ %">
                  <c:v>2.949343040879771E-3</c:v>
                </c:pt>
                <c:pt idx="28" formatCode="0.0\ %">
                  <c:v>2.7894905734417927E-3</c:v>
                </c:pt>
                <c:pt idx="29" formatCode="0.0\ %">
                  <c:v>2.2558771878073525E-3</c:v>
                </c:pt>
                <c:pt idx="30" formatCode="0.0\ %">
                  <c:v>1.559668124722886E-5</c:v>
                </c:pt>
                <c:pt idx="31" formatCode="0%">
                  <c:v>3.8436523288698889E-4</c:v>
                </c:pt>
                <c:pt idx="32" formatCode="0.0\ %">
                  <c:v>1.4542903732158632E-3</c:v>
                </c:pt>
                <c:pt idx="33" formatCode="0.0\ %">
                  <c:v>2.0422138907649788E-2</c:v>
                </c:pt>
                <c:pt idx="34" formatCode="0.0\ %">
                  <c:v>3.6252984841728231E-2</c:v>
                </c:pt>
                <c:pt idx="35" formatCode="0.0\ %">
                  <c:v>8.5080406726853061E-2</c:v>
                </c:pt>
                <c:pt idx="36" formatCode="0.0\ %">
                  <c:v>0.11591588290865058</c:v>
                </c:pt>
                <c:pt idx="37" formatCode="0.0\ %">
                  <c:v>0.10631163715778585</c:v>
                </c:pt>
                <c:pt idx="38" formatCode="0.0\ %">
                  <c:v>0.1008250560526768</c:v>
                </c:pt>
                <c:pt idx="39" formatCode="0.0\ %">
                  <c:v>9.228126654871785E-2</c:v>
                </c:pt>
                <c:pt idx="40" formatCode="0.0\ %">
                  <c:v>9.677213823111265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F393-4154-8FF1-732089AF7A91}"/>
            </c:ext>
          </c:extLst>
        </c:ser>
        <c:ser>
          <c:idx val="6"/>
          <c:order val="5"/>
          <c:tx>
            <c:strRef>
              <c:f>'[Energialähteet_23_ENNAKKO.xlsx]Energialähteet%_jäte_sk'!$G$5</c:f>
              <c:strCache>
                <c:ptCount val="1"/>
                <c:pt idx="0">
                  <c:v>hukkalämmö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  <a:effectLst/>
          </c:spPr>
          <c:cat>
            <c:numRef>
              <c:f>'[Energialähteet_23_ENNAKKO.xlsx]Energialähteet%_jäte_sk'!$A$8:$A$62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  <c:extLst/>
            </c:numRef>
          </c:cat>
          <c:val>
            <c:numRef>
              <c:f>'[Energialähteet_23_ENNAKKO.xlsx]Energialähteet%_jäte_sk'!$G$8:$G$62</c:f>
              <c:numCache>
                <c:formatCode>General</c:formatCode>
                <c:ptCount val="41"/>
                <c:pt idx="10" formatCode="0.0\ %">
                  <c:v>3.717107832177477E-3</c:v>
                </c:pt>
                <c:pt idx="11" formatCode="0.0\ %">
                  <c:v>9.1127751831781567E-3</c:v>
                </c:pt>
                <c:pt idx="12" formatCode="0.0\ %">
                  <c:v>1.0219795297384787E-2</c:v>
                </c:pt>
                <c:pt idx="13" formatCode="0.0\ %">
                  <c:v>1.6319448705684178E-2</c:v>
                </c:pt>
                <c:pt idx="14" formatCode="0.0\ %">
                  <c:v>1.5942104691630904E-2</c:v>
                </c:pt>
                <c:pt idx="15" formatCode="0.0\ %">
                  <c:v>2.0249989913693131E-2</c:v>
                </c:pt>
                <c:pt idx="16" formatCode="0.0\ %">
                  <c:v>2.2541895873457771E-2</c:v>
                </c:pt>
                <c:pt idx="17" formatCode="0.0\ %">
                  <c:v>2.3852221667891145E-2</c:v>
                </c:pt>
                <c:pt idx="18" formatCode="0.0\ %">
                  <c:v>3.1236029049507015E-2</c:v>
                </c:pt>
                <c:pt idx="19" formatCode="0.0\ %">
                  <c:v>3.3994943527232271E-2</c:v>
                </c:pt>
                <c:pt idx="20" formatCode="0.0\ %">
                  <c:v>2.050341655324011E-2</c:v>
                </c:pt>
                <c:pt idx="21" formatCode="0.0\ %">
                  <c:v>3.2804851610687351E-2</c:v>
                </c:pt>
                <c:pt idx="22" formatCode="0.0\ %">
                  <c:v>3.1696905909251477E-2</c:v>
                </c:pt>
                <c:pt idx="23" formatCode="0.0\ %">
                  <c:v>3.3479973471167504E-2</c:v>
                </c:pt>
                <c:pt idx="24" formatCode="0.0\ %">
                  <c:v>3.7948590404656854E-2</c:v>
                </c:pt>
                <c:pt idx="25" formatCode="0.0\ %">
                  <c:v>4.536922171907122E-2</c:v>
                </c:pt>
                <c:pt idx="26" formatCode="0.0\ %">
                  <c:v>8.285774960124058E-2</c:v>
                </c:pt>
                <c:pt idx="27" formatCode="0.0\ %">
                  <c:v>9.17313601880273E-2</c:v>
                </c:pt>
                <c:pt idx="28" formatCode="0.0\ %">
                  <c:v>9.1571306123787513E-2</c:v>
                </c:pt>
                <c:pt idx="29" formatCode="0.0\ %">
                  <c:v>0.10574200766168089</c:v>
                </c:pt>
                <c:pt idx="30" formatCode="0.0\ %">
                  <c:v>0.13678947618069009</c:v>
                </c:pt>
                <c:pt idx="31" formatCode="0%">
                  <c:v>0.14061934275408805</c:v>
                </c:pt>
                <c:pt idx="32" formatCode="0.0\ %">
                  <c:v>0.13365013291019232</c:v>
                </c:pt>
                <c:pt idx="33" formatCode="0.0\ %">
                  <c:v>0.1711512781412057</c:v>
                </c:pt>
                <c:pt idx="34" formatCode="0.0\ %">
                  <c:v>0.18755136766949132</c:v>
                </c:pt>
                <c:pt idx="35" formatCode="0.0\ %">
                  <c:v>0.24330153277377967</c:v>
                </c:pt>
                <c:pt idx="36" formatCode="0.0\ %">
                  <c:v>0.28114885759447089</c:v>
                </c:pt>
                <c:pt idx="37" formatCode="0.0\ %">
                  <c:v>0.31180216711123648</c:v>
                </c:pt>
                <c:pt idx="38" formatCode="0.0\ %">
                  <c:v>0.34336704372006349</c:v>
                </c:pt>
                <c:pt idx="39" formatCode="0.0\ %">
                  <c:v>0.38050564261380848</c:v>
                </c:pt>
                <c:pt idx="40" formatCode="0.0\ %">
                  <c:v>0.3965973501823016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5-F393-4154-8FF1-732089AF7A91}"/>
            </c:ext>
          </c:extLst>
        </c:ser>
        <c:ser>
          <c:idx val="7"/>
          <c:order val="6"/>
          <c:tx>
            <c:strRef>
              <c:f>'[Energialähteet_23_ENNAKKO.xlsx]Energialähteet%_jäte_sk'!$H$5</c:f>
              <c:strCache>
                <c:ptCount val="1"/>
                <c:pt idx="0">
                  <c:v>jäte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  <a:effectLst/>
          </c:spPr>
          <c:cat>
            <c:numRef>
              <c:f>'[Energialähteet_23_ENNAKKO.xlsx]Energialähteet%_jäte_sk'!$A$8:$A$62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  <c:extLst/>
            </c:numRef>
          </c:cat>
          <c:val>
            <c:numRef>
              <c:f>'[Energialähteet_23_ENNAKKO.xlsx]Energialähteet%_jäte_sk'!$H$8:$H$62</c:f>
              <c:numCache>
                <c:formatCode>General</c:formatCode>
                <c:ptCount val="41"/>
                <c:pt idx="20" formatCode="0.0\ %">
                  <c:v>1.636686055272751E-2</c:v>
                </c:pt>
                <c:pt idx="21" formatCode="0.0\ %">
                  <c:v>1.8048675737519497E-2</c:v>
                </c:pt>
                <c:pt idx="22" formatCode="0.0\ %">
                  <c:v>1.9488598174789755E-2</c:v>
                </c:pt>
                <c:pt idx="23" formatCode="0.0\ %">
                  <c:v>3.5124616990584778E-2</c:v>
                </c:pt>
                <c:pt idx="24" formatCode="0.0\ %">
                  <c:v>5.181902936272037E-2</c:v>
                </c:pt>
                <c:pt idx="25" formatCode="0.0\ %">
                  <c:v>5.7848740881987444E-2</c:v>
                </c:pt>
                <c:pt idx="26" formatCode="0.0\ %">
                  <c:v>6.5875026955688587E-2</c:v>
                </c:pt>
                <c:pt idx="27" formatCode="0.0\ %">
                  <c:v>7.5626396803478185E-2</c:v>
                </c:pt>
                <c:pt idx="28" formatCode="0.0\ %">
                  <c:v>7.2863252989872951E-2</c:v>
                </c:pt>
                <c:pt idx="29" formatCode="0.0\ %">
                  <c:v>8.0137619987319039E-2</c:v>
                </c:pt>
                <c:pt idx="30" formatCode="0.0\ %">
                  <c:v>9.1704234838003787E-2</c:v>
                </c:pt>
                <c:pt idx="31" formatCode="0%">
                  <c:v>7.8058726132822623E-2</c:v>
                </c:pt>
                <c:pt idx="32" formatCode="0.0\ %">
                  <c:v>8.4734534737586922E-2</c:v>
                </c:pt>
                <c:pt idx="33" formatCode="0.0\ %">
                  <c:v>9.1183055299277407E-2</c:v>
                </c:pt>
                <c:pt idx="34" formatCode="0%">
                  <c:v>9.3052840648012364E-2</c:v>
                </c:pt>
                <c:pt idx="35" formatCode="0%">
                  <c:v>8.890306470392538E-2</c:v>
                </c:pt>
                <c:pt idx="36" formatCode="0%">
                  <c:v>8.7916260783025738E-2</c:v>
                </c:pt>
                <c:pt idx="37" formatCode="0%">
                  <c:v>8.7497354150232798E-2</c:v>
                </c:pt>
                <c:pt idx="38" formatCode="0%">
                  <c:v>8.3581409822691313E-2</c:v>
                </c:pt>
                <c:pt idx="39" formatCode="0%">
                  <c:v>8.1713919956948169E-2</c:v>
                </c:pt>
                <c:pt idx="40" formatCode="0%">
                  <c:v>8.0020267022812425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6-F393-4154-8FF1-732089AF7A91}"/>
            </c:ext>
          </c:extLst>
        </c:ser>
        <c:ser>
          <c:idx val="5"/>
          <c:order val="7"/>
          <c:tx>
            <c:strRef>
              <c:f>'[Energialähteet_23_ENNAKKO.xlsx]Energialähteet%_jäte_sk'!$F$5</c:f>
              <c:strCache>
                <c:ptCount val="1"/>
                <c:pt idx="0">
                  <c:v>puu, muu bio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cat>
            <c:numRef>
              <c:f>'[Energialähteet_23_ENNAKKO.xlsx]Energialähteet%_jäte_sk'!$A$8:$A$62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  <c:extLst/>
            </c:numRef>
          </c:cat>
          <c:val>
            <c:numRef>
              <c:f>'[Energialähteet_23_ENNAKKO.xlsx]Energialähteet%_jäte_sk'!$F$8:$F$62</c:f>
              <c:numCache>
                <c:formatCode>0.0\ %</c:formatCode>
                <c:ptCount val="41"/>
                <c:pt idx="0">
                  <c:v>2.2144935180530262E-2</c:v>
                </c:pt>
                <c:pt idx="1">
                  <c:v>2.1559803562190141E-2</c:v>
                </c:pt>
                <c:pt idx="2">
                  <c:v>2.3415897222866435E-2</c:v>
                </c:pt>
                <c:pt idx="3">
                  <c:v>3.1934055943545973E-2</c:v>
                </c:pt>
                <c:pt idx="4">
                  <c:v>4.2985531987336054E-2</c:v>
                </c:pt>
                <c:pt idx="5">
                  <c:v>4.6541036044338575E-2</c:v>
                </c:pt>
                <c:pt idx="6">
                  <c:v>5.5146809520580459E-2</c:v>
                </c:pt>
                <c:pt idx="7">
                  <c:v>6.28941318503487E-2</c:v>
                </c:pt>
                <c:pt idx="8">
                  <c:v>6.6388221654142057E-2</c:v>
                </c:pt>
                <c:pt idx="9">
                  <c:v>7.4999999999999997E-2</c:v>
                </c:pt>
                <c:pt idx="10">
                  <c:v>9.801975471144557E-2</c:v>
                </c:pt>
                <c:pt idx="11">
                  <c:v>9.2722454254792488E-2</c:v>
                </c:pt>
                <c:pt idx="12">
                  <c:v>0.10453342880904605</c:v>
                </c:pt>
                <c:pt idx="13">
                  <c:v>0.10546037598090521</c:v>
                </c:pt>
                <c:pt idx="14">
                  <c:v>0.12634936130149788</c:v>
                </c:pt>
                <c:pt idx="15">
                  <c:v>0.15642099389220193</c:v>
                </c:pt>
                <c:pt idx="16">
                  <c:v>0.14392262898218616</c:v>
                </c:pt>
                <c:pt idx="17">
                  <c:v>0.13974960490939323</c:v>
                </c:pt>
                <c:pt idx="18">
                  <c:v>0.16322034846159073</c:v>
                </c:pt>
                <c:pt idx="19">
                  <c:v>0.18020072617139818</c:v>
                </c:pt>
                <c:pt idx="20">
                  <c:v>0.18143255750873979</c:v>
                </c:pt>
                <c:pt idx="21">
                  <c:v>0.22822995485279707</c:v>
                </c:pt>
                <c:pt idx="22">
                  <c:v>0.24683691409891062</c:v>
                </c:pt>
                <c:pt idx="23">
                  <c:v>0.28141269378463873</c:v>
                </c:pt>
                <c:pt idx="24">
                  <c:v>0.30561739767602214</c:v>
                </c:pt>
                <c:pt idx="25">
                  <c:v>0.32066941798207071</c:v>
                </c:pt>
                <c:pt idx="26">
                  <c:v>0.31155060618597941</c:v>
                </c:pt>
                <c:pt idx="27">
                  <c:v>0.32858379751300837</c:v>
                </c:pt>
                <c:pt idx="28">
                  <c:v>0.3284378399085891</c:v>
                </c:pt>
                <c:pt idx="29">
                  <c:v>0.34927445219943243</c:v>
                </c:pt>
                <c:pt idx="30">
                  <c:v>0.38550996940559717</c:v>
                </c:pt>
                <c:pt idx="31" formatCode="0%">
                  <c:v>0.42787077382529648</c:v>
                </c:pt>
                <c:pt idx="32">
                  <c:v>0.43595702003180775</c:v>
                </c:pt>
                <c:pt idx="33">
                  <c:v>0.46138831517758538</c:v>
                </c:pt>
                <c:pt idx="34" formatCode="0%">
                  <c:v>0.46221786505147217</c:v>
                </c:pt>
                <c:pt idx="35" formatCode="0%">
                  <c:v>0.44146432751641268</c:v>
                </c:pt>
                <c:pt idx="36" formatCode="0%">
                  <c:v>0.41731154288926636</c:v>
                </c:pt>
                <c:pt idx="37" formatCode="0%">
                  <c:v>0.40149010643534272</c:v>
                </c:pt>
                <c:pt idx="38" formatCode="0%">
                  <c:v>0.38596095512039885</c:v>
                </c:pt>
                <c:pt idx="39" formatCode="0%">
                  <c:v>0.37117658299667944</c:v>
                </c:pt>
                <c:pt idx="40" formatCode="0%">
                  <c:v>0.386057114255739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7-F393-4154-8FF1-732089AF7A91}"/>
            </c:ext>
          </c:extLst>
        </c:ser>
        <c:ser>
          <c:idx val="9"/>
          <c:order val="8"/>
          <c:tx>
            <c:strRef>
              <c:f>'[Energialähteet_23_ENNAKKO.xlsx]Energialähteet%_jäte_sk'!$J$5</c:f>
              <c:strCache>
                <c:ptCount val="1"/>
                <c:pt idx="0">
                  <c:v>muu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cat>
            <c:numRef>
              <c:f>'[Energialähteet_23_ENNAKKO.xlsx]Energialähteet%_jäte_sk'!$A$8:$A$62</c:f>
              <c:numCache>
                <c:formatCode>General</c:formatCode>
                <c:ptCount val="41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  <c:pt idx="8">
                  <c:v>1998</c:v>
                </c:pt>
                <c:pt idx="9">
                  <c:v>1999</c:v>
                </c:pt>
                <c:pt idx="10">
                  <c:v>2000</c:v>
                </c:pt>
                <c:pt idx="11">
                  <c:v>2001</c:v>
                </c:pt>
                <c:pt idx="12">
                  <c:v>2002</c:v>
                </c:pt>
                <c:pt idx="13">
                  <c:v>2003</c:v>
                </c:pt>
                <c:pt idx="14">
                  <c:v>2004</c:v>
                </c:pt>
                <c:pt idx="15">
                  <c:v>2005</c:v>
                </c:pt>
                <c:pt idx="16">
                  <c:v>2006</c:v>
                </c:pt>
                <c:pt idx="17">
                  <c:v>2007</c:v>
                </c:pt>
                <c:pt idx="18">
                  <c:v>2008</c:v>
                </c:pt>
                <c:pt idx="19">
                  <c:v>2009</c:v>
                </c:pt>
                <c:pt idx="20">
                  <c:v>2010</c:v>
                </c:pt>
                <c:pt idx="21">
                  <c:v>2011</c:v>
                </c:pt>
                <c:pt idx="22">
                  <c:v>2012</c:v>
                </c:pt>
                <c:pt idx="23">
                  <c:v>2013</c:v>
                </c:pt>
                <c:pt idx="24">
                  <c:v>2014</c:v>
                </c:pt>
                <c:pt idx="25">
                  <c:v>2015</c:v>
                </c:pt>
                <c:pt idx="26">
                  <c:v>2016</c:v>
                </c:pt>
                <c:pt idx="27">
                  <c:v>2017</c:v>
                </c:pt>
                <c:pt idx="28">
                  <c:v>2018</c:v>
                </c:pt>
                <c:pt idx="29">
                  <c:v>2019</c:v>
                </c:pt>
                <c:pt idx="30">
                  <c:v>2020</c:v>
                </c:pt>
                <c:pt idx="31">
                  <c:v>2021</c:v>
                </c:pt>
                <c:pt idx="32">
                  <c:v>2022</c:v>
                </c:pt>
                <c:pt idx="33">
                  <c:v>2023</c:v>
                </c:pt>
                <c:pt idx="34">
                  <c:v>2024</c:v>
                </c:pt>
                <c:pt idx="35">
                  <c:v>2025</c:v>
                </c:pt>
                <c:pt idx="36">
                  <c:v>2026</c:v>
                </c:pt>
                <c:pt idx="37">
                  <c:v>2027</c:v>
                </c:pt>
                <c:pt idx="38">
                  <c:v>2028</c:v>
                </c:pt>
                <c:pt idx="39">
                  <c:v>2029</c:v>
                </c:pt>
                <c:pt idx="40">
                  <c:v>2030</c:v>
                </c:pt>
              </c:numCache>
              <c:extLst/>
            </c:numRef>
          </c:cat>
          <c:val>
            <c:numRef>
              <c:f>'[Energialähteet_23_ENNAKKO.xlsx]Energialähteet%_jäte_sk'!$J$8:$J$62</c:f>
              <c:numCache>
                <c:formatCode>0.0\ %</c:formatCode>
                <c:ptCount val="41"/>
                <c:pt idx="0">
                  <c:v>2.1855064819469749E-2</c:v>
                </c:pt>
                <c:pt idx="1">
                  <c:v>2.1440196437809811E-2</c:v>
                </c:pt>
                <c:pt idx="2">
                  <c:v>1.9584102777133627E-2</c:v>
                </c:pt>
                <c:pt idx="3">
                  <c:v>1.5065944056454006E-2</c:v>
                </c:pt>
                <c:pt idx="4">
                  <c:v>1.2014468012663926E-2</c:v>
                </c:pt>
                <c:pt idx="5">
                  <c:v>1.1458963955661594E-2</c:v>
                </c:pt>
                <c:pt idx="6">
                  <c:v>1.2753190479419585E-2</c:v>
                </c:pt>
                <c:pt idx="7">
                  <c:v>1.4305868149651291E-2</c:v>
                </c:pt>
                <c:pt idx="8">
                  <c:v>2.5211778345857971E-2</c:v>
                </c:pt>
                <c:pt idx="9">
                  <c:v>2.4299999999999988E-2</c:v>
                </c:pt>
                <c:pt idx="10">
                  <c:v>1.4955175823389226E-2</c:v>
                </c:pt>
                <c:pt idx="11">
                  <c:v>1.5253456294833772E-2</c:v>
                </c:pt>
                <c:pt idx="12">
                  <c:v>1.6903788902488288E-2</c:v>
                </c:pt>
                <c:pt idx="13">
                  <c:v>1.4150012322286642E-2</c:v>
                </c:pt>
                <c:pt idx="14">
                  <c:v>1.1604522710073596E-2</c:v>
                </c:pt>
                <c:pt idx="15">
                  <c:v>1.5577616663815677E-2</c:v>
                </c:pt>
                <c:pt idx="16">
                  <c:v>1.7696415556589608E-2</c:v>
                </c:pt>
                <c:pt idx="17">
                  <c:v>1.7405201633799511E-2</c:v>
                </c:pt>
                <c:pt idx="18">
                  <c:v>2.7405625487231702E-2</c:v>
                </c:pt>
                <c:pt idx="19">
                  <c:v>2.8922467039263777E-2</c:v>
                </c:pt>
                <c:pt idx="20">
                  <c:v>9.293997999752078E-3</c:v>
                </c:pt>
                <c:pt idx="21">
                  <c:v>9.6663146798358617E-3</c:v>
                </c:pt>
                <c:pt idx="22">
                  <c:v>1.4884022985828671E-2</c:v>
                </c:pt>
                <c:pt idx="23">
                  <c:v>1.0968051273409439E-2</c:v>
                </c:pt>
                <c:pt idx="24">
                  <c:v>5.5776914758540116E-3</c:v>
                </c:pt>
                <c:pt idx="25">
                  <c:v>1.1187395938057348E-2</c:v>
                </c:pt>
                <c:pt idx="26">
                  <c:v>6.8207282074868114E-3</c:v>
                </c:pt>
                <c:pt idx="27">
                  <c:v>5.3749912008900008E-3</c:v>
                </c:pt>
                <c:pt idx="28">
                  <c:v>6.039973309242011E-3</c:v>
                </c:pt>
                <c:pt idx="29">
                  <c:v>6.2108984623525628E-3</c:v>
                </c:pt>
                <c:pt idx="30">
                  <c:v>3.6085575856175606E-3</c:v>
                </c:pt>
                <c:pt idx="31" formatCode="0%">
                  <c:v>2.6009685005510758E-3</c:v>
                </c:pt>
                <c:pt idx="32">
                  <c:v>2.5954735428640216E-3</c:v>
                </c:pt>
                <c:pt idx="33">
                  <c:v>2.2710032850310536E-3</c:v>
                </c:pt>
                <c:pt idx="34">
                  <c:v>2.0930247826682513E-2</c:v>
                </c:pt>
                <c:pt idx="35">
                  <c:v>2.3194217570852049E-2</c:v>
                </c:pt>
                <c:pt idx="36">
                  <c:v>2.2897652466468799E-2</c:v>
                </c:pt>
                <c:pt idx="37">
                  <c:v>2.1058885226385771E-2</c:v>
                </c:pt>
                <c:pt idx="38">
                  <c:v>1.9207902257692311E-2</c:v>
                </c:pt>
                <c:pt idx="39">
                  <c:v>1.9441416344932683E-2</c:v>
                </c:pt>
                <c:pt idx="40">
                  <c:v>1.9624675980214223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8-F393-4154-8FF1-732089AF7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96685600"/>
        <c:axId val="896683800"/>
      </c:areaChart>
      <c:areaChart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axId val="896673264"/>
        <c:axId val="896673624"/>
        <c:extLst>
          <c:ext xmlns:c15="http://schemas.microsoft.com/office/drawing/2012/chart" uri="{02D57815-91ED-43cb-92C2-25804820EDAC}">
            <c15:filteredAreaSeries>
              <c15:ser>
                <c:idx val="0"/>
                <c:order val="9"/>
                <c:tx>
                  <c:v>dummy</c:v>
                </c:tx>
                <c:spPr>
                  <a:solidFill>
                    <a:srgbClr val="FFFFFF"/>
                  </a:solidFill>
                  <a:ln>
                    <a:noFill/>
                  </a:ln>
                  <a:effectLst/>
                </c:spPr>
                <c:val>
                  <c:numLit>
                    <c:ptCount val="0"/>
                  </c:numLit>
                </c:val>
                <c:extLst>
                  <c:ext xmlns:c16="http://schemas.microsoft.com/office/drawing/2014/chart" uri="{C3380CC4-5D6E-409C-BE32-E72D297353CC}">
                    <c16:uniqueId val="{00000009-F393-4154-8FF1-732089AF7A91}"/>
                  </c:ext>
                </c:extLst>
              </c15:ser>
            </c15:filteredAreaSeries>
          </c:ext>
        </c:extLst>
      </c:areaChart>
      <c:catAx>
        <c:axId val="896685600"/>
        <c:scaling>
          <c:orientation val="minMax"/>
        </c:scaling>
        <c:delete val="0"/>
        <c:axPos val="b"/>
        <c:numFmt formatCode="General" sourceLinked="1"/>
        <c:majorTickMark val="cross"/>
        <c:minorTickMark val="out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896683800"/>
        <c:crosses val="autoZero"/>
        <c:auto val="1"/>
        <c:lblAlgn val="ctr"/>
        <c:lblOffset val="100"/>
        <c:tickLblSkip val="4"/>
        <c:tickMarkSkip val="2"/>
        <c:noMultiLvlLbl val="0"/>
      </c:catAx>
      <c:valAx>
        <c:axId val="896683800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896685600"/>
        <c:crosses val="autoZero"/>
        <c:crossBetween val="midCat"/>
        <c:majorUnit val="0.2"/>
      </c:valAx>
      <c:valAx>
        <c:axId val="896673624"/>
        <c:scaling>
          <c:orientation val="minMax"/>
          <c:max val="1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896673264"/>
        <c:crosses val="max"/>
        <c:crossBetween val="midCat"/>
        <c:majorUnit val="0.2"/>
      </c:valAx>
      <c:catAx>
        <c:axId val="896673264"/>
        <c:scaling>
          <c:orientation val="minMax"/>
        </c:scaling>
        <c:delete val="1"/>
        <c:axPos val="b"/>
        <c:majorTickMark val="out"/>
        <c:minorTickMark val="none"/>
        <c:tickLblPos val="nextTo"/>
        <c:crossAx val="89667362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09513960703206"/>
          <c:y val="0.10338983050847457"/>
          <c:w val="0.77249224405377459"/>
          <c:h val="0.73165888766166665"/>
        </c:manualLayout>
      </c:layout>
      <c:scatterChart>
        <c:scatterStyle val="smoothMarker"/>
        <c:varyColors val="0"/>
        <c:ser>
          <c:idx val="0"/>
          <c:order val="0"/>
          <c:tx>
            <c:strRef>
              <c:f>Taul1!$J$4</c:f>
              <c:strCache>
                <c:ptCount val="1"/>
                <c:pt idx="0">
                  <c:v>Asiakkaiden lukumäärä</c:v>
                </c:pt>
              </c:strCache>
            </c:strRef>
          </c:tx>
          <c:spPr>
            <a:ln w="38100">
              <a:solidFill>
                <a:schemeClr val="accent4"/>
              </a:solidFill>
              <a:prstDash val="solid"/>
            </a:ln>
          </c:spPr>
          <c:marker>
            <c:symbol val="none"/>
          </c:marker>
          <c:xVal>
            <c:numRef>
              <c:f>Taul1!$I$46:$I$59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xVal>
          <c:yVal>
            <c:numRef>
              <c:f>Taul1!$J$46:$J$59</c:f>
              <c:numCache>
                <c:formatCode>General</c:formatCode>
                <c:ptCount val="14"/>
                <c:pt idx="0">
                  <c:v>129261</c:v>
                </c:pt>
                <c:pt idx="1">
                  <c:v>133493</c:v>
                </c:pt>
                <c:pt idx="2">
                  <c:v>137744</c:v>
                </c:pt>
                <c:pt idx="3">
                  <c:v>140851</c:v>
                </c:pt>
                <c:pt idx="4">
                  <c:v>143950</c:v>
                </c:pt>
                <c:pt idx="5">
                  <c:v>146366</c:v>
                </c:pt>
                <c:pt idx="6">
                  <c:v>148085</c:v>
                </c:pt>
                <c:pt idx="7">
                  <c:v>151498</c:v>
                </c:pt>
                <c:pt idx="8">
                  <c:v>154543</c:v>
                </c:pt>
                <c:pt idx="9">
                  <c:v>155497</c:v>
                </c:pt>
                <c:pt idx="10">
                  <c:v>157274</c:v>
                </c:pt>
                <c:pt idx="11">
                  <c:v>155110</c:v>
                </c:pt>
                <c:pt idx="12" formatCode="0">
                  <c:v>160047</c:v>
                </c:pt>
                <c:pt idx="13">
                  <c:v>16145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A776-4EE0-B5E4-BDF854F89B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0367360"/>
        <c:axId val="120370304"/>
      </c:scatterChart>
      <c:scatterChart>
        <c:scatterStyle val="lineMarker"/>
        <c:varyColors val="0"/>
        <c:ser>
          <c:idx val="1"/>
          <c:order val="1"/>
          <c:tx>
            <c:strRef>
              <c:f>Taul1!$K$4</c:f>
              <c:strCache>
                <c:ptCount val="1"/>
                <c:pt idx="0">
                  <c:v>Johtopituus</c:v>
                </c:pt>
              </c:strCache>
            </c:strRef>
          </c:tx>
          <c:spPr>
            <a:ln w="38100">
              <a:solidFill>
                <a:schemeClr val="accent1"/>
              </a:solidFill>
              <a:prstDash val="solid"/>
            </a:ln>
          </c:spPr>
          <c:marker>
            <c:symbol val="square"/>
            <c:size val="7"/>
            <c:spPr>
              <a:noFill/>
              <a:ln>
                <a:solidFill>
                  <a:srgbClr val="600080"/>
                </a:solidFill>
              </a:ln>
            </c:spPr>
          </c:marker>
          <c:xVal>
            <c:numRef>
              <c:f>Taul1!$I$46:$I$59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xVal>
          <c:yVal>
            <c:numRef>
              <c:f>Taul1!$K$46:$K$59</c:f>
              <c:numCache>
                <c:formatCode>General</c:formatCode>
                <c:ptCount val="14"/>
                <c:pt idx="0">
                  <c:v>12627</c:v>
                </c:pt>
                <c:pt idx="1">
                  <c:v>13058</c:v>
                </c:pt>
                <c:pt idx="2">
                  <c:v>13556</c:v>
                </c:pt>
                <c:pt idx="3">
                  <c:v>13854</c:v>
                </c:pt>
                <c:pt idx="4" formatCode="0">
                  <c:v>14288.8</c:v>
                </c:pt>
                <c:pt idx="5" formatCode="#,##0">
                  <c:v>14472.1</c:v>
                </c:pt>
                <c:pt idx="6" formatCode="#,##0">
                  <c:v>14679.2</c:v>
                </c:pt>
                <c:pt idx="7" formatCode="#,##0">
                  <c:v>14916.8</c:v>
                </c:pt>
                <c:pt idx="8" formatCode="#,##0">
                  <c:v>15140.6</c:v>
                </c:pt>
                <c:pt idx="9" formatCode="0">
                  <c:v>15427.300000000003</c:v>
                </c:pt>
                <c:pt idx="10" formatCode="0">
                  <c:v>15572.9</c:v>
                </c:pt>
                <c:pt idx="11" formatCode="0">
                  <c:v>16099.699999999999</c:v>
                </c:pt>
                <c:pt idx="12" formatCode="0">
                  <c:v>16238.800000000001</c:v>
                </c:pt>
                <c:pt idx="13" formatCode="0">
                  <c:v>16464.50000000000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A776-4EE0-B5E4-BDF854F89B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0372224"/>
        <c:axId val="120382208"/>
      </c:scatterChart>
      <c:valAx>
        <c:axId val="120367360"/>
        <c:scaling>
          <c:orientation val="minMax"/>
          <c:max val="2023"/>
          <c:min val="2010"/>
        </c:scaling>
        <c:delete val="0"/>
        <c:axPos val="b"/>
        <c:numFmt formatCode="General" sourceLinked="1"/>
        <c:majorTickMark val="cross"/>
        <c:minorTickMark val="out"/>
        <c:tickLblPos val="nextTo"/>
        <c:spPr>
          <a:ln w="3175">
            <a:solidFill>
              <a:srgbClr val="600080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/>
                <a:cs typeface="Verdana"/>
              </a:defRPr>
            </a:pPr>
            <a:endParaRPr lang="fi-FI"/>
          </a:p>
        </c:txPr>
        <c:crossAx val="120370304"/>
        <c:crosses val="autoZero"/>
        <c:crossBetween val="midCat"/>
        <c:majorUnit val="1"/>
        <c:minorUnit val="1"/>
      </c:valAx>
      <c:valAx>
        <c:axId val="120370304"/>
        <c:scaling>
          <c:orientation val="minMax"/>
          <c:max val="180000"/>
          <c:min val="100000"/>
        </c:scaling>
        <c:delete val="0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  <a:prstDash val="solid"/>
            </a:ln>
          </c:spPr>
        </c:majorGridlines>
        <c:title>
          <c:tx>
            <c:rich>
              <a:bodyPr rot="0" vert="horz"/>
              <a:lstStyle/>
              <a:p>
                <a:pPr algn="ctr">
                  <a:defRPr sz="1400" b="1" i="0" u="none" strike="noStrike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Verdana"/>
                    <a:cs typeface="Verdana"/>
                  </a:defRPr>
                </a:pPr>
                <a:r>
                  <a:rPr lang="fi-FI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kpl</a:t>
                </a:r>
              </a:p>
            </c:rich>
          </c:tx>
          <c:layout>
            <c:manualLayout>
              <c:xMode val="edge"/>
              <c:yMode val="edge"/>
              <c:x val="8.9968938365462936E-2"/>
              <c:y val="2.542380731820287E-2"/>
            </c:manualLayout>
          </c:layout>
          <c:overlay val="0"/>
          <c:spPr>
            <a:noFill/>
            <a:ln w="25400">
              <a:noFill/>
            </a:ln>
          </c:spPr>
        </c:title>
        <c:numFmt formatCode="#,##0" sourceLinked="0"/>
        <c:majorTickMark val="out"/>
        <c:minorTickMark val="none"/>
        <c:tickLblPos val="nextTo"/>
        <c:spPr>
          <a:ln w="3175">
            <a:solidFill>
              <a:schemeClr val="tx1">
                <a:lumMod val="75000"/>
                <a:lumOff val="25000"/>
              </a:schemeClr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/>
                <a:cs typeface="Verdana"/>
              </a:defRPr>
            </a:pPr>
            <a:endParaRPr lang="fi-FI"/>
          </a:p>
        </c:txPr>
        <c:crossAx val="120367360"/>
        <c:crossesAt val="1970"/>
        <c:crossBetween val="midCat"/>
      </c:valAx>
      <c:valAx>
        <c:axId val="120372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0382208"/>
        <c:crosses val="autoZero"/>
        <c:crossBetween val="midCat"/>
      </c:valAx>
      <c:valAx>
        <c:axId val="120382208"/>
        <c:scaling>
          <c:orientation val="minMax"/>
          <c:max val="18000"/>
          <c:min val="10000"/>
        </c:scaling>
        <c:delete val="0"/>
        <c:axPos val="r"/>
        <c:title>
          <c:tx>
            <c:rich>
              <a:bodyPr rot="0" vert="horz"/>
              <a:lstStyle/>
              <a:p>
                <a:pPr algn="ctr">
                  <a:defRPr sz="1400" b="1" i="0" u="none" strike="noStrike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Verdana"/>
                    <a:cs typeface="Verdana"/>
                  </a:defRPr>
                </a:pPr>
                <a:r>
                  <a:rPr lang="fi-FI" b="1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</a:rPr>
                  <a:t>km</a:t>
                </a:r>
              </a:p>
            </c:rich>
          </c:tx>
          <c:layout>
            <c:manualLayout>
              <c:xMode val="edge"/>
              <c:yMode val="edge"/>
              <c:x val="0.89658734727124634"/>
              <c:y val="2.542380731820287E-2"/>
            </c:manualLayout>
          </c:layout>
          <c:overlay val="0"/>
          <c:spPr>
            <a:noFill/>
            <a:ln w="25400">
              <a:noFill/>
            </a:ln>
          </c:spPr>
        </c:title>
        <c:numFmt formatCode="#,##0" sourceLinked="0"/>
        <c:majorTickMark val="cross"/>
        <c:minorTickMark val="none"/>
        <c:tickLblPos val="nextTo"/>
        <c:spPr>
          <a:ln w="3175">
            <a:solidFill>
              <a:schemeClr val="tx1">
                <a:lumMod val="75000"/>
                <a:lumOff val="25000"/>
              </a:schemeClr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Verdana"/>
                <a:cs typeface="Verdana"/>
              </a:defRPr>
            </a:pPr>
            <a:endParaRPr lang="fi-FI"/>
          </a:p>
        </c:txPr>
        <c:crossAx val="120372224"/>
        <c:crosses val="max"/>
        <c:crossBetween val="midCat"/>
      </c:valAx>
      <c:spPr>
        <a:noFill/>
        <a:ln w="3175">
          <a:noFill/>
          <a:prstDash val="solid"/>
        </a:ln>
      </c:spPr>
    </c:plotArea>
    <c:legend>
      <c:legendPos val="r"/>
      <c:layout>
        <c:manualLayout>
          <c:xMode val="edge"/>
          <c:yMode val="edge"/>
          <c:x val="0.17081260364842454"/>
          <c:y val="0.91836734693877553"/>
          <c:w val="0.64096185737976774"/>
          <c:h val="5.3061224489795923E-2"/>
        </c:manualLayout>
      </c:layout>
      <c:overlay val="0"/>
      <c:spPr>
        <a:solidFill>
          <a:srgbClr val="FFFFFF"/>
        </a:solidFill>
        <a:ln w="25400">
          <a:noFill/>
        </a:ln>
      </c:spPr>
      <c:txPr>
        <a:bodyPr/>
        <a:lstStyle/>
        <a:p>
          <a:pPr>
            <a:defRPr sz="1400" b="0" i="0" u="none" strike="noStrike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Verdana"/>
              <a:cs typeface="Verdana"/>
            </a:defRPr>
          </a:pPr>
          <a:endParaRPr lang="fi-FI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400" b="0" i="0" u="none" strike="noStrike" baseline="0">
          <a:solidFill>
            <a:srgbClr val="000000"/>
          </a:solidFill>
          <a:latin typeface="Verdana"/>
          <a:ea typeface="Verdana"/>
          <a:cs typeface="Verdana"/>
        </a:defRPr>
      </a:pPr>
      <a:endParaRPr lang="fi-FI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874197561710727E-2"/>
          <c:y val="8.9739125519253657E-2"/>
          <c:w val="0.82857887718607282"/>
          <c:h val="0.83246242615748434"/>
        </c:manualLayout>
      </c:layout>
      <c:lineChart>
        <c:grouping val="standard"/>
        <c:varyColors val="0"/>
        <c:ser>
          <c:idx val="0"/>
          <c:order val="0"/>
          <c:tx>
            <c:strRef>
              <c:f>'Taul1 Mikko'!$Y$5</c:f>
              <c:strCache>
                <c:ptCount val="1"/>
                <c:pt idx="0">
                  <c:v>kWh/m3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Taul1 Mikko'!$A$7:$A$60</c:f>
              <c:numCache>
                <c:formatCode>0\ \ _ </c:formatCode>
                <c:ptCount val="54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17</c:v>
                </c:pt>
                <c:pt idx="48">
                  <c:v>2018</c:v>
                </c:pt>
                <c:pt idx="49">
                  <c:v>2019</c:v>
                </c:pt>
                <c:pt idx="50">
                  <c:v>2020</c:v>
                </c:pt>
                <c:pt idx="51">
                  <c:v>2021</c:v>
                </c:pt>
                <c:pt idx="52">
                  <c:v>2022</c:v>
                </c:pt>
                <c:pt idx="53">
                  <c:v>2023</c:v>
                </c:pt>
              </c:numCache>
            </c:numRef>
          </c:cat>
          <c:val>
            <c:numRef>
              <c:f>'Taul1 Mikko'!$Y$6:$Y$60</c:f>
              <c:numCache>
                <c:formatCode>0.0\ \ _ \ _ \ _ </c:formatCode>
                <c:ptCount val="54"/>
                <c:pt idx="0">
                  <c:v>77.650010934075681</c:v>
                </c:pt>
                <c:pt idx="1">
                  <c:v>72.154687563311072</c:v>
                </c:pt>
                <c:pt idx="2">
                  <c:v>72.126925032852228</c:v>
                </c:pt>
                <c:pt idx="3">
                  <c:v>68.793965025173577</c:v>
                </c:pt>
                <c:pt idx="4">
                  <c:v>65.903396817556796</c:v>
                </c:pt>
                <c:pt idx="5">
                  <c:v>62.100678887489039</c:v>
                </c:pt>
                <c:pt idx="6">
                  <c:v>60.890207240840802</c:v>
                </c:pt>
                <c:pt idx="7">
                  <c:v>60.036103941391715</c:v>
                </c:pt>
                <c:pt idx="8">
                  <c:v>58.580205880705847</c:v>
                </c:pt>
                <c:pt idx="9">
                  <c:v>57.849406401939</c:v>
                </c:pt>
                <c:pt idx="10">
                  <c:v>55.900925723606058</c:v>
                </c:pt>
                <c:pt idx="11">
                  <c:v>53.474157756010733</c:v>
                </c:pt>
                <c:pt idx="12">
                  <c:v>51.54305795817217</c:v>
                </c:pt>
                <c:pt idx="13">
                  <c:v>50.589197997631921</c:v>
                </c:pt>
                <c:pt idx="14">
                  <c:v>50.79098899866554</c:v>
                </c:pt>
                <c:pt idx="15">
                  <c:v>50.759953333144125</c:v>
                </c:pt>
                <c:pt idx="16">
                  <c:v>50.722139614318159</c:v>
                </c:pt>
                <c:pt idx="17">
                  <c:v>50.250688215211881</c:v>
                </c:pt>
                <c:pt idx="18">
                  <c:v>49.206584967589698</c:v>
                </c:pt>
                <c:pt idx="19">
                  <c:v>48.332984716356002</c:v>
                </c:pt>
                <c:pt idx="20">
                  <c:v>47.063051454427153</c:v>
                </c:pt>
                <c:pt idx="21">
                  <c:v>46.110412708321398</c:v>
                </c:pt>
                <c:pt idx="22">
                  <c:v>45.42178285400405</c:v>
                </c:pt>
                <c:pt idx="23">
                  <c:v>45.191762106599242</c:v>
                </c:pt>
                <c:pt idx="24">
                  <c:v>45.203350870087171</c:v>
                </c:pt>
                <c:pt idx="25">
                  <c:v>44.554519836023687</c:v>
                </c:pt>
                <c:pt idx="26">
                  <c:v>44.060423925181198</c:v>
                </c:pt>
                <c:pt idx="27">
                  <c:v>44.279698078499599</c:v>
                </c:pt>
                <c:pt idx="28">
                  <c:v>44.229882618827091</c:v>
                </c:pt>
                <c:pt idx="29">
                  <c:v>44.554205848311625</c:v>
                </c:pt>
                <c:pt idx="30">
                  <c:v>43.773733205615322</c:v>
                </c:pt>
                <c:pt idx="31">
                  <c:v>43.492516411187971</c:v>
                </c:pt>
                <c:pt idx="32">
                  <c:v>43.118679521052734</c:v>
                </c:pt>
                <c:pt idx="33">
                  <c:v>42.007232152655135</c:v>
                </c:pt>
                <c:pt idx="34">
                  <c:v>41.716887756896554</c:v>
                </c:pt>
                <c:pt idx="35">
                  <c:v>40.988065997357779</c:v>
                </c:pt>
                <c:pt idx="36">
                  <c:v>40.488973334704099</c:v>
                </c:pt>
                <c:pt idx="37">
                  <c:v>39.803082765545959</c:v>
                </c:pt>
                <c:pt idx="38">
                  <c:v>39.342382187790172</c:v>
                </c:pt>
                <c:pt idx="39">
                  <c:v>38.578643529630618</c:v>
                </c:pt>
                <c:pt idx="40">
                  <c:v>37.849220930707006</c:v>
                </c:pt>
                <c:pt idx="41">
                  <c:v>37.42752646038771</c:v>
                </c:pt>
                <c:pt idx="42">
                  <c:v>37.07415097568169</c:v>
                </c:pt>
                <c:pt idx="43">
                  <c:v>36.428598531646564</c:v>
                </c:pt>
                <c:pt idx="44">
                  <c:v>36.032779237927343</c:v>
                </c:pt>
                <c:pt idx="45">
                  <c:v>35.885797038064503</c:v>
                </c:pt>
                <c:pt idx="46">
                  <c:v>35.812033680931101</c:v>
                </c:pt>
                <c:pt idx="47">
                  <c:v>35.387105421634438</c:v>
                </c:pt>
                <c:pt idx="48">
                  <c:v>34.727458958084036</c:v>
                </c:pt>
                <c:pt idx="49">
                  <c:v>34.444134143938633</c:v>
                </c:pt>
                <c:pt idx="50">
                  <c:v>34.114647036911158</c:v>
                </c:pt>
                <c:pt idx="51">
                  <c:v>33.565095874326289</c:v>
                </c:pt>
                <c:pt idx="52">
                  <c:v>33.182941906741156</c:v>
                </c:pt>
                <c:pt idx="53">
                  <c:v>32.7488403598399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64-4510-9F5C-D3A297A5F0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7602616"/>
        <c:axId val="516947416"/>
      </c:lineChart>
      <c:lineChart>
        <c:grouping val="standard"/>
        <c:varyColors val="0"/>
        <c:ser>
          <c:idx val="1"/>
          <c:order val="1"/>
          <c:tx>
            <c:strRef>
              <c:f>'Taul1 Mikko'!$Z$5</c:f>
              <c:strCache>
                <c:ptCount val="1"/>
                <c:pt idx="0">
                  <c:v>kWh/m2</c:v>
                </c:pt>
              </c:strCache>
            </c:strRef>
          </c:tx>
          <c:spPr>
            <a:ln w="6350" cap="rnd">
              <a:noFill/>
              <a:round/>
            </a:ln>
            <a:effectLst/>
          </c:spPr>
          <c:marker>
            <c:symbol val="none"/>
          </c:marker>
          <c:val>
            <c:numRef>
              <c:f>'Taul1 Mikko'!$Z$6:$Z$60</c:f>
              <c:numCache>
                <c:formatCode>0.0\ \ _ \ _ \ _ </c:formatCode>
                <c:ptCount val="54"/>
                <c:pt idx="0">
                  <c:v>256.24503608244976</c:v>
                </c:pt>
                <c:pt idx="1">
                  <c:v>238.11046895892653</c:v>
                </c:pt>
                <c:pt idx="2">
                  <c:v>238.01885260841235</c:v>
                </c:pt>
                <c:pt idx="3">
                  <c:v>227.02008458307279</c:v>
                </c:pt>
                <c:pt idx="4">
                  <c:v>217.48120949793741</c:v>
                </c:pt>
                <c:pt idx="5">
                  <c:v>204.93224032871382</c:v>
                </c:pt>
                <c:pt idx="6">
                  <c:v>200.93768389477464</c:v>
                </c:pt>
                <c:pt idx="7">
                  <c:v>198.11914300659265</c:v>
                </c:pt>
                <c:pt idx="8">
                  <c:v>193.31467940632928</c:v>
                </c:pt>
                <c:pt idx="9">
                  <c:v>190.90304112639868</c:v>
                </c:pt>
                <c:pt idx="10">
                  <c:v>184.47305488789999</c:v>
                </c:pt>
                <c:pt idx="11">
                  <c:v>176.4647205948354</c:v>
                </c:pt>
                <c:pt idx="12">
                  <c:v>170.09209126196816</c:v>
                </c:pt>
                <c:pt idx="13">
                  <c:v>166.94435339218532</c:v>
                </c:pt>
                <c:pt idx="14">
                  <c:v>167.61026369559627</c:v>
                </c:pt>
                <c:pt idx="15">
                  <c:v>167.5078459993756</c:v>
                </c:pt>
                <c:pt idx="16">
                  <c:v>167.38306072724993</c:v>
                </c:pt>
                <c:pt idx="17">
                  <c:v>165.82727111019921</c:v>
                </c:pt>
                <c:pt idx="18">
                  <c:v>162.38173039304598</c:v>
                </c:pt>
                <c:pt idx="19">
                  <c:v>159.4988495639748</c:v>
                </c:pt>
                <c:pt idx="20">
                  <c:v>155.3080697996096</c:v>
                </c:pt>
                <c:pt idx="21">
                  <c:v>152.1643619374606</c:v>
                </c:pt>
                <c:pt idx="22">
                  <c:v>149.89188341821335</c:v>
                </c:pt>
                <c:pt idx="23">
                  <c:v>149.1328149517775</c:v>
                </c:pt>
                <c:pt idx="24">
                  <c:v>149.17105787128764</c:v>
                </c:pt>
                <c:pt idx="25">
                  <c:v>147.02991545887815</c:v>
                </c:pt>
                <c:pt idx="26">
                  <c:v>145.39939895309794</c:v>
                </c:pt>
                <c:pt idx="27">
                  <c:v>146.12300365904866</c:v>
                </c:pt>
                <c:pt idx="28">
                  <c:v>145.9586126421294</c:v>
                </c:pt>
                <c:pt idx="29">
                  <c:v>147.02887929942835</c:v>
                </c:pt>
                <c:pt idx="30">
                  <c:v>144.45331957853057</c:v>
                </c:pt>
                <c:pt idx="31">
                  <c:v>143.5253041569203</c:v>
                </c:pt>
                <c:pt idx="32">
                  <c:v>142.29164241947402</c:v>
                </c:pt>
                <c:pt idx="33">
                  <c:v>138.62386610376194</c:v>
                </c:pt>
                <c:pt idx="34">
                  <c:v>137.66572959775863</c:v>
                </c:pt>
                <c:pt idx="35">
                  <c:v>135.26061779128065</c:v>
                </c:pt>
                <c:pt idx="36">
                  <c:v>133.61361200452353</c:v>
                </c:pt>
                <c:pt idx="37">
                  <c:v>131.35017312630166</c:v>
                </c:pt>
                <c:pt idx="38">
                  <c:v>129.82986121970757</c:v>
                </c:pt>
                <c:pt idx="39">
                  <c:v>127.30952364778103</c:v>
                </c:pt>
                <c:pt idx="40">
                  <c:v>124.90242907133312</c:v>
                </c:pt>
                <c:pt idx="41">
                  <c:v>123.51083731927943</c:v>
                </c:pt>
                <c:pt idx="42">
                  <c:v>122.34469821974957</c:v>
                </c:pt>
                <c:pt idx="43">
                  <c:v>120.21437515443365</c:v>
                </c:pt>
                <c:pt idx="44">
                  <c:v>118.90817148516022</c:v>
                </c:pt>
                <c:pt idx="45">
                  <c:v>118.42313022561285</c:v>
                </c:pt>
                <c:pt idx="46">
                  <c:v>118.17971114707262</c:v>
                </c:pt>
                <c:pt idx="47">
                  <c:v>116.77744789139363</c:v>
                </c:pt>
                <c:pt idx="48">
                  <c:v>114.60061456167732</c:v>
                </c:pt>
                <c:pt idx="49">
                  <c:v>113.66564267499749</c:v>
                </c:pt>
                <c:pt idx="50">
                  <c:v>112.57833522180681</c:v>
                </c:pt>
                <c:pt idx="51">
                  <c:v>110.76481638527675</c:v>
                </c:pt>
                <c:pt idx="52">
                  <c:v>109.5037082922458</c:v>
                </c:pt>
                <c:pt idx="53">
                  <c:v>108.07117318747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64-4510-9F5C-D3A297A5F0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2529056"/>
        <c:axId val="512531216"/>
      </c:lineChart>
      <c:catAx>
        <c:axId val="517602616"/>
        <c:scaling>
          <c:orientation val="minMax"/>
        </c:scaling>
        <c:delete val="0"/>
        <c:axPos val="b"/>
        <c:numFmt formatCode="0\ \ _ " sourceLinked="1"/>
        <c:majorTickMark val="cross"/>
        <c:minorTickMark val="out"/>
        <c:tickLblPos val="nextTo"/>
        <c:spPr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16947416"/>
        <c:crosses val="autoZero"/>
        <c:auto val="1"/>
        <c:lblAlgn val="ctr"/>
        <c:lblOffset val="100"/>
        <c:tickLblSkip val="4"/>
        <c:tickMarkSkip val="2"/>
        <c:noMultiLvlLbl val="0"/>
      </c:catAx>
      <c:valAx>
        <c:axId val="516947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b="1"/>
                  <a:t>kWh/m</a:t>
                </a:r>
                <a:r>
                  <a:rPr lang="fi-FI" b="1" baseline="30000"/>
                  <a:t>3</a:t>
                </a:r>
                <a:r>
                  <a:rPr lang="fi-FI" b="1"/>
                  <a:t>,a</a:t>
                </a:r>
              </a:p>
            </c:rich>
          </c:tx>
          <c:layout>
            <c:manualLayout>
              <c:xMode val="edge"/>
              <c:yMode val="edge"/>
              <c:x val="3.5454546723498452E-2"/>
              <c:y val="2.2625894002005122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0\ \ _ " sourceLinked="0"/>
        <c:majorTickMark val="out"/>
        <c:minorTickMark val="none"/>
        <c:tickLblPos val="nextTo"/>
        <c:spPr>
          <a:noFill/>
          <a:ln>
            <a:solidFill>
              <a:schemeClr val="tx1">
                <a:lumMod val="75000"/>
                <a:lumOff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17602616"/>
        <c:crosses val="autoZero"/>
        <c:crossBetween val="between"/>
      </c:valAx>
      <c:valAx>
        <c:axId val="512531216"/>
        <c:scaling>
          <c:orientation val="minMax"/>
        </c:scaling>
        <c:delete val="0"/>
        <c:axPos val="r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fi-FI" b="1"/>
                  <a:t>kWh/m</a:t>
                </a:r>
                <a:r>
                  <a:rPr lang="fi-FI" b="1" baseline="30000"/>
                  <a:t>2</a:t>
                </a:r>
                <a:r>
                  <a:rPr lang="fi-FI" b="1"/>
                  <a:t>,a</a:t>
                </a:r>
              </a:p>
            </c:rich>
          </c:tx>
          <c:layout>
            <c:manualLayout>
              <c:xMode val="edge"/>
              <c:yMode val="edge"/>
              <c:x val="0.8669705034706694"/>
              <c:y val="2.0538937594580621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i-FI"/>
            </a:p>
          </c:txPr>
        </c:title>
        <c:numFmt formatCode="0\ \ _ " sourceLinked="0"/>
        <c:majorTickMark val="out"/>
        <c:minorTickMark val="none"/>
        <c:tickLblPos val="nextTo"/>
        <c:spPr>
          <a:noFill/>
          <a:ln>
            <a:solidFill>
              <a:schemeClr val="tx1">
                <a:lumMod val="75000"/>
                <a:lumOff val="2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512529056"/>
        <c:crosses val="max"/>
        <c:crossBetween val="between"/>
      </c:valAx>
      <c:catAx>
        <c:axId val="512529056"/>
        <c:scaling>
          <c:orientation val="minMax"/>
        </c:scaling>
        <c:delete val="1"/>
        <c:axPos val="b"/>
        <c:majorTickMark val="out"/>
        <c:minorTickMark val="none"/>
        <c:tickLblPos val="nextTo"/>
        <c:crossAx val="51253121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 baseline="0"/>
      </a:pPr>
      <a:endParaRPr lang="fi-FI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5052869167769863E-2"/>
          <c:y val="7.4694308936842299E-2"/>
          <c:w val="0.94023199149239534"/>
          <c:h val="0.7887639739122204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HP osuus'!$C$5</c:f>
              <c:strCache>
                <c:ptCount val="1"/>
                <c:pt idx="0">
                  <c:v>Yhteistuotantolämpö</c:v>
                </c:pt>
              </c:strCache>
            </c:strRef>
          </c:tx>
          <c:spPr>
            <a:solidFill>
              <a:schemeClr val="accent1"/>
            </a:solidFill>
            <a:ln w="12700"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B4E68EC-2F3F-43F9-BF1E-CF2DC9A41EEA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B44D-4259-AA8A-0892E6E716E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922FE1E-DB3D-49A5-9BB7-3BD2389DA2C5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B44D-4259-AA8A-0892E6E716E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130EE90-4A43-4837-889B-20BEBED34B3B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B44D-4259-AA8A-0892E6E716E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C9B1BE90-FEBD-4A3D-A4D5-554591DB9962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B44D-4259-AA8A-0892E6E716E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BB4E8494-1D80-4F6F-A885-ED9AE040DC2D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B44D-4259-AA8A-0892E6E716E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1CD99F3-F0C6-4FF5-A63B-2B15F2D320A4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B44D-4259-AA8A-0892E6E716E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BA08986-5095-4CBE-ADBE-10BF1B3DC1D7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B44D-4259-AA8A-0892E6E716E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1658655B-2DCC-4517-B743-7E63BBF3CFE6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B44D-4259-AA8A-0892E6E716ED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C1F075F-D178-439D-BAA0-E6B95534C17F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B44D-4259-AA8A-0892E6E716ED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F8E01156-0469-41F6-96F3-A280DBB7F9B1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B44D-4259-AA8A-0892E6E716ED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3291BF7-A343-47A1-8AD5-330F0B8A17A4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B44D-4259-AA8A-0892E6E716ED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7CBEE21C-6CC5-4823-8676-5397DDCEF322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B44D-4259-AA8A-0892E6E716ED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0FD95EB1-5F60-4960-9C10-E4B653933B8F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B44D-4259-AA8A-0892E6E716ED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479CA2AE-A0B3-4E8F-8E87-78FCD777EC90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B44D-4259-AA8A-0892E6E716ED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2FFB83B3-7FB7-48DD-B23B-7FE13102F7A9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B44D-4259-AA8A-0892E6E716ED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7E2EF816-DD66-4E87-B75D-E5C62163CEFE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B44D-4259-AA8A-0892E6E716ED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93993F68-889E-4183-B58F-39592AFDB515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B44D-4259-AA8A-0892E6E716ED}"/>
                </c:ext>
              </c:extLst>
            </c:dLbl>
            <c:dLbl>
              <c:idx val="17"/>
              <c:tx>
                <c:rich>
                  <a:bodyPr/>
                  <a:lstStyle/>
                  <a:p>
                    <a:fld id="{41E99FC9-391C-4C6F-ACF9-9DB119269998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B44D-4259-AA8A-0892E6E716ED}"/>
                </c:ext>
              </c:extLst>
            </c:dLbl>
            <c:dLbl>
              <c:idx val="18"/>
              <c:tx>
                <c:rich>
                  <a:bodyPr/>
                  <a:lstStyle/>
                  <a:p>
                    <a:fld id="{7D04CD31-49E9-496E-9F06-24DD1CA65E10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2-B44D-4259-AA8A-0892E6E716ED}"/>
                </c:ext>
              </c:extLst>
            </c:dLbl>
            <c:dLbl>
              <c:idx val="19"/>
              <c:tx>
                <c:rich>
                  <a:bodyPr/>
                  <a:lstStyle/>
                  <a:p>
                    <a:fld id="{052A861C-2B7B-4E65-ABAD-5BE3E6648603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3-B44D-4259-AA8A-0892E6E716ED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A88525BF-A68E-4E03-BC27-1DC5EB3572A6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4-B44D-4259-AA8A-0892E6E716ED}"/>
                </c:ext>
              </c:extLst>
            </c:dLbl>
            <c:dLbl>
              <c:idx val="21"/>
              <c:tx>
                <c:rich>
                  <a:bodyPr/>
                  <a:lstStyle/>
                  <a:p>
                    <a:fld id="{6526D900-6C36-4871-90CF-8CA12265312D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5-B44D-4259-AA8A-0892E6E716ED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fld id="{FBE58D18-FD2D-4C5A-A61F-C052398DC7B8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6-B44D-4259-AA8A-0892E6E716ED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fld id="{DF31D596-1A59-4224-88CE-3EF757D8BCB6}" type="CELLRANGE">
                      <a:rPr lang="fi-FI"/>
                      <a:pPr/>
                      <a:t>[CELLRANGE]</a:t>
                    </a:fld>
                    <a:endParaRPr lang="fi-FI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7-B44D-4259-AA8A-0892E6E716ED}"/>
                </c:ext>
              </c:extLst>
            </c:dLbl>
            <c:numFmt formatCode="0%" sourceLinked="0"/>
            <c:spPr>
              <a:solidFill>
                <a:srgbClr val="FFFFFF"/>
              </a:solidFill>
              <a:ln>
                <a:solidFill>
                  <a:srgbClr val="000000"/>
                </a:solidFill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ysClr val="windowText" lastClr="000000"/>
                    </a:solidFill>
                  </a:defRPr>
                </a:pPr>
                <a:endParaRPr lang="fi-FI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numRef>
              <c:f>'CHP osuus'!$A$29:$A$52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'CHP osuus'!$C$29:$C$52</c:f>
              <c:numCache>
                <c:formatCode>0.00</c:formatCode>
                <c:ptCount val="24"/>
                <c:pt idx="0">
                  <c:v>20.512899999999998</c:v>
                </c:pt>
                <c:pt idx="1">
                  <c:v>23.124400000000001</c:v>
                </c:pt>
                <c:pt idx="2">
                  <c:v>23.811599999999999</c:v>
                </c:pt>
                <c:pt idx="3">
                  <c:v>24.631399999999999</c:v>
                </c:pt>
                <c:pt idx="4">
                  <c:v>23.936</c:v>
                </c:pt>
                <c:pt idx="5">
                  <c:v>22.856000000000002</c:v>
                </c:pt>
                <c:pt idx="6">
                  <c:v>24.459499999999998</c:v>
                </c:pt>
                <c:pt idx="7">
                  <c:v>23.9893</c:v>
                </c:pt>
                <c:pt idx="8">
                  <c:v>23.431100000000001</c:v>
                </c:pt>
                <c:pt idx="9">
                  <c:v>24.702500000000001</c:v>
                </c:pt>
                <c:pt idx="10">
                  <c:v>27.419599999999999</c:v>
                </c:pt>
                <c:pt idx="11">
                  <c:v>24.6554</c:v>
                </c:pt>
                <c:pt idx="12">
                  <c:v>25.6953</c:v>
                </c:pt>
                <c:pt idx="13">
                  <c:v>25.417899999999999</c:v>
                </c:pt>
                <c:pt idx="14">
                  <c:v>25.168299999999999</c:v>
                </c:pt>
                <c:pt idx="15">
                  <c:v>24.405999999999999</c:v>
                </c:pt>
                <c:pt idx="16">
                  <c:v>24.5716</c:v>
                </c:pt>
                <c:pt idx="17">
                  <c:v>24.877300000000002</c:v>
                </c:pt>
                <c:pt idx="18">
                  <c:v>24.9041</c:v>
                </c:pt>
                <c:pt idx="19">
                  <c:v>24.356300000000001</c:v>
                </c:pt>
                <c:pt idx="20">
                  <c:v>20.246399999999998</c:v>
                </c:pt>
                <c:pt idx="21">
                  <c:v>21.970100000000002</c:v>
                </c:pt>
                <c:pt idx="22">
                  <c:v>19.978879999999997</c:v>
                </c:pt>
                <c:pt idx="23">
                  <c:v>15.66929999999999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CHP osuus'!$E$29:$E$52</c15:f>
                <c15:dlblRangeCache>
                  <c:ptCount val="24"/>
                  <c:pt idx="0">
                    <c:v>76 %</c:v>
                  </c:pt>
                  <c:pt idx="1">
                    <c:v>76 %</c:v>
                  </c:pt>
                  <c:pt idx="2">
                    <c:v>75 %</c:v>
                  </c:pt>
                  <c:pt idx="3">
                    <c:v>75 %</c:v>
                  </c:pt>
                  <c:pt idx="4">
                    <c:v>76 %</c:v>
                  </c:pt>
                  <c:pt idx="5">
                    <c:v>73 %</c:v>
                  </c:pt>
                  <c:pt idx="6">
                    <c:v>75 %</c:v>
                  </c:pt>
                  <c:pt idx="7">
                    <c:v>74 %</c:v>
                  </c:pt>
                  <c:pt idx="8">
                    <c:v>75 %</c:v>
                  </c:pt>
                  <c:pt idx="9">
                    <c:v>71 %</c:v>
                  </c:pt>
                  <c:pt idx="10">
                    <c:v>71 %</c:v>
                  </c:pt>
                  <c:pt idx="11">
                    <c:v>72 %</c:v>
                  </c:pt>
                  <c:pt idx="12">
                    <c:v>69 %</c:v>
                  </c:pt>
                  <c:pt idx="13">
                    <c:v>73 %</c:v>
                  </c:pt>
                  <c:pt idx="14">
                    <c:v>72 %</c:v>
                  </c:pt>
                  <c:pt idx="15">
                    <c:v>73 %</c:v>
                  </c:pt>
                  <c:pt idx="16">
                    <c:v>67 %</c:v>
                  </c:pt>
                  <c:pt idx="17">
                    <c:v>68 %</c:v>
                  </c:pt>
                  <c:pt idx="18">
                    <c:v>67 %</c:v>
                  </c:pt>
                  <c:pt idx="19">
                    <c:v>67 %</c:v>
                  </c:pt>
                  <c:pt idx="20">
                    <c:v>60 %</c:v>
                  </c:pt>
                  <c:pt idx="21">
                    <c:v>56 %</c:v>
                  </c:pt>
                  <c:pt idx="22">
                    <c:v>54 %</c:v>
                  </c:pt>
                  <c:pt idx="23">
                    <c:v>43 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8-B44D-4259-AA8A-0892E6E716ED}"/>
            </c:ext>
          </c:extLst>
        </c:ser>
        <c:ser>
          <c:idx val="1"/>
          <c:order val="1"/>
          <c:tx>
            <c:strRef>
              <c:f>'CHP osuus'!$D$5</c:f>
              <c:strCache>
                <c:ptCount val="1"/>
                <c:pt idx="0">
                  <c:v>Erillistuotanto</c:v>
                </c:pt>
              </c:strCache>
            </c:strRef>
          </c:tx>
          <c:spPr>
            <a:solidFill>
              <a:schemeClr val="accent2"/>
            </a:solidFill>
            <a:ln w="12700">
              <a:solidFill>
                <a:schemeClr val="bg1"/>
              </a:solidFill>
            </a:ln>
            <a:effectLst/>
          </c:spPr>
          <c:invertIfNegative val="0"/>
          <c:cat>
            <c:numRef>
              <c:f>'CHP osuus'!$A$29:$A$52</c:f>
              <c:numCache>
                <c:formatCode>General</c:formatCode>
                <c:ptCount val="24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</c:numCache>
            </c:numRef>
          </c:cat>
          <c:val>
            <c:numRef>
              <c:f>'CHP osuus'!$D$29:$D$52</c:f>
              <c:numCache>
                <c:formatCode>0.00</c:formatCode>
                <c:ptCount val="24"/>
                <c:pt idx="0">
                  <c:v>6.6042000000000023</c:v>
                </c:pt>
                <c:pt idx="1">
                  <c:v>7.1229999999999976</c:v>
                </c:pt>
                <c:pt idx="2">
                  <c:v>7.9488000000000021</c:v>
                </c:pt>
                <c:pt idx="3">
                  <c:v>8.0641999999999996</c:v>
                </c:pt>
                <c:pt idx="4">
                  <c:v>7.6217000000000006</c:v>
                </c:pt>
                <c:pt idx="5">
                  <c:v>8.3988999999999976</c:v>
                </c:pt>
                <c:pt idx="6">
                  <c:v>8.0655000000000001</c:v>
                </c:pt>
                <c:pt idx="7">
                  <c:v>8.4988000000000028</c:v>
                </c:pt>
                <c:pt idx="8">
                  <c:v>7.6949000000000005</c:v>
                </c:pt>
                <c:pt idx="9">
                  <c:v>9.9136999999999986</c:v>
                </c:pt>
                <c:pt idx="10">
                  <c:v>11.037099999999999</c:v>
                </c:pt>
                <c:pt idx="11">
                  <c:v>9.3721999999999994</c:v>
                </c:pt>
                <c:pt idx="12">
                  <c:v>11.4404</c:v>
                </c:pt>
                <c:pt idx="13">
                  <c:v>9.5273000000000003</c:v>
                </c:pt>
                <c:pt idx="14">
                  <c:v>9.5753999999999984</c:v>
                </c:pt>
                <c:pt idx="15">
                  <c:v>8.8614999999999995</c:v>
                </c:pt>
                <c:pt idx="16">
                  <c:v>11.979499999999998</c:v>
                </c:pt>
                <c:pt idx="17">
                  <c:v>11.681899999999995</c:v>
                </c:pt>
                <c:pt idx="18">
                  <c:v>12.172699999999999</c:v>
                </c:pt>
                <c:pt idx="19">
                  <c:v>12.211000000000002</c:v>
                </c:pt>
                <c:pt idx="20">
                  <c:v>13.384199999999996</c:v>
                </c:pt>
                <c:pt idx="21">
                  <c:v>17.230700000000006</c:v>
                </c:pt>
                <c:pt idx="22">
                  <c:v>16.886919999999989</c:v>
                </c:pt>
                <c:pt idx="23">
                  <c:v>21.069899999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B44D-4259-AA8A-0892E6E716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1928342640"/>
        <c:axId val="2013143056"/>
      </c:barChart>
      <c:catAx>
        <c:axId val="19283426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fi-FI"/>
          </a:p>
        </c:txPr>
        <c:crossAx val="2013143056"/>
        <c:crosses val="autoZero"/>
        <c:auto val="1"/>
        <c:lblAlgn val="ctr"/>
        <c:lblOffset val="100"/>
        <c:tickLblSkip val="2"/>
        <c:noMultiLvlLbl val="0"/>
      </c:catAx>
      <c:valAx>
        <c:axId val="2013143056"/>
        <c:scaling>
          <c:orientation val="minMax"/>
          <c:max val="42"/>
          <c:min val="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fi-FI"/>
                  <a:t>TWh</a:t>
                </a:r>
              </a:p>
            </c:rich>
          </c:tx>
          <c:layout>
            <c:manualLayout>
              <c:xMode val="edge"/>
              <c:yMode val="edge"/>
              <c:x val="5.3509597599399345E-3"/>
              <c:y val="1.5113339980716282E-2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baseline="0"/>
            </a:pPr>
            <a:endParaRPr lang="fi-FI"/>
          </a:p>
        </c:txPr>
        <c:crossAx val="1928342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aseline="0"/>
      </a:pPr>
      <a:endParaRPr lang="fi-FI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21961711793492"/>
          <c:y val="8.7937809353666796E-2"/>
          <c:w val="0.85234360757371297"/>
          <c:h val="0.76052829785587472"/>
        </c:manualLayout>
      </c:layout>
      <c:ofPieChart>
        <c:ofPieType val="bar"/>
        <c:varyColors val="1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8A7-4BF7-BC9E-E8238E31852F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8A7-4BF7-BC9E-E8238E31852F}"/>
              </c:ext>
            </c:extLst>
          </c:dPt>
          <c:dPt>
            <c:idx val="2"/>
            <c:bubble3D val="0"/>
            <c:spPr>
              <a:solidFill>
                <a:srgbClr val="91919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8A7-4BF7-BC9E-E8238E31852F}"/>
              </c:ext>
            </c:extLst>
          </c:dPt>
          <c:dPt>
            <c:idx val="3"/>
            <c:bubble3D val="0"/>
            <c:spPr>
              <a:solidFill>
                <a:schemeClr val="tx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8A7-4BF7-BC9E-E8238E31852F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8A7-4BF7-BC9E-E8238E31852F}"/>
              </c:ext>
            </c:extLst>
          </c:dPt>
          <c:dPt>
            <c:idx val="5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8A7-4BF7-BC9E-E8238E31852F}"/>
              </c:ext>
            </c:extLst>
          </c:dPt>
          <c:dPt>
            <c:idx val="6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8A7-4BF7-BC9E-E8238E31852F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98A7-4BF7-BC9E-E8238E31852F}"/>
              </c:ext>
            </c:extLst>
          </c:dPt>
          <c:dPt>
            <c:idx val="8"/>
            <c:bubble3D val="0"/>
            <c:spPr>
              <a:solidFill>
                <a:srgbClr val="61417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98A7-4BF7-BC9E-E8238E31852F}"/>
              </c:ext>
            </c:extLst>
          </c:dPt>
          <c:dLbls>
            <c:dLbl>
              <c:idx val="0"/>
              <c:layout>
                <c:manualLayout>
                  <c:x val="-1.632332609167364E-2"/>
                  <c:y val="2.134729687161075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3776727220369082"/>
                      <c:h val="0.292196194398089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8A7-4BF7-BC9E-E8238E31852F}"/>
                </c:ext>
              </c:extLst>
            </c:dLbl>
            <c:dLbl>
              <c:idx val="1"/>
              <c:tx>
                <c:rich>
                  <a:bodyPr rot="0" spcFirstLastPara="1" vertOverflow="overflow" horzOverflow="overflow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sz="14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2C71AAD-6DFB-45A9-B133-583D62BE454D}" type="CATEGORYNAME">
                      <a:rPr lang="en-US" smtClean="0"/>
                      <a:pPr algn="ctr">
                        <a:defRPr sz="14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dirty="0"/>
                      <a:t> </a:t>
                    </a:r>
                    <a:fld id="{ED9990E1-DDC5-45D2-BE23-4035D59A41C8}" type="VALUE">
                      <a:rPr lang="en-US" baseline="0" smtClean="0"/>
                      <a:pPr algn="ctr">
                        <a:defRPr sz="14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sz="14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8993791314574598"/>
                      <c:h val="5.294663284781407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8A7-4BF7-BC9E-E8238E31852F}"/>
                </c:ext>
              </c:extLst>
            </c:dLbl>
            <c:dLbl>
              <c:idx val="2"/>
              <c:tx>
                <c:rich>
                  <a:bodyPr rot="0" spcFirstLastPara="1" vertOverflow="overflow" horzOverflow="overflow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sz="14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B4C9A49-8643-4CBB-BE93-714CC9B8C81E}" type="CATEGORYNAME">
                      <a:rPr lang="en-US" sz="1400"/>
                      <a:pPr algn="ctr">
                        <a:defRPr sz="14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sz="1400"/>
                      <a:t> </a:t>
                    </a:r>
                    <a:fld id="{CBCFECF8-D6E4-462D-8336-D49C7C3F94A7}" type="VALUE">
                      <a:rPr lang="en-US" sz="1400" baseline="0"/>
                      <a:pPr algn="ctr">
                        <a:defRPr sz="14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 sz="140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sz="14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93886101013162"/>
                      <c:h val="8.04188189488760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8A7-4BF7-BC9E-E8238E31852F}"/>
                </c:ext>
              </c:extLst>
            </c:dLbl>
            <c:dLbl>
              <c:idx val="3"/>
              <c:layout>
                <c:manualLayout>
                  <c:x val="-0.28721620281333687"/>
                  <c:y val="-2.5378379513129472E-1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8A7-4BF7-BC9E-E8238E31852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9EB1030-869E-4B35-80AD-65A2E5356D01}" type="CATEGORYNAME">
                      <a:rPr lang="en-US"/>
                      <a:pPr/>
                      <a:t>[CATEGORY NAME]</a:t>
                    </a:fld>
                    <a:r>
                      <a:rPr lang="en-US"/>
                      <a:t> </a:t>
                    </a:r>
                    <a:fld id="{6BF94671-B87A-43BA-B2F3-0605F32D7D9D}" type="VALUE">
                      <a:rPr lang="en-US" baseline="0"/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8854902198808954"/>
                      <c:h val="7.7863874345549741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98A7-4BF7-BC9E-E8238E31852F}"/>
                </c:ext>
              </c:extLst>
            </c:dLbl>
            <c:dLbl>
              <c:idx val="5"/>
              <c:tx>
                <c:rich>
                  <a:bodyPr rot="0" spcFirstLastPara="1" vertOverflow="overflow" horzOverflow="overflow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sz="1400" b="0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E421996-51E9-4950-945E-F3D6A20CA687}" type="CATEGORYNAME">
                      <a:rPr lang="en-US"/>
                      <a:pPr algn="ctr">
                        <a:defRPr sz="14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/>
                      <a:t> </a:t>
                    </a:r>
                    <a:fld id="{9186FD9A-E804-4159-BA05-F3E3ADCA1460}" type="VALUE">
                      <a:rPr lang="en-US" baseline="0"/>
                      <a:pPr algn="ctr">
                        <a:defRPr sz="140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sz="1400" b="0" i="0" u="none" strike="noStrike" kern="1200" baseline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ctr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1116058589592547"/>
                      <c:h val="5.562082192019724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98A7-4BF7-BC9E-E8238E31852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1F332DF4-1BB8-4A03-B8E1-07EE23D03D8D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 </a:t>
                    </a:r>
                  </a:p>
                  <a:p>
                    <a:fld id="{5946B315-E1BD-4463-A06F-5FC42EEE9AF0}" type="VALUE">
                      <a:rPr lang="en-US" baseline="0" smtClean="0"/>
                      <a:pPr/>
                      <a:t>[VALUE]</a:t>
                    </a:fld>
                    <a:endParaRPr lang="fi-FI"/>
                  </a:p>
                </c:rich>
              </c:tx>
              <c:dLblPos val="ctr"/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98A7-4BF7-BC9E-E8238E31852F}"/>
                </c:ext>
              </c:extLst>
            </c:dLbl>
            <c:dLbl>
              <c:idx val="7"/>
              <c:layout>
                <c:manualLayout>
                  <c:x val="-0.45020151137203435"/>
                  <c:y val="-0.36869103818572829"/>
                </c:manualLayout>
              </c:layout>
              <c:tx>
                <c:rich>
                  <a:bodyPr rot="0" spcFirstLastPara="1" vertOverflow="overflow" horzOverflow="overflow" vert="horz" wrap="square" lIns="38100" tIns="19050" rIns="38100" bIns="19050" anchor="ctr" anchorCtr="0">
                    <a:spAutoFit/>
                  </a:bodyPr>
                  <a:lstStyle/>
                  <a:p>
                    <a:pPr algn="ctr"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b="0" dirty="0" err="1">
                        <a:solidFill>
                          <a:schemeClr val="bg1"/>
                        </a:solidFill>
                      </a:rPr>
                      <a:t>Tuotanto</a:t>
                    </a:r>
                    <a:r>
                      <a:rPr lang="en-US" sz="1400" b="0" dirty="0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en-US" sz="1400" b="0" dirty="0" err="1">
                        <a:solidFill>
                          <a:schemeClr val="bg1"/>
                        </a:solidFill>
                      </a:rPr>
                      <a:t>polttoaineilla</a:t>
                    </a:r>
                    <a:r>
                      <a:rPr lang="en-US" sz="1400" b="0" baseline="0" dirty="0">
                        <a:solidFill>
                          <a:schemeClr val="bg1"/>
                        </a:solidFill>
                      </a:rPr>
                      <a:t> </a:t>
                    </a:r>
                  </a:p>
                  <a:p>
                    <a:pPr algn="ctr">
                      <a:defRPr sz="1400">
                        <a:solidFill>
                          <a:schemeClr val="bg1"/>
                        </a:solidFill>
                      </a:defRPr>
                    </a:pPr>
                    <a:fld id="{EF6175C6-2F69-4947-84FA-350E38F00CD3}" type="CELLREF">
                      <a:rPr lang="en-US" sz="1400" b="0" baseline="0" smtClean="0">
                        <a:solidFill>
                          <a:schemeClr val="bg1"/>
                        </a:solidFill>
                      </a:rPr>
                      <a:pPr algn="ctr">
                        <a:defRPr sz="1400">
                          <a:solidFill>
                            <a:schemeClr val="bg1"/>
                          </a:solidFill>
                        </a:defRPr>
                      </a:pPr>
                      <a:t>[CELLREF]</a:t>
                    </a:fld>
                    <a:r>
                      <a:rPr lang="en-US" sz="1400" b="0" baseline="0" dirty="0">
                        <a:solidFill>
                          <a:schemeClr val="bg1"/>
                        </a:solidFill>
                      </a:rPr>
                      <a:t>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>
                    <c15:dlblFTEntry>
                      <c15:txfldGUID>{EF6175C6-2F69-4947-84FA-350E38F00CD3}</c15:txfldGUID>
                      <c15:f>Markkina!$C$39</c15:f>
                      <c15:dlblFieldTableCache>
                        <c:ptCount val="1"/>
                        <c:pt idx="0">
                          <c:v>80,8 %</c:v>
                        </c:pt>
                      </c15:dlblFieldTableCache>
                    </c15:dlblFTEntry>
                  </c15:dlblFieldTable>
                  <c15:showDataLabelsRange val="0"/>
                </c:ext>
                <c:ext xmlns:c16="http://schemas.microsoft.com/office/drawing/2014/chart" uri="{C3380CC4-5D6E-409C-BE32-E72D297353CC}">
                  <c16:uniqueId val="{0000000F-98A7-4BF7-BC9E-E8238E31852F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8A7-4BF7-BC9E-E8238E3185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0">
                <a:spAutoFit/>
              </a:bodyPr>
              <a:lstStyle/>
              <a:p>
                <a:pPr algn="ctr">
                  <a:defRPr sz="1400" b="0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Markkina!$B$40:$B$47</c:f>
              <c:strCache>
                <c:ptCount val="8"/>
                <c:pt idx="0">
                  <c:v>Lämmön talteenotto, lämpöpumpun tuotanto ja sähkökattiloiden tuotanto</c:v>
                </c:pt>
                <c:pt idx="1">
                  <c:v>Maakaasu</c:v>
                </c:pt>
                <c:pt idx="2">
                  <c:v>Hiili</c:v>
                </c:pt>
                <c:pt idx="3">
                  <c:v>Öljy</c:v>
                </c:pt>
                <c:pt idx="4">
                  <c:v>Turve</c:v>
                </c:pt>
                <c:pt idx="5">
                  <c:v>Jäte</c:v>
                </c:pt>
                <c:pt idx="6">
                  <c:v>Puu + muu bio</c:v>
                </c:pt>
                <c:pt idx="7">
                  <c:v>Muut</c:v>
                </c:pt>
              </c:strCache>
            </c:strRef>
          </c:cat>
          <c:val>
            <c:numRef>
              <c:f>Markkina!$C$40:$C$47</c:f>
              <c:numCache>
                <c:formatCode>0.0\ %</c:formatCode>
                <c:ptCount val="8"/>
                <c:pt idx="0">
                  <c:v>0.192205029592391</c:v>
                </c:pt>
                <c:pt idx="1">
                  <c:v>7.0999999999999994E-2</c:v>
                </c:pt>
                <c:pt idx="2">
                  <c:v>0.115</c:v>
                </c:pt>
                <c:pt idx="3">
                  <c:v>2.7E-2</c:v>
                </c:pt>
                <c:pt idx="4">
                  <c:v>0.10100000000000001</c:v>
                </c:pt>
                <c:pt idx="5">
                  <c:v>0.11899999999999999</c:v>
                </c:pt>
                <c:pt idx="6">
                  <c:v>0.56299999999999994</c:v>
                </c:pt>
                <c:pt idx="7">
                  <c:v>4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98A7-4BF7-BC9E-E8238E31852F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gapWidth val="100"/>
        <c:splitType val="cust"/>
        <c:custSplit>
          <c:secondPiePt val="1"/>
          <c:secondPiePt val="2"/>
          <c:secondPiePt val="3"/>
          <c:secondPiePt val="4"/>
          <c:secondPiePt val="5"/>
          <c:secondPiePt val="6"/>
          <c:secondPiePt val="7"/>
        </c:custSplit>
        <c:secondPieSize val="94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68656718096257"/>
          <c:y val="0.11541834900445509"/>
          <c:w val="0.53756914573166636"/>
          <c:h val="0.83857933288865683"/>
        </c:manualLayout>
      </c:layout>
      <c:doughnutChart>
        <c:varyColors val="1"/>
        <c:ser>
          <c:idx val="0"/>
          <c:order val="0"/>
          <c:spPr>
            <a:ln w="12700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14B063">
                  <a:lumMod val="50000"/>
                </a:srgbClr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AC-4392-9C6A-309B37E1D04E}"/>
              </c:ext>
            </c:extLst>
          </c:dPt>
          <c:dPt>
            <c:idx val="1"/>
            <c:bubble3D val="0"/>
            <c:spPr>
              <a:solidFill>
                <a:srgbClr val="14B063">
                  <a:lumMod val="75000"/>
                </a:srgbClr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AC-4392-9C6A-309B37E1D04E}"/>
              </c:ext>
            </c:extLst>
          </c:dPt>
          <c:dPt>
            <c:idx val="2"/>
            <c:bubble3D val="0"/>
            <c:spPr>
              <a:solidFill>
                <a:srgbClr val="14B063">
                  <a:lumMod val="60000"/>
                  <a:lumOff val="40000"/>
                </a:srgbClr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6AC-4392-9C6A-309B37E1D04E}"/>
              </c:ext>
            </c:extLst>
          </c:dPt>
          <c:dPt>
            <c:idx val="3"/>
            <c:bubble3D val="0"/>
            <c:spPr>
              <a:solidFill>
                <a:srgbClr val="9E78B2">
                  <a:lumMod val="75000"/>
                </a:srgbClr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6AC-4392-9C6A-309B37E1D04E}"/>
              </c:ext>
            </c:extLst>
          </c:dPt>
          <c:dPt>
            <c:idx val="4"/>
            <c:bubble3D val="0"/>
            <c:spPr>
              <a:solidFill>
                <a:srgbClr val="9E78B2">
                  <a:lumMod val="60000"/>
                  <a:lumOff val="40000"/>
                </a:srgbClr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6AC-4392-9C6A-309B37E1D04E}"/>
              </c:ext>
            </c:extLst>
          </c:dPt>
          <c:dPt>
            <c:idx val="5"/>
            <c:bubble3D val="0"/>
            <c:spPr>
              <a:solidFill>
                <a:srgbClr val="FFC000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6AC-4392-9C6A-309B37E1D04E}"/>
              </c:ext>
            </c:extLst>
          </c:dPt>
          <c:dPt>
            <c:idx val="6"/>
            <c:bubble3D val="0"/>
            <c:spPr>
              <a:solidFill>
                <a:srgbClr val="EA7911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6AC-4392-9C6A-309B37E1D04E}"/>
              </c:ext>
            </c:extLst>
          </c:dPt>
          <c:dPt>
            <c:idx val="7"/>
            <c:bubble3D val="0"/>
            <c:spPr>
              <a:solidFill>
                <a:srgbClr val="4EADBB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6AC-4392-9C6A-309B37E1D04E}"/>
              </c:ext>
            </c:extLst>
          </c:dPt>
          <c:dPt>
            <c:idx val="8"/>
            <c:bubble3D val="0"/>
            <c:spPr>
              <a:solidFill>
                <a:srgbClr val="FFFFFF">
                  <a:lumMod val="50000"/>
                </a:srgbClr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06AC-4392-9C6A-309B37E1D04E}"/>
              </c:ext>
            </c:extLst>
          </c:dPt>
          <c:dPt>
            <c:idx val="9"/>
            <c:bubble3D val="0"/>
            <c:spPr>
              <a:solidFill>
                <a:srgbClr val="000000">
                  <a:lumMod val="95000"/>
                  <a:lumOff val="5000"/>
                </a:srgbClr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06AC-4392-9C6A-309B37E1D04E}"/>
              </c:ext>
            </c:extLst>
          </c:dPt>
          <c:dPt>
            <c:idx val="10"/>
            <c:bubble3D val="0"/>
            <c:spPr>
              <a:solidFill>
                <a:srgbClr val="B21C58"/>
              </a:solidFill>
              <a:ln w="127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06AC-4392-9C6A-309B37E1D04E}"/>
              </c:ext>
            </c:extLst>
          </c:dPt>
          <c:dLbls>
            <c:dLbl>
              <c:idx val="0"/>
              <c:layout>
                <c:manualLayout>
                  <c:x val="-9.9722784546440266E-3"/>
                  <c:y val="-9.3241749254158093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6AC-4392-9C6A-309B37E1D04E}"/>
                </c:ext>
              </c:extLst>
            </c:dLbl>
            <c:dLbl>
              <c:idx val="1"/>
              <c:layout>
                <c:manualLayout>
                  <c:x val="1.356004128011074E-2"/>
                  <c:y val="5.5803840619844799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271473233851375"/>
                      <c:h val="0.1916417906520563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6AC-4392-9C6A-309B37E1D04E}"/>
                </c:ext>
              </c:extLst>
            </c:dLbl>
            <c:dLbl>
              <c:idx val="2"/>
              <c:layout>
                <c:manualLayout>
                  <c:x val="6.7693590478474203E-2"/>
                  <c:y val="9.9890519223491209E-2"/>
                </c:manualLayout>
              </c:layout>
              <c:numFmt formatCode="0.0\ 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041916011111109"/>
                      <c:h val="0.107550117111321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6AC-4392-9C6A-309B37E1D04E}"/>
                </c:ext>
              </c:extLst>
            </c:dLbl>
            <c:dLbl>
              <c:idx val="3"/>
              <c:layout>
                <c:manualLayout>
                  <c:x val="-6.7546844238987216E-4"/>
                  <c:y val="1.9832838444253263E-4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ctr" rtl="0">
                      <a:defRPr lang="en-US" sz="1400" b="1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BF6167B-5DA0-402E-8303-8E15C71A07C7}" type="CATEGORYNAME">
                      <a:rPr lang="en-US" sz="1400" smtClean="0"/>
                      <a:pPr algn="ctr" rtl="0">
                        <a:defRPr lang="en-US" sz="1400" b="1">
                          <a:solidFill>
                            <a:srgbClr val="FFFFFF"/>
                          </a:solidFill>
                        </a:defRPr>
                      </a:pPr>
                      <a:t>[CATEGORY NAME]</a:t>
                    </a:fld>
                    <a:endParaRPr lang="en-US" sz="1400"/>
                  </a:p>
                  <a:p>
                    <a:pPr algn="ctr" rtl="0">
                      <a:defRPr lang="en-US" sz="1400" b="1">
                        <a:solidFill>
                          <a:srgbClr val="FFFFFF"/>
                        </a:solidFill>
                      </a:defRPr>
                    </a:pPr>
                    <a:fld id="{0D9F908E-4BE3-4D49-907F-1464A8C3DBB2}" type="PERCENTAGE">
                      <a:rPr lang="en-US" sz="1400" baseline="0" smtClean="0"/>
                      <a:pPr algn="ctr" rtl="0">
                        <a:defRPr lang="en-US" sz="1400" b="1">
                          <a:solidFill>
                            <a:srgbClr val="FFFFFF"/>
                          </a:solidFill>
                        </a:defRPr>
                      </a:pPr>
                      <a:t>[PERCENTAGE]</a:t>
                    </a:fld>
                    <a:endParaRPr lang="fi-FI"/>
                  </a:p>
                </c:rich>
              </c:tx>
              <c:numFmt formatCode="0.0\ 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0.1289699847715636"/>
                      <c:h val="0.1201032403941746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06AC-4392-9C6A-309B37E1D04E}"/>
                </c:ext>
              </c:extLst>
            </c:dLbl>
            <c:dLbl>
              <c:idx val="4"/>
              <c:layout>
                <c:manualLayout>
                  <c:x val="-4.3011828815170301E-3"/>
                  <c:y val="-1.3939558191455632E-2"/>
                </c:manualLayout>
              </c:layout>
              <c:numFmt formatCode="0.0\ 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6AC-4392-9C6A-309B37E1D04E}"/>
                </c:ext>
              </c:extLst>
            </c:dLbl>
            <c:dLbl>
              <c:idx val="5"/>
              <c:layout>
                <c:manualLayout>
                  <c:x val="-0.13015618354075062"/>
                  <c:y val="2.2482479348193599E-2"/>
                </c:manualLayout>
              </c:layout>
              <c:numFmt formatCode="0.0\ 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fi-FI" sz="14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122632627536398"/>
                      <c:h val="0.114444358198823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06AC-4392-9C6A-309B37E1D04E}"/>
                </c:ext>
              </c:extLst>
            </c:dLbl>
            <c:dLbl>
              <c:idx val="7"/>
              <c:layout>
                <c:manualLayout>
                  <c:x val="-7.5849813938700323E-3"/>
                  <c:y val="6.542753635581793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910AA7A-52D2-434E-95A1-9F5820AB7141}" type="CATEGORYNAME">
                      <a:rPr lang="en-US" sz="1400">
                        <a:solidFill>
                          <a:schemeClr val="bg1"/>
                        </a:solidFill>
                      </a:rPr>
                      <a:pPr>
                        <a:defRPr sz="1400" b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defRPr>
                      </a:pPr>
                      <a:t>[CATEGORY NAME]</a:t>
                    </a:fld>
                    <a:r>
                      <a:rPr lang="en-US" sz="1400" baseline="0">
                        <a:solidFill>
                          <a:schemeClr val="bg1"/>
                        </a:solidFill>
                      </a:rPr>
                      <a:t>
</a:t>
                    </a:r>
                    <a:fld id="{C2C9324E-E7A5-4782-B620-23701CBEABA8}" type="PERCENTAGE">
                      <a:rPr lang="en-US" sz="1400" baseline="0">
                        <a:solidFill>
                          <a:schemeClr val="bg1"/>
                        </a:solidFill>
                      </a:rPr>
                      <a:pPr>
                        <a:defRPr sz="1400" b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defRPr>
                      </a:pPr>
                      <a:t>[PERCENTAGE]</a:t>
                    </a:fld>
                    <a:endParaRPr lang="en-US" sz="1400" baseline="0">
                      <a:solidFill>
                        <a:schemeClr val="bg1"/>
                      </a:solidFill>
                    </a:endParaRPr>
                  </a:p>
                </c:rich>
              </c:tx>
              <c:numFmt formatCode="0.0\ 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06AC-4392-9C6A-309B37E1D04E}"/>
                </c:ext>
              </c:extLst>
            </c:dLbl>
            <c:dLbl>
              <c:idx val="8"/>
              <c:layout>
                <c:manualLayout>
                  <c:x val="-2.5764928829480117E-3"/>
                  <c:y val="-7.113728884988858E-3"/>
                </c:manualLayout>
              </c:layout>
              <c:numFmt formatCode="0.0\ 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06AC-4392-9C6A-309B37E1D04E}"/>
                </c:ext>
              </c:extLst>
            </c:dLbl>
            <c:dLbl>
              <c:idx val="9"/>
              <c:layout>
                <c:manualLayout>
                  <c:x val="-1.9207452235082977E-2"/>
                  <c:y val="-0.14567477477833049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lang="en-US" sz="1400" b="1" i="0" u="none" strike="noStrike" kern="1200" baseline="0"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19ECFD8-3BD5-4E1D-812F-1117E1941F0C}" type="CATEGORYNAME">
                      <a:rPr lang="en-US" sz="1400" b="1" i="0" u="none" strike="noStrike" kern="1200" baseline="0"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latin typeface="+mn-lt"/>
                        <a:ea typeface="+mn-ea"/>
                        <a:cs typeface="+mn-cs"/>
                      </a:rPr>
                      <a:pPr>
                        <a:defRPr lang="en-US" sz="1400" b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</a:defRPr>
                      </a:pPr>
                      <a:t>[CATEGORY NAME]</a:t>
                    </a:fld>
                    <a:r>
                      <a:rPr lang="en-US" sz="1400" b="1" i="0" u="none" strike="noStrike" kern="1200" baseline="0"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latin typeface="+mn-lt"/>
                        <a:ea typeface="+mn-ea"/>
                        <a:cs typeface="+mn-cs"/>
                      </a:rPr>
                      <a:t>
</a:t>
                    </a:r>
                    <a:fld id="{DF6E2260-FDB8-4A19-958B-A5A526F98FEE}" type="PERCENTAGE">
                      <a:rPr lang="en-US" sz="1400" b="1" i="0" u="none" strike="noStrike" kern="1200" baseline="0"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latin typeface="+mn-lt"/>
                        <a:ea typeface="+mn-ea"/>
                        <a:cs typeface="+mn-cs"/>
                      </a:rPr>
                      <a:pPr>
                        <a:defRPr lang="en-US" sz="1400" b="1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</a:defRPr>
                      </a:pPr>
                      <a:t>[PERCENTAGE]</a:t>
                    </a:fld>
                    <a:endParaRPr lang="en-US" sz="14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+mn-lt"/>
                      <a:ea typeface="+mn-ea"/>
                      <a:cs typeface="+mn-cs"/>
                    </a:endParaRPr>
                  </a:p>
                </c:rich>
              </c:tx>
              <c:numFmt formatCode="0.0\ 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lang="en-US" sz="14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06AC-4392-9C6A-309B37E1D04E}"/>
                </c:ext>
              </c:extLst>
            </c:dLbl>
            <c:dLbl>
              <c:idx val="10"/>
              <c:layout>
                <c:manualLayout>
                  <c:x val="3.2022447114426297E-2"/>
                  <c:y val="-0.14070505356949431"/>
                </c:manualLayout>
              </c:layout>
              <c:numFmt formatCode="0.0\ 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06AC-4392-9C6A-309B37E1D04E}"/>
                </c:ext>
              </c:extLst>
            </c:dLbl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KL_energialähteet_2023!$AA$17:$AA$27</c:f>
              <c:strCache>
                <c:ptCount val="11"/>
                <c:pt idx="0">
                  <c:v>Energiapuu</c:v>
                </c:pt>
                <c:pt idx="1">
                  <c:v>Teollisuuden puutähde</c:v>
                </c:pt>
                <c:pt idx="2">
                  <c:v>Muu biomassa</c:v>
                </c:pt>
                <c:pt idx="3">
                  <c:v>Jäte</c:v>
                </c:pt>
                <c:pt idx="4">
                  <c:v>Lämmön talteenotto</c:v>
                </c:pt>
                <c:pt idx="5">
                  <c:v>Sähkökattila</c:v>
                </c:pt>
                <c:pt idx="6">
                  <c:v>Turve</c:v>
                </c:pt>
                <c:pt idx="7">
                  <c:v>Maakaasu</c:v>
                </c:pt>
                <c:pt idx="8">
                  <c:v>Kivihiili</c:v>
                </c:pt>
                <c:pt idx="9">
                  <c:v>Öljy</c:v>
                </c:pt>
                <c:pt idx="10">
                  <c:v>Muut</c:v>
                </c:pt>
              </c:strCache>
            </c:strRef>
          </c:cat>
          <c:val>
            <c:numRef>
              <c:f>KL_energialähteet_2023!$AD$17:$AD$27</c:f>
              <c:numCache>
                <c:formatCode>0.0\ %</c:formatCode>
                <c:ptCount val="11"/>
                <c:pt idx="0">
                  <c:v>0.29599999999999999</c:v>
                </c:pt>
                <c:pt idx="1">
                  <c:v>0.111</c:v>
                </c:pt>
                <c:pt idx="2">
                  <c:v>5.3999999999999999E-2</c:v>
                </c:pt>
                <c:pt idx="3">
                  <c:v>9.0999999999999998E-2</c:v>
                </c:pt>
                <c:pt idx="4">
                  <c:v>0.17100000000000001</c:v>
                </c:pt>
                <c:pt idx="5">
                  <c:v>0.02</c:v>
                </c:pt>
                <c:pt idx="6">
                  <c:v>8.4000000000000005E-2</c:v>
                </c:pt>
                <c:pt idx="7">
                  <c:v>6.3E-2</c:v>
                </c:pt>
                <c:pt idx="8">
                  <c:v>0.08</c:v>
                </c:pt>
                <c:pt idx="9">
                  <c:v>2.7E-2</c:v>
                </c:pt>
                <c:pt idx="10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06AC-4392-9C6A-309B37E1D04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54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fi-FI"/>
    </a:p>
  </c:txPr>
  <c:externalData r:id="rId4">
    <c:autoUpdate val="0"/>
  </c:externalData>
  <c:userShapes r:id="rId5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4329961825396185"/>
          <c:y val="7.9199104814092591E-2"/>
          <c:w val="0.53258520781115259"/>
          <c:h val="0.8155732727766396"/>
        </c:manualLayout>
      </c:layout>
      <c:doughnutChart>
        <c:varyColors val="1"/>
        <c:ser>
          <c:idx val="0"/>
          <c:order val="0"/>
          <c:spPr>
            <a:ln w="12700"/>
          </c:spPr>
          <c:dPt>
            <c:idx val="0"/>
            <c:bubble3D val="0"/>
            <c:spPr>
              <a:solidFill>
                <a:srgbClr val="14B063">
                  <a:lumMod val="50000"/>
                </a:srgb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4EB-41F2-9807-1AB78BB00F07}"/>
              </c:ext>
            </c:extLst>
          </c:dPt>
          <c:dPt>
            <c:idx val="1"/>
            <c:bubble3D val="0"/>
            <c:spPr>
              <a:solidFill>
                <a:srgbClr val="14B063">
                  <a:lumMod val="75000"/>
                </a:srgb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4EB-41F2-9807-1AB78BB00F07}"/>
              </c:ext>
            </c:extLst>
          </c:dPt>
          <c:dPt>
            <c:idx val="2"/>
            <c:bubble3D val="0"/>
            <c:spPr>
              <a:solidFill>
                <a:srgbClr val="14B063">
                  <a:lumMod val="60000"/>
                  <a:lumOff val="40000"/>
                </a:srgb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4EB-41F2-9807-1AB78BB00F07}"/>
              </c:ext>
            </c:extLst>
          </c:dPt>
          <c:dPt>
            <c:idx val="3"/>
            <c:bubble3D val="0"/>
            <c:spPr>
              <a:solidFill>
                <a:srgbClr val="9E78B2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4EB-41F2-9807-1AB78BB00F07}"/>
              </c:ext>
            </c:extLst>
          </c:dPt>
          <c:dPt>
            <c:idx val="4"/>
            <c:bubble3D val="0"/>
            <c:spPr>
              <a:solidFill>
                <a:srgbClr val="9E78B2">
                  <a:lumMod val="60000"/>
                  <a:lumOff val="40000"/>
                </a:srgb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4EB-41F2-9807-1AB78BB00F07}"/>
              </c:ext>
            </c:extLst>
          </c:dPt>
          <c:dPt>
            <c:idx val="5"/>
            <c:bubble3D val="0"/>
            <c:spPr>
              <a:solidFill>
                <a:srgbClr val="FFC000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E4EB-41F2-9807-1AB78BB00F07}"/>
              </c:ext>
            </c:extLst>
          </c:dPt>
          <c:dPt>
            <c:idx val="6"/>
            <c:bubble3D val="0"/>
            <c:spPr>
              <a:solidFill>
                <a:srgbClr val="EA7911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E4EB-41F2-9807-1AB78BB00F07}"/>
              </c:ext>
            </c:extLst>
          </c:dPt>
          <c:dPt>
            <c:idx val="7"/>
            <c:bubble3D val="0"/>
            <c:spPr>
              <a:solidFill>
                <a:srgbClr val="4EADBB"/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E4EB-41F2-9807-1AB78BB00F07}"/>
              </c:ext>
            </c:extLst>
          </c:dPt>
          <c:dPt>
            <c:idx val="8"/>
            <c:bubble3D val="0"/>
            <c:spPr>
              <a:solidFill>
                <a:srgbClr val="FFFFFF">
                  <a:lumMod val="50000"/>
                </a:srgb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E4EB-41F2-9807-1AB78BB00F07}"/>
              </c:ext>
            </c:extLst>
          </c:dPt>
          <c:dPt>
            <c:idx val="9"/>
            <c:bubble3D val="0"/>
            <c:spPr>
              <a:solidFill>
                <a:srgbClr val="000000">
                  <a:lumMod val="95000"/>
                  <a:lumOff val="5000"/>
                </a:srgb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E4EB-41F2-9807-1AB78BB00F07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E4EB-41F2-9807-1AB78BB00F07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E4EB-41F2-9807-1AB78BB00F07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E4EB-41F2-9807-1AB78BB00F07}"/>
              </c:ext>
            </c:extLst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B-E4EB-41F2-9807-1AB78BB00F07}"/>
              </c:ext>
            </c:extLst>
          </c:dPt>
          <c:dPt>
            <c:idx val="14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D-E4EB-41F2-9807-1AB78BB00F07}"/>
              </c:ext>
            </c:extLst>
          </c:dPt>
          <c:dPt>
            <c:idx val="15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F-E4EB-41F2-9807-1AB78BB00F07}"/>
              </c:ext>
            </c:extLst>
          </c:dPt>
          <c:dPt>
            <c:idx val="16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1-E4EB-41F2-9807-1AB78BB00F07}"/>
              </c:ext>
            </c:extLst>
          </c:dPt>
          <c:dPt>
            <c:idx val="17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3-E4EB-41F2-9807-1AB78BB00F07}"/>
              </c:ext>
            </c:extLst>
          </c:dPt>
          <c:dPt>
            <c:idx val="18"/>
            <c:bubble3D val="0"/>
            <c:spPr>
              <a:solidFill>
                <a:schemeClr val="accent1">
                  <a:lumMod val="8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5-E4EB-41F2-9807-1AB78BB00F07}"/>
              </c:ext>
            </c:extLst>
          </c:dPt>
          <c:dPt>
            <c:idx val="19"/>
            <c:bubble3D val="0"/>
            <c:spPr>
              <a:solidFill>
                <a:schemeClr val="accent2">
                  <a:lumMod val="8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7-E4EB-41F2-9807-1AB78BB00F07}"/>
              </c:ext>
            </c:extLst>
          </c:dPt>
          <c:dPt>
            <c:idx val="20"/>
            <c:bubble3D val="0"/>
            <c:spPr>
              <a:solidFill>
                <a:schemeClr val="accent3">
                  <a:lumMod val="8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9-E4EB-41F2-9807-1AB78BB00F07}"/>
              </c:ext>
            </c:extLst>
          </c:dPt>
          <c:dPt>
            <c:idx val="21"/>
            <c:bubble3D val="0"/>
            <c:spPr>
              <a:solidFill>
                <a:schemeClr val="accent4">
                  <a:lumMod val="8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B-E4EB-41F2-9807-1AB78BB00F07}"/>
              </c:ext>
            </c:extLst>
          </c:dPt>
          <c:dPt>
            <c:idx val="22"/>
            <c:bubble3D val="0"/>
            <c:spPr>
              <a:solidFill>
                <a:schemeClr val="accent5">
                  <a:lumMod val="8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D-E4EB-41F2-9807-1AB78BB00F07}"/>
              </c:ext>
            </c:extLst>
          </c:dPt>
          <c:dPt>
            <c:idx val="23"/>
            <c:bubble3D val="0"/>
            <c:spPr>
              <a:solidFill>
                <a:schemeClr val="accent6">
                  <a:lumMod val="8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F-E4EB-41F2-9807-1AB78BB00F07}"/>
              </c:ext>
            </c:extLst>
          </c:dPt>
          <c:dPt>
            <c:idx val="24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1-E4EB-41F2-9807-1AB78BB00F07}"/>
              </c:ext>
            </c:extLst>
          </c:dPt>
          <c:dPt>
            <c:idx val="25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3-E4EB-41F2-9807-1AB78BB00F07}"/>
              </c:ext>
            </c:extLst>
          </c:dPt>
          <c:dPt>
            <c:idx val="26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5-E4EB-41F2-9807-1AB78BB00F07}"/>
              </c:ext>
            </c:extLst>
          </c:dPt>
          <c:dPt>
            <c:idx val="27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7-E4EB-41F2-9807-1AB78BB00F07}"/>
              </c:ext>
            </c:extLst>
          </c:dPt>
          <c:dPt>
            <c:idx val="28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9-E4EB-41F2-9807-1AB78BB00F07}"/>
              </c:ext>
            </c:extLst>
          </c:dPt>
          <c:dPt>
            <c:idx val="29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B-E4EB-41F2-9807-1AB78BB00F07}"/>
              </c:ext>
            </c:extLst>
          </c:dPt>
          <c:dPt>
            <c:idx val="30"/>
            <c:bubble3D val="0"/>
            <c:spPr>
              <a:solidFill>
                <a:schemeClr val="accent1">
                  <a:lumMod val="5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D-E4EB-41F2-9807-1AB78BB00F07}"/>
              </c:ext>
            </c:extLst>
          </c:dPt>
          <c:dPt>
            <c:idx val="31"/>
            <c:bubble3D val="0"/>
            <c:spPr>
              <a:solidFill>
                <a:schemeClr val="accent2">
                  <a:lumMod val="50000"/>
                </a:schemeClr>
              </a:solidFill>
              <a:ln w="127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3F-E4EB-41F2-9807-1AB78BB00F07}"/>
              </c:ext>
            </c:extLst>
          </c:dPt>
          <c:dLbls>
            <c:dLbl>
              <c:idx val="0"/>
              <c:layout>
                <c:manualLayout>
                  <c:x val="-1.018566128568627E-2"/>
                  <c:y val="-5.8287463283390904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4EB-41F2-9807-1AB78BB00F07}"/>
                </c:ext>
              </c:extLst>
            </c:dLbl>
            <c:dLbl>
              <c:idx val="1"/>
              <c:layout>
                <c:manualLayout>
                  <c:x val="1.1878346322369887E-2"/>
                  <c:y val="1.045228280634199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058233105477199"/>
                      <c:h val="0.1331628986762682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4EB-41F2-9807-1AB78BB00F07}"/>
                </c:ext>
              </c:extLst>
            </c:dLbl>
            <c:dLbl>
              <c:idx val="2"/>
              <c:layout>
                <c:manualLayout>
                  <c:x val="2.5006648989755525E-3"/>
                  <c:y val="3.3666559705113697E-3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970725639847732E-2"/>
                      <c:h val="0.127667662231876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4EB-41F2-9807-1AB78BB00F07}"/>
                </c:ext>
              </c:extLst>
            </c:dLbl>
            <c:dLbl>
              <c:idx val="3"/>
              <c:layout>
                <c:manualLayout>
                  <c:x val="4.1137769754215729E-3"/>
                  <c:y val="-2.236648318646766E-3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ctr" rtl="0">
                      <a:defRPr lang="en-US" sz="1400" b="1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ABCFB09-F467-4D78-BF89-2BEC4EA0B621}" type="CATEGORYNAME">
                      <a:rPr lang="en-US" sz="1400" b="1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rPr>
                      <a:pPr algn="ctr" rtl="0">
                        <a:defRPr lang="en-US" sz="1400" b="1">
                          <a:solidFill>
                            <a:srgbClr val="FFFFFF"/>
                          </a:solidFill>
                        </a:defRPr>
                      </a:pPr>
                      <a:t>[CATEGORY NAME]</a:t>
                    </a:fld>
                    <a:r>
                      <a:rPr lang="en-US" sz="1400" b="1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rPr>
                      <a:t> </a:t>
                    </a:r>
                  </a:p>
                  <a:p>
                    <a:pPr algn="ctr" rtl="0">
                      <a:defRPr lang="en-US" sz="1400" b="1">
                        <a:solidFill>
                          <a:srgbClr val="FFFFFF"/>
                        </a:solidFill>
                      </a:defRPr>
                    </a:pPr>
                    <a:fld id="{06BF95E3-1887-42B7-9EE6-D82201446F9B}" type="PERCENTAGE">
                      <a:rPr lang="en-US" sz="1400" b="1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rPr>
                      <a:pPr algn="ctr" rtl="0">
                        <a:defRPr lang="en-US" sz="1400" b="1">
                          <a:solidFill>
                            <a:srgbClr val="FFFFFF"/>
                          </a:solidFill>
                        </a:defRPr>
                      </a:pPr>
                      <a:t>[PERCENTAGE]</a:t>
                    </a:fld>
                    <a:endParaRPr lang="fi-FI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separator> </c:separator>
              <c:extLst>
                <c:ext xmlns:c15="http://schemas.microsoft.com/office/drawing/2012/chart" uri="{CE6537A1-D6FC-4f65-9D91-7224C49458BB}">
                  <c15:layout>
                    <c:manualLayout>
                      <c:w val="9.3403073848112889E-2"/>
                      <c:h val="0.122193205473140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4EB-41F2-9807-1AB78BB00F07}"/>
                </c:ext>
              </c:extLst>
            </c:dLbl>
            <c:dLbl>
              <c:idx val="4"/>
              <c:layout>
                <c:manualLayout>
                  <c:x val="1.3647756671152555E-3"/>
                  <c:y val="0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236443448663081"/>
                      <c:h val="0.1236781609195402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E4EB-41F2-9807-1AB78BB00F07}"/>
                </c:ext>
              </c:extLst>
            </c:dLbl>
            <c:dLbl>
              <c:idx val="5"/>
              <c:layout>
                <c:manualLayout>
                  <c:x val="-0.17335514739265576"/>
                  <c:y val="2.9457869490451549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400" b="1" i="0" u="none" strike="noStrike" kern="1200" baseline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4ADD4D0-9471-4D9D-BEBC-D79884D234DE}" type="CATEGORYNAME">
                      <a:rPr lang="en-US" sz="1200"/>
                      <a:pPr>
                        <a:defRPr sz="1400" b="1">
                          <a:solidFill>
                            <a:sysClr val="windowText" lastClr="000000"/>
                          </a:solidFill>
                        </a:defRPr>
                      </a:pPr>
                      <a:t>[CATEGORY NAME]</a:t>
                    </a:fld>
                    <a:r>
                      <a:rPr lang="en-US" sz="1400" baseline="0"/>
                      <a:t>
</a:t>
                    </a:r>
                    <a:fld id="{A0526AD2-5F24-4AA3-94AB-35A310A0E2B0}" type="PERCENTAGE">
                      <a:rPr lang="en-US" sz="1400" baseline="0"/>
                      <a:pPr>
                        <a:defRPr sz="1400" b="1">
                          <a:solidFill>
                            <a:sysClr val="windowText" lastClr="000000"/>
                          </a:solidFill>
                        </a:defRPr>
                      </a:pPr>
                      <a:t>[PERCENTAGE]</a:t>
                    </a:fld>
                    <a:endParaRPr lang="en-US" sz="1400" baseline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787855586628949"/>
                      <c:h val="9.4951414772213041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E4EB-41F2-9807-1AB78BB00F07}"/>
                </c:ext>
              </c:extLst>
            </c:dLbl>
            <c:dLbl>
              <c:idx val="7"/>
              <c:layout>
                <c:manualLayout>
                  <c:x val="1.4514408830932481E-3"/>
                  <c:y val="7.2363603452389388E-3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>
                    <a:defRPr lang="en-US"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E4EB-41F2-9807-1AB78BB00F07}"/>
                </c:ext>
              </c:extLst>
            </c:dLbl>
            <c:dLbl>
              <c:idx val="8"/>
              <c:layout>
                <c:manualLayout>
                  <c:x val="-6.8569217998210822E-4"/>
                  <c:y val="-5.023901792840197E-3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E4EB-41F2-9807-1AB78BB00F07}"/>
                </c:ext>
              </c:extLst>
            </c:dLbl>
            <c:dLbl>
              <c:idx val="9"/>
              <c:layout>
                <c:manualLayout>
                  <c:x val="6.8236096895256592E-3"/>
                  <c:y val="9.613375130616509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E4EB-41F2-9807-1AB78BB00F0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E4EB-41F2-9807-1AB78BB00F07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KL_energialähteet_2023!$AS$17:$AS$45</c:f>
              <c:strCache>
                <c:ptCount val="29"/>
                <c:pt idx="0">
                  <c:v>Energiapuu</c:v>
                </c:pt>
                <c:pt idx="1">
                  <c:v>Teollisuuden puutähde</c:v>
                </c:pt>
                <c:pt idx="2">
                  <c:v>Muu biomassa</c:v>
                </c:pt>
                <c:pt idx="3">
                  <c:v>Jäte</c:v>
                </c:pt>
                <c:pt idx="4">
                  <c:v>Lämmön talteenotto</c:v>
                </c:pt>
                <c:pt idx="5">
                  <c:v>Sähkökattila</c:v>
                </c:pt>
                <c:pt idx="6">
                  <c:v>Turve</c:v>
                </c:pt>
                <c:pt idx="7">
                  <c:v>Maakaasu</c:v>
                </c:pt>
                <c:pt idx="8">
                  <c:v>Kivihiili</c:v>
                </c:pt>
                <c:pt idx="9">
                  <c:v>Öljy</c:v>
                </c:pt>
                <c:pt idx="10">
                  <c:v>Muut</c:v>
                </c:pt>
                <c:pt idx="11">
                  <c:v>Kokopuu- tai rankahake</c:v>
                </c:pt>
                <c:pt idx="12">
                  <c:v>Metsätähdehake</c:v>
                </c:pt>
                <c:pt idx="13">
                  <c:v>Kuori</c:v>
                </c:pt>
                <c:pt idx="14">
                  <c:v>Sahanpuru</c:v>
                </c:pt>
                <c:pt idx="15">
                  <c:v>Muu</c:v>
                </c:pt>
                <c:pt idx="16">
                  <c:v>Kierrätyspuu</c:v>
                </c:pt>
                <c:pt idx="17">
                  <c:v>Puupelletit</c:v>
                </c:pt>
                <c:pt idx="18">
                  <c:v>Yhdyskuntajäte</c:v>
                </c:pt>
                <c:pt idx="19">
                  <c:v>Muut jätteet</c:v>
                </c:pt>
                <c:pt idx="20">
                  <c:v>Lämmön talteenotto</c:v>
                </c:pt>
                <c:pt idx="21">
                  <c:v>Lämpöpumppu</c:v>
                </c:pt>
                <c:pt idx="22">
                  <c:v>Sähkökattila</c:v>
                </c:pt>
                <c:pt idx="23">
                  <c:v>Jyrsinturve</c:v>
                </c:pt>
                <c:pt idx="24">
                  <c:v>Palaturve</c:v>
                </c:pt>
                <c:pt idx="25">
                  <c:v>Maakaasu</c:v>
                </c:pt>
                <c:pt idx="26">
                  <c:v>Kivihiili ja antrasiitti</c:v>
                </c:pt>
                <c:pt idx="27">
                  <c:v>Öljy</c:v>
                </c:pt>
                <c:pt idx="28">
                  <c:v>Muut polttoaineet</c:v>
                </c:pt>
              </c:strCache>
            </c:strRef>
          </c:cat>
          <c:val>
            <c:numRef>
              <c:f>KL_energialähteet_2023!$AT$17:$AT$45</c:f>
              <c:numCache>
                <c:formatCode>0.0\ %</c:formatCode>
                <c:ptCount val="29"/>
                <c:pt idx="0">
                  <c:v>0.29599999999999999</c:v>
                </c:pt>
                <c:pt idx="1">
                  <c:v>0.111</c:v>
                </c:pt>
                <c:pt idx="2">
                  <c:v>5.3999999999999999E-2</c:v>
                </c:pt>
                <c:pt idx="3">
                  <c:v>9.0999999999999998E-2</c:v>
                </c:pt>
                <c:pt idx="4">
                  <c:v>0.17100000000000001</c:v>
                </c:pt>
                <c:pt idx="5">
                  <c:v>0.02</c:v>
                </c:pt>
                <c:pt idx="6">
                  <c:v>8.4000000000000005E-2</c:v>
                </c:pt>
                <c:pt idx="7">
                  <c:v>6.3E-2</c:v>
                </c:pt>
                <c:pt idx="8">
                  <c:v>0.08</c:v>
                </c:pt>
                <c:pt idx="9">
                  <c:v>2.7E-2</c:v>
                </c:pt>
                <c:pt idx="10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40-E4EB-41F2-9807-1AB78BB00F07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2-E4EB-41F2-9807-1AB78BB00F0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4-E4EB-41F2-9807-1AB78BB00F0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6-E4EB-41F2-9807-1AB78BB00F0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8-E4EB-41F2-9807-1AB78BB00F0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A-E4EB-41F2-9807-1AB78BB00F0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C-E4EB-41F2-9807-1AB78BB00F0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4E-E4EB-41F2-9807-1AB78BB00F0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0-E4EB-41F2-9807-1AB78BB00F0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2-E4EB-41F2-9807-1AB78BB00F07}"/>
              </c:ext>
            </c:extLst>
          </c:dPt>
          <c:dPt>
            <c:idx val="9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4-E4EB-41F2-9807-1AB78BB00F07}"/>
              </c:ext>
            </c:extLst>
          </c:dPt>
          <c:dPt>
            <c:idx val="1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6-E4EB-41F2-9807-1AB78BB00F07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8-E4EB-41F2-9807-1AB78BB00F07}"/>
              </c:ext>
            </c:extLst>
          </c:dPt>
          <c:dPt>
            <c:idx val="12"/>
            <c:bubble3D val="0"/>
            <c:spPr>
              <a:solidFill>
                <a:srgbClr val="14B06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A-E4EB-41F2-9807-1AB78BB00F07}"/>
              </c:ext>
            </c:extLst>
          </c:dPt>
          <c:dPt>
            <c:idx val="13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C-E4EB-41F2-9807-1AB78BB00F07}"/>
              </c:ext>
            </c:extLst>
          </c:dPt>
          <c:dPt>
            <c:idx val="14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5E-E4EB-41F2-9807-1AB78BB00F07}"/>
              </c:ext>
            </c:extLst>
          </c:dPt>
          <c:dPt>
            <c:idx val="15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0-E4EB-41F2-9807-1AB78BB00F07}"/>
              </c:ext>
            </c:extLst>
          </c:dPt>
          <c:dPt>
            <c:idx val="16"/>
            <c:bubble3D val="0"/>
            <c:spPr>
              <a:solidFill>
                <a:srgbClr val="4EADBB">
                  <a:lumMod val="40000"/>
                  <a:lumOff val="60000"/>
                </a:srgb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62-E4EB-41F2-9807-1AB78BB00F07}"/>
              </c:ext>
            </c:extLst>
          </c:dPt>
          <c:dPt>
            <c:idx val="17"/>
            <c:bubble3D val="0"/>
            <c:spPr>
              <a:solidFill>
                <a:srgbClr val="4EADBB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4-E4EB-41F2-9807-1AB78BB00F07}"/>
              </c:ext>
            </c:extLst>
          </c:dPt>
          <c:dPt>
            <c:idx val="18"/>
            <c:bubble3D val="0"/>
            <c:spPr>
              <a:solidFill>
                <a:srgbClr val="460D5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6-E4EB-41F2-9807-1AB78BB00F07}"/>
              </c:ext>
            </c:extLst>
          </c:dPt>
          <c:dPt>
            <c:idx val="19"/>
            <c:bubble3D val="0"/>
            <c:spPr>
              <a:solidFill>
                <a:srgbClr val="9E78B2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8-E4EB-41F2-9807-1AB78BB00F07}"/>
              </c:ext>
            </c:extLst>
          </c:dPt>
          <c:dPt>
            <c:idx val="20"/>
            <c:bubble3D val="0"/>
            <c:spPr>
              <a:solidFill>
                <a:srgbClr val="460D56">
                  <a:lumMod val="50000"/>
                  <a:lumOff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A-E4EB-41F2-9807-1AB78BB00F07}"/>
              </c:ext>
            </c:extLst>
          </c:dPt>
          <c:dPt>
            <c:idx val="21"/>
            <c:bubble3D val="0"/>
            <c:spPr>
              <a:solidFill>
                <a:srgbClr val="460D56">
                  <a:lumMod val="25000"/>
                  <a:lumOff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C-E4EB-41F2-9807-1AB78BB00F07}"/>
              </c:ext>
            </c:extLst>
          </c:dPt>
          <c:dPt>
            <c:idx val="2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6E-E4EB-41F2-9807-1AB78BB00F07}"/>
              </c:ext>
            </c:extLst>
          </c:dPt>
          <c:dPt>
            <c:idx val="23"/>
            <c:bubble3D val="0"/>
            <c:spPr>
              <a:solidFill>
                <a:srgbClr val="DB58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70-E4EB-41F2-9807-1AB78BB00F07}"/>
              </c:ext>
            </c:extLst>
          </c:dPt>
          <c:dPt>
            <c:idx val="24"/>
            <c:bubble3D val="0"/>
            <c:spPr>
              <a:solidFill>
                <a:srgbClr val="DB5800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72-E4EB-41F2-9807-1AB78BB00F07}"/>
              </c:ext>
            </c:extLst>
          </c:dPt>
          <c:dPt>
            <c:idx val="25"/>
            <c:bubble3D val="0"/>
            <c:spPr>
              <a:solidFill>
                <a:srgbClr val="4EADB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74-E4EB-41F2-9807-1AB78BB00F07}"/>
              </c:ext>
            </c:extLst>
          </c:dPt>
          <c:dPt>
            <c:idx val="26"/>
            <c:bubble3D val="0"/>
            <c:spPr>
              <a:solidFill>
                <a:srgbClr val="FFFFFF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76-E4EB-41F2-9807-1AB78BB00F07}"/>
              </c:ext>
            </c:extLst>
          </c:dPt>
          <c:dPt>
            <c:idx val="27"/>
            <c:bubble3D val="0"/>
            <c:spPr>
              <a:solidFill>
                <a:srgbClr val="000000">
                  <a:lumMod val="95000"/>
                  <a:lumOff val="5000"/>
                </a:srgbClr>
              </a:solidFill>
              <a:ln w="1905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78-E4EB-41F2-9807-1AB78BB00F07}"/>
              </c:ext>
            </c:extLst>
          </c:dPt>
          <c:dPt>
            <c:idx val="28"/>
            <c:bubble3D val="0"/>
            <c:spPr>
              <a:solidFill>
                <a:srgbClr val="FFFFFF">
                  <a:lumMod val="5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7A-E4EB-41F2-9807-1AB78BB00F07}"/>
              </c:ext>
            </c:extLst>
          </c:dPt>
          <c:dPt>
            <c:idx val="29"/>
            <c:bubble3D val="0"/>
            <c:spPr>
              <a:solidFill>
                <a:srgbClr val="000000">
                  <a:lumMod val="75000"/>
                  <a:lumOff val="2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7C-E4EB-41F2-9807-1AB78BB00F07}"/>
              </c:ext>
            </c:extLst>
          </c:dPt>
          <c:dPt>
            <c:idx val="30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7E-E4EB-41F2-9807-1AB78BB00F07}"/>
              </c:ext>
            </c:extLst>
          </c:dPt>
          <c:dPt>
            <c:idx val="31"/>
            <c:bubble3D val="0"/>
            <c:spPr>
              <a:solidFill>
                <a:srgbClr val="B21C5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80-E4EB-41F2-9807-1AB78BB00F07}"/>
              </c:ext>
            </c:extLst>
          </c:dPt>
          <c:dLbls>
            <c:dLbl>
              <c:idx val="9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0.12933469805527123"/>
                      <c:h val="0.111389759665621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54-E4EB-41F2-9807-1AB78BB00F0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0.12952575912657796"/>
                      <c:h val="0.117659352142110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56-E4EB-41F2-9807-1AB78BB00F07}"/>
                </c:ext>
              </c:extLst>
            </c:dLbl>
            <c:dLbl>
              <c:idx val="11"/>
              <c:layout>
                <c:manualLayout>
                  <c:x val="0.18014329580347993"/>
                  <c:y val="2.089864158829676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8-E4EB-41F2-9807-1AB78BB00F07}"/>
                </c:ext>
              </c:extLst>
            </c:dLbl>
            <c:dLbl>
              <c:idx val="12"/>
              <c:layout>
                <c:manualLayout>
                  <c:x val="0.13101330603889458"/>
                  <c:y val="2.0898641588295995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A-E4EB-41F2-9807-1AB78BB00F07}"/>
                </c:ext>
              </c:extLst>
            </c:dLbl>
            <c:dLbl>
              <c:idx val="13"/>
              <c:layout>
                <c:manualLayout>
                  <c:x val="0.13374274991470478"/>
                  <c:y val="3.55276907001044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C-E4EB-41F2-9807-1AB78BB00F07}"/>
                </c:ext>
              </c:extLst>
            </c:dLbl>
            <c:dLbl>
              <c:idx val="14"/>
              <c:layout>
                <c:manualLayout>
                  <c:x val="0.14397805699057312"/>
                  <c:y val="8.0459852393059014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861144915739167"/>
                      <c:h val="0.1072100313479623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5E-E4EB-41F2-9807-1AB78BB00F07}"/>
                </c:ext>
              </c:extLst>
            </c:dLbl>
            <c:dLbl>
              <c:idx val="15"/>
              <c:layout>
                <c:manualLayout>
                  <c:x val="0.16308421785045538"/>
                  <c:y val="0.12330198537095088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1340785574781643E-2"/>
                      <c:h val="8.975966562173458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60-E4EB-41F2-9807-1AB78BB00F07}"/>
                </c:ext>
              </c:extLst>
            </c:dLbl>
            <c:dLbl>
              <c:idx val="16"/>
              <c:layout>
                <c:manualLayout>
                  <c:x val="0.11632556677600552"/>
                  <c:y val="0.12748179596672674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501188758774651"/>
                      <c:h val="6.886102403343781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62-E4EB-41F2-9807-1AB78BB00F07}"/>
                </c:ext>
              </c:extLst>
            </c:dLbl>
            <c:dLbl>
              <c:idx val="17"/>
              <c:layout>
                <c:manualLayout>
                  <c:x val="7.6424428522688409E-2"/>
                  <c:y val="0.152082705962695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4-E4EB-41F2-9807-1AB78BB00F07}"/>
                </c:ext>
              </c:extLst>
            </c:dLbl>
            <c:dLbl>
              <c:idx val="18"/>
              <c:layout>
                <c:manualLayout>
                  <c:x val="2.7294438758103039E-3"/>
                  <c:y val="0.1191222570532915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6-E4EB-41F2-9807-1AB78BB00F07}"/>
                </c:ext>
              </c:extLst>
            </c:dLbl>
            <c:dLbl>
              <c:idx val="19"/>
              <c:layout>
                <c:manualLayout>
                  <c:x val="-6.1412487205731885E-2"/>
                  <c:y val="0.12037436543002658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i-FI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2200614124872"/>
                      <c:h val="8.254568492418071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68-E4EB-41F2-9807-1AB78BB00F07}"/>
                </c:ext>
              </c:extLst>
            </c:dLbl>
            <c:dLbl>
              <c:idx val="20"/>
              <c:layout>
                <c:manualLayout>
                  <c:x val="-0.14466052541794611"/>
                  <c:y val="9.195402298850574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A-E4EB-41F2-9807-1AB78BB00F07}"/>
                </c:ext>
              </c:extLst>
            </c:dLbl>
            <c:dLbl>
              <c:idx val="21"/>
              <c:layout>
                <c:manualLayout>
                  <c:x val="-0.10508358921869672"/>
                  <c:y val="6.687565308254964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C-E4EB-41F2-9807-1AB78BB00F07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6E-E4EB-41F2-9807-1AB78BB00F07}"/>
                </c:ext>
              </c:extLst>
            </c:dLbl>
            <c:dLbl>
              <c:idx val="23"/>
              <c:layout>
                <c:manualLayout>
                  <c:x val="-9.2801091777550318E-2"/>
                  <c:y val="-2.089864158829676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70-E4EB-41F2-9807-1AB78BB00F07}"/>
                </c:ext>
              </c:extLst>
            </c:dLbl>
            <c:dLbl>
              <c:idx val="24"/>
              <c:layout>
                <c:manualLayout>
                  <c:x val="-0.10235414534288639"/>
                  <c:y val="-4.388714733542319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72-E4EB-41F2-9807-1AB78BB00F07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74-E4EB-41F2-9807-1AB78BB00F07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76-E4EB-41F2-9807-1AB78BB00F07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78-E4EB-41F2-9807-1AB78BB00F07}"/>
                </c:ext>
              </c:extLst>
            </c:dLbl>
            <c:dLbl>
              <c:idx val="28"/>
              <c:layout>
                <c:manualLayout>
                  <c:x val="5.0494711702490515E-2"/>
                  <c:y val="-0.10031347962382445"/>
                </c:manualLayout>
              </c:layout>
              <c:tx>
                <c:rich>
                  <a:bodyPr/>
                  <a:lstStyle/>
                  <a:p>
                    <a:fld id="{76021BC2-4F12-4814-AFDF-F84C81BA1402}" type="CATEGORYNAME">
                      <a:rPr lang="en-US" sz="1200"/>
                      <a:pPr/>
                      <a:t>[CATEGORY NAME]</a:t>
                    </a:fld>
                    <a:r>
                      <a:rPr lang="en-US" baseline="0"/>
                      <a:t>
</a:t>
                    </a:r>
                    <a:fld id="{0F7414B5-59A1-40C7-93C3-F73386461932}" type="PERCENTAGE">
                      <a:rPr lang="en-US" baseline="0"/>
                      <a:pPr/>
                      <a:t>[PERCENTAGE]</a:t>
                    </a:fld>
                    <a:endParaRPr lang="en-US" baseline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7A-E4EB-41F2-9807-1AB78BB00F07}"/>
                </c:ext>
              </c:extLst>
            </c:dLbl>
            <c:dLbl>
              <c:idx val="29"/>
              <c:layout>
                <c:manualLayout>
                  <c:x val="-5.868304332992158E-2"/>
                  <c:y val="-0.1024033437826541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7C-E4EB-41F2-9807-1AB78BB00F07}"/>
                </c:ext>
              </c:extLst>
            </c:dLbl>
            <c:dLbl>
              <c:idx val="30"/>
              <c:layout>
                <c:manualLayout>
                  <c:x val="2.8659160696008188E-2"/>
                  <c:y val="-0.1003134796238244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7E-E4EB-41F2-9807-1AB78BB00F07}"/>
                </c:ext>
              </c:extLst>
            </c:dLbl>
            <c:dLbl>
              <c:idx val="31"/>
              <c:layout>
                <c:manualLayout>
                  <c:x val="0.14466052541794611"/>
                  <c:y val="-8.359456635318704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80-E4EB-41F2-9807-1AB78BB00F07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fi-FI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KL_energialähteet_2023!$AS$17:$AS$45</c:f>
              <c:strCache>
                <c:ptCount val="29"/>
                <c:pt idx="0">
                  <c:v>Energiapuu</c:v>
                </c:pt>
                <c:pt idx="1">
                  <c:v>Teollisuuden puutähde</c:v>
                </c:pt>
                <c:pt idx="2">
                  <c:v>Muu biomassa</c:v>
                </c:pt>
                <c:pt idx="3">
                  <c:v>Jäte</c:v>
                </c:pt>
                <c:pt idx="4">
                  <c:v>Lämmön talteenotto</c:v>
                </c:pt>
                <c:pt idx="5">
                  <c:v>Sähkökattila</c:v>
                </c:pt>
                <c:pt idx="6">
                  <c:v>Turve</c:v>
                </c:pt>
                <c:pt idx="7">
                  <c:v>Maakaasu</c:v>
                </c:pt>
                <c:pt idx="8">
                  <c:v>Kivihiili</c:v>
                </c:pt>
                <c:pt idx="9">
                  <c:v>Öljy</c:v>
                </c:pt>
                <c:pt idx="10">
                  <c:v>Muut</c:v>
                </c:pt>
                <c:pt idx="11">
                  <c:v>Kokopuu- tai rankahake</c:v>
                </c:pt>
                <c:pt idx="12">
                  <c:v>Metsätähdehake</c:v>
                </c:pt>
                <c:pt idx="13">
                  <c:v>Kuori</c:v>
                </c:pt>
                <c:pt idx="14">
                  <c:v>Sahanpuru</c:v>
                </c:pt>
                <c:pt idx="15">
                  <c:v>Muu</c:v>
                </c:pt>
                <c:pt idx="16">
                  <c:v>Kierrätyspuu</c:v>
                </c:pt>
                <c:pt idx="17">
                  <c:v>Puupelletit</c:v>
                </c:pt>
                <c:pt idx="18">
                  <c:v>Yhdyskuntajäte</c:v>
                </c:pt>
                <c:pt idx="19">
                  <c:v>Muut jätteet</c:v>
                </c:pt>
                <c:pt idx="20">
                  <c:v>Lämmön talteenotto</c:v>
                </c:pt>
                <c:pt idx="21">
                  <c:v>Lämpöpumppu</c:v>
                </c:pt>
                <c:pt idx="22">
                  <c:v>Sähkökattila</c:v>
                </c:pt>
                <c:pt idx="23">
                  <c:v>Jyrsinturve</c:v>
                </c:pt>
                <c:pt idx="24">
                  <c:v>Palaturve</c:v>
                </c:pt>
                <c:pt idx="25">
                  <c:v>Maakaasu</c:v>
                </c:pt>
                <c:pt idx="26">
                  <c:v>Kivihiili ja antrasiitti</c:v>
                </c:pt>
                <c:pt idx="27">
                  <c:v>Öljy</c:v>
                </c:pt>
                <c:pt idx="28">
                  <c:v>Muut polttoaineet</c:v>
                </c:pt>
              </c:strCache>
            </c:strRef>
          </c:cat>
          <c:val>
            <c:numRef>
              <c:f>KL_energialähteet_2023!$AU$17:$AU$45</c:f>
              <c:numCache>
                <c:formatCode>General</c:formatCode>
                <c:ptCount val="29"/>
                <c:pt idx="10">
                  <c:v>0</c:v>
                </c:pt>
                <c:pt idx="11" formatCode="0.0\ %">
                  <c:v>0.216</c:v>
                </c:pt>
                <c:pt idx="12" formatCode="0.0\ %">
                  <c:v>0.08</c:v>
                </c:pt>
                <c:pt idx="13" formatCode="0.0\ %">
                  <c:v>0.04</c:v>
                </c:pt>
                <c:pt idx="14" formatCode="0.0\ %">
                  <c:v>4.3999999999999997E-2</c:v>
                </c:pt>
                <c:pt idx="15" formatCode="0.0\ %">
                  <c:v>2.7E-2</c:v>
                </c:pt>
                <c:pt idx="16" formatCode="0.0\ %">
                  <c:v>2.3E-2</c:v>
                </c:pt>
                <c:pt idx="17" formatCode="0.0\ %">
                  <c:v>3.2000000000000001E-2</c:v>
                </c:pt>
                <c:pt idx="18" formatCode="0.0\ %">
                  <c:v>6.3E-2</c:v>
                </c:pt>
                <c:pt idx="19" formatCode="0.0\ %">
                  <c:v>2.8000000000000001E-2</c:v>
                </c:pt>
                <c:pt idx="20" formatCode="0.0\ %">
                  <c:v>0.11600000000000001</c:v>
                </c:pt>
                <c:pt idx="21" formatCode="0.0\ %">
                  <c:v>5.5E-2</c:v>
                </c:pt>
                <c:pt idx="22" formatCode="0.0\ %">
                  <c:v>0.02</c:v>
                </c:pt>
                <c:pt idx="23" formatCode="0.0\ %">
                  <c:v>7.1999999999999995E-2</c:v>
                </c:pt>
                <c:pt idx="24" formatCode="0.0\ %">
                  <c:v>1.0999999999999999E-2</c:v>
                </c:pt>
                <c:pt idx="25" formatCode="0.0\ %">
                  <c:v>6.3E-2</c:v>
                </c:pt>
                <c:pt idx="26" formatCode="0.0\ %">
                  <c:v>0.08</c:v>
                </c:pt>
                <c:pt idx="27" formatCode="0.0\ %">
                  <c:v>2.7E-2</c:v>
                </c:pt>
                <c:pt idx="28" formatCode="0.0\ %">
                  <c:v>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81-E4EB-41F2-9807-1AB78BB00F0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4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fi-FI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4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38_BDFD282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99D9747-DA48-498B-A6B5-4C8F0A4519C5}" authorId="{B747C4EA-1D5F-C4CE-90AF-9E6E8684EFE4}" status="resolved" created="2024-10-28T13:49:04.080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187484718" sldId="312"/>
      <ac:spMk id="2" creationId="{74D03D5D-2775-F6A8-C69D-1F70F492CE64}"/>
      <ac:txMk cp="9" len="4">
        <ac:context len="61" hash="2566122329"/>
      </ac:txMk>
    </ac:txMkLst>
    <p188:pos x="2924249" y="350492"/>
    <p188:txBody>
      <a:bodyPr/>
      <a:lstStyle/>
      <a:p>
        <a:r>
          <a:rPr lang="fi-FI"/>
          <a:t>Poistetaanko tai päivitetäänkö?</a:t>
        </a:r>
      </a:p>
    </p188:txBody>
  </p188:cm>
</p188:cmLst>
</file>

<file path=ppt/comments/modernComment_DC07930_6286DCE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DDC203A-3BCE-440A-9B0F-5FF61C58D830}" authorId="{B747C4EA-1D5F-C4CE-90AF-9E6E8684EFE4}" status="resolved" created="2024-10-28T13:48:32.778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653005547" sldId="230717744"/>
      <ac:spMk id="2" creationId="{FFC67ACF-F93B-3375-45DA-D68DEAC40F50}"/>
      <ac:txMk cp="16" len="10">
        <ac:context len="126" hash="1705872601"/>
      </ac:txMk>
    </ac:txMkLst>
    <p188:pos x="5508423" y="241162"/>
    <p188:txBody>
      <a:bodyPr/>
      <a:lstStyle/>
      <a:p>
        <a:r>
          <a:rPr lang="fi-FI"/>
          <a:t>Pidetäänkö kalvo esityksessä?</a:t>
        </a:r>
      </a:p>
    </p188:txBody>
  </p188:cm>
</p188:cmLst>
</file>

<file path=ppt/comments/modernComment_DC07938_AF93536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8F65CD9-0A8C-4793-899A-6CEB98DB530B}" authorId="{B747C4EA-1D5F-C4CE-90AF-9E6E8684EFE4}" status="resolved" created="2024-10-18T13:26:25.421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945667943" sldId="230717752"/>
      <ac:spMk id="2" creationId="{24B4A4B7-25B6-5E2A-D309-A7D468C33C13}"/>
      <ac:txMk cp="38" len="9">
        <ac:context len="48" hash="171960515"/>
      </ac:txMk>
    </ac:txMkLst>
    <p188:pos x="2337841" y="897145"/>
    <p188:txBody>
      <a:bodyPr/>
      <a:lstStyle/>
      <a:p>
        <a:r>
          <a:rPr lang="fi-FI"/>
          <a:t>Tehty tällainen versio, jossa keskitytään vuosiin 1990-2023. Polttoaineiden järjestys käännetty, kuten keskusteltiin alkuvuodesta.</a:t>
        </a:r>
      </a:p>
    </p188:txBody>
  </p188:cm>
</p188:cmLst>
</file>

<file path=ppt/comments/modernComment_DC0793B_328A17C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BFACF32-CF02-477A-A486-EF244BC65F4D}" authorId="{B747C4EA-1D5F-C4CE-90AF-9E6E8684EFE4}" status="resolved" created="2024-10-28T15:16:27.108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847910857" sldId="230717755"/>
      <ac:spMk id="2" creationId="{C27A2EE0-37C1-8C92-2C86-4BCEBBAF7066}"/>
      <ac:txMk cp="22" len="14">
        <ac:context len="59" hash="189904576"/>
      </ac:txMk>
    </ac:txMkLst>
    <p188:pos x="8718762" y="350492"/>
    <p188:replyLst>
      <p188:reply id="{1CB6FAB6-2580-4524-99AA-CC556691A813}" authorId="{C092A9C8-9208-10F7-0C59-98BC27B89846}" created="2024-10-29T14:44:23.199">
        <p188:txBody>
          <a:bodyPr/>
          <a:lstStyle/>
          <a:p>
            <a:r>
              <a:rPr lang="fi-FI"/>
              <a:t>No niin, täällä metsähake = kokopuu- ja rankahake + metsätähdehake</a:t>
            </a:r>
          </a:p>
        </p188:txBody>
      </p188:reply>
    </p188:replyLst>
    <p188:txBody>
      <a:bodyPr/>
      <a:lstStyle/>
      <a:p>
        <a:r>
          <a:rPr lang="fi-FI"/>
          <a:t>Ehdotus: Lisätään räjäytyskuvaaja polttoaineluokkiin kuuluvista polttoaineista</a:t>
        </a:r>
      </a:p>
    </p188:txBody>
  </p188:cm>
</p188:cmLst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0719</cdr:x>
      <cdr:y>0.02054</cdr:y>
    </cdr:from>
    <cdr:to>
      <cdr:x>0.91991</cdr:x>
      <cdr:y>0.0876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D4188259-0245-B339-1A3B-D1A00F261844}"/>
            </a:ext>
          </a:extLst>
        </cdr:cNvPr>
        <cdr:cNvSpPr txBox="1"/>
      </cdr:nvSpPr>
      <cdr:spPr>
        <a:xfrm xmlns:a="http://schemas.openxmlformats.org/drawingml/2006/main">
          <a:off x="5628664" y="94207"/>
          <a:ext cx="1693073" cy="3077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rtlCol="0">
          <a:spAutoFit/>
        </a:bodyPr>
        <a:lstStyle xmlns:a="http://schemas.openxmlformats.org/drawingml/2006/main"/>
        <a:p xmlns:a="http://schemas.openxmlformats.org/drawingml/2006/main">
          <a:r>
            <a:rPr lang="fi-FI" sz="1400" dirty="0">
              <a:solidFill>
                <a:schemeClr val="tx1"/>
              </a:solidFill>
            </a:rPr>
            <a:t>Osuus polttoaineista</a:t>
          </a: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</cdr:x>
      <cdr:y>0.93979</cdr:y>
    </cdr:from>
    <cdr:to>
      <cdr:x>0.22176</cdr:x>
      <cdr:y>1</cdr:y>
    </cdr:to>
    <cdr:sp macro="" textlink="">
      <cdr:nvSpPr>
        <cdr:cNvPr id="2" name="TextBox 6">
          <a:extLst xmlns:a="http://schemas.openxmlformats.org/drawingml/2006/main">
            <a:ext uri="{FF2B5EF4-FFF2-40B4-BE49-F238E27FC236}">
              <a16:creationId xmlns:a16="http://schemas.microsoft.com/office/drawing/2014/main" id="{711EED86-4886-7BF3-0E57-EA3560127197}"/>
            </a:ext>
          </a:extLst>
        </cdr:cNvPr>
        <cdr:cNvSpPr txBox="1"/>
      </cdr:nvSpPr>
      <cdr:spPr>
        <a:xfrm xmlns:a="http://schemas.openxmlformats.org/drawingml/2006/main">
          <a:off x="0" y="4323576"/>
          <a:ext cx="224317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i-FI" sz="1200" dirty="0">
              <a:solidFill>
                <a:schemeClr val="tx1">
                  <a:lumMod val="65000"/>
                  <a:lumOff val="35000"/>
                </a:schemeClr>
              </a:solidFill>
            </a:rPr>
            <a:t>Lähde: Jäsenkysely keväällä 2024</a:t>
          </a: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</cdr:x>
      <cdr:y>0.94302</cdr:y>
    </cdr:from>
    <cdr:to>
      <cdr:x>0.21488</cdr:x>
      <cdr:y>1</cdr:y>
    </cdr:to>
    <cdr:sp macro="" textlink="">
      <cdr:nvSpPr>
        <cdr:cNvPr id="3" name="TextBox 6">
          <a:extLst xmlns:a="http://schemas.openxmlformats.org/drawingml/2006/main">
            <a:ext uri="{FF2B5EF4-FFF2-40B4-BE49-F238E27FC236}">
              <a16:creationId xmlns:a16="http://schemas.microsoft.com/office/drawing/2014/main" id="{711EED86-4886-7BF3-0E57-EA3560127197}"/>
            </a:ext>
          </a:extLst>
        </cdr:cNvPr>
        <cdr:cNvSpPr txBox="1"/>
      </cdr:nvSpPr>
      <cdr:spPr>
        <a:xfrm xmlns:a="http://schemas.openxmlformats.org/drawingml/2006/main">
          <a:off x="0" y="4583926"/>
          <a:ext cx="224317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i-FI" sz="1200" dirty="0">
              <a:solidFill>
                <a:schemeClr val="tx1">
                  <a:lumMod val="65000"/>
                  <a:lumOff val="35000"/>
                </a:schemeClr>
              </a:solidFill>
            </a:rPr>
            <a:t>Lähde: Jäsenkysely keväällä 2024</a:t>
          </a: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</cdr:x>
      <cdr:y>0.94099</cdr:y>
    </cdr:from>
    <cdr:to>
      <cdr:x>0.2046</cdr:x>
      <cdr:y>1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94C18758-665A-D4EB-5D47-FDA9C10E9D2D}"/>
            </a:ext>
          </a:extLst>
        </cdr:cNvPr>
        <cdr:cNvSpPr txBox="1"/>
      </cdr:nvSpPr>
      <cdr:spPr>
        <a:xfrm xmlns:a="http://schemas.openxmlformats.org/drawingml/2006/main">
          <a:off x="-614081" y="4417382"/>
          <a:ext cx="224317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fi-FI" sz="1200" dirty="0">
              <a:solidFill>
                <a:schemeClr val="tx1">
                  <a:lumMod val="65000"/>
                  <a:lumOff val="35000"/>
                </a:schemeClr>
              </a:solidFill>
            </a:rPr>
            <a:t>Lähde: Jäsenkysely keväällä 2024</a:t>
          </a:r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78248</cdr:x>
      <cdr:y>0.02944</cdr:y>
    </cdr:from>
    <cdr:to>
      <cdr:x>0.93463</cdr:x>
      <cdr:y>0.93223</cdr:y>
    </cdr:to>
    <cdr:sp macro="" textlink="">
      <cdr:nvSpPr>
        <cdr:cNvPr id="11" name="Rectangle 10">
          <a:extLst xmlns:a="http://schemas.openxmlformats.org/drawingml/2006/main">
            <a:ext uri="{FF2B5EF4-FFF2-40B4-BE49-F238E27FC236}">
              <a16:creationId xmlns:a16="http://schemas.microsoft.com/office/drawing/2014/main" id="{1E135F5E-07AB-0E8F-11DA-8766F8B4E956}"/>
            </a:ext>
          </a:extLst>
        </cdr:cNvPr>
        <cdr:cNvSpPr/>
      </cdr:nvSpPr>
      <cdr:spPr>
        <a:xfrm xmlns:a="http://schemas.openxmlformats.org/drawingml/2006/main">
          <a:off x="7276161" y="137219"/>
          <a:ext cx="1414819" cy="4207847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>
            <a:alpha val="28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fi-FI"/>
        </a:p>
      </cdr:txBody>
    </cdr:sp>
  </cdr:relSizeAnchor>
  <cdr:relSizeAnchor xmlns:cdr="http://schemas.openxmlformats.org/drawingml/2006/chartDrawing">
    <cdr:from>
      <cdr:x>0.1216</cdr:x>
      <cdr:y>0.76137</cdr:y>
    </cdr:from>
    <cdr:to>
      <cdr:x>0.24796</cdr:x>
      <cdr:y>0.82046</cdr:y>
    </cdr:to>
    <cdr:sp macro="" textlink="">
      <cdr:nvSpPr>
        <cdr:cNvPr id="2" name="Teksti 2">
          <a:extLst xmlns:a="http://schemas.openxmlformats.org/drawingml/2006/main">
            <a:ext uri="{FF2B5EF4-FFF2-40B4-BE49-F238E27FC236}">
              <a16:creationId xmlns:a16="http://schemas.microsoft.com/office/drawing/2014/main" id="{8DF14D05-5806-BD84-526C-3542EFB20B14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131521" y="4630127"/>
          <a:ext cx="1175803" cy="359391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Kivihiili</a:t>
          </a:r>
        </a:p>
      </cdr:txBody>
    </cdr:sp>
  </cdr:relSizeAnchor>
  <cdr:relSizeAnchor xmlns:cdr="http://schemas.openxmlformats.org/drawingml/2006/chartDrawing">
    <cdr:from>
      <cdr:x>0.09207</cdr:x>
      <cdr:y>0.49179</cdr:y>
    </cdr:from>
    <cdr:to>
      <cdr:x>0.19798</cdr:x>
      <cdr:y>0.55088</cdr:y>
    </cdr:to>
    <cdr:sp macro="" textlink="">
      <cdr:nvSpPr>
        <cdr:cNvPr id="3" name="Teksti 1">
          <a:extLst xmlns:a="http://schemas.openxmlformats.org/drawingml/2006/main">
            <a:ext uri="{FF2B5EF4-FFF2-40B4-BE49-F238E27FC236}">
              <a16:creationId xmlns:a16="http://schemas.microsoft.com/office/drawing/2014/main" id="{427F15B6-AFD8-D998-208A-70B7EA006E37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856761" y="2990728"/>
          <a:ext cx="985497" cy="359391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rgbClr val="FFFFFF">
            <a:alpha val="78039"/>
          </a:srgb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Öljy</a:t>
          </a:r>
        </a:p>
      </cdr:txBody>
    </cdr:sp>
  </cdr:relSizeAnchor>
  <cdr:relSizeAnchor xmlns:cdr="http://schemas.openxmlformats.org/drawingml/2006/chartDrawing">
    <cdr:from>
      <cdr:x>0.23676</cdr:x>
      <cdr:y>0.43456</cdr:y>
    </cdr:from>
    <cdr:to>
      <cdr:x>0.39588</cdr:x>
      <cdr:y>0.49366</cdr:y>
    </cdr:to>
    <cdr:sp macro="" textlink="">
      <cdr:nvSpPr>
        <cdr:cNvPr id="4" name="Teksti 3">
          <a:extLst xmlns:a="http://schemas.openxmlformats.org/drawingml/2006/main">
            <a:ext uri="{FF2B5EF4-FFF2-40B4-BE49-F238E27FC236}">
              <a16:creationId xmlns:a16="http://schemas.microsoft.com/office/drawing/2014/main" id="{78E207DF-85DE-4B60-D953-836D620935A8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203084" y="2642699"/>
          <a:ext cx="1480666" cy="359391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>
            <a:defRPr sz="1000"/>
          </a:pPr>
          <a:r>
            <a:rPr lang="fi-FI" sz="18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Maakaasu</a:t>
          </a:r>
        </a:p>
      </cdr:txBody>
    </cdr:sp>
  </cdr:relSizeAnchor>
  <cdr:relSizeAnchor xmlns:cdr="http://schemas.openxmlformats.org/drawingml/2006/chartDrawing">
    <cdr:from>
      <cdr:x>0.12751</cdr:x>
      <cdr:y>0.14239</cdr:y>
    </cdr:from>
    <cdr:to>
      <cdr:x>0.23312</cdr:x>
      <cdr:y>0.20149</cdr:y>
    </cdr:to>
    <cdr:sp macro="" textlink="">
      <cdr:nvSpPr>
        <cdr:cNvPr id="5" name="Teksti 4">
          <a:extLst xmlns:a="http://schemas.openxmlformats.org/drawingml/2006/main">
            <a:ext uri="{FF2B5EF4-FFF2-40B4-BE49-F238E27FC236}">
              <a16:creationId xmlns:a16="http://schemas.microsoft.com/office/drawing/2014/main" id="{F3CD9B2A-8AFD-2C9C-2521-87647428B6A2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186473" y="865920"/>
          <a:ext cx="982799" cy="35939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Turve</a:t>
          </a:r>
        </a:p>
      </cdr:txBody>
    </cdr:sp>
  </cdr:relSizeAnchor>
  <cdr:relSizeAnchor xmlns:cdr="http://schemas.openxmlformats.org/drawingml/2006/chartDrawing">
    <cdr:from>
      <cdr:x>0.08125</cdr:x>
      <cdr:y>0.00986</cdr:y>
    </cdr:from>
    <cdr:to>
      <cdr:x>0.18715</cdr:x>
      <cdr:y>0.06896</cdr:y>
    </cdr:to>
    <cdr:sp macro="" textlink="">
      <cdr:nvSpPr>
        <cdr:cNvPr id="6" name="Teksti 1">
          <a:extLst xmlns:a="http://schemas.openxmlformats.org/drawingml/2006/main">
            <a:ext uri="{FF2B5EF4-FFF2-40B4-BE49-F238E27FC236}">
              <a16:creationId xmlns:a16="http://schemas.microsoft.com/office/drawing/2014/main" id="{9D6DAD73-65EA-235E-1CC6-199359B020D9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56017" y="59959"/>
          <a:ext cx="985405" cy="359391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rgbClr val="FFFFFF">
            <a:alpha val="78039"/>
          </a:srgb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Muut</a:t>
          </a:r>
        </a:p>
      </cdr:txBody>
    </cdr:sp>
  </cdr:relSizeAnchor>
  <cdr:relSizeAnchor xmlns:cdr="http://schemas.openxmlformats.org/drawingml/2006/chartDrawing">
    <cdr:from>
      <cdr:x>0.55566</cdr:x>
      <cdr:y>0.12582</cdr:y>
    </cdr:from>
    <cdr:to>
      <cdr:x>0.70986</cdr:x>
      <cdr:y>0.18493</cdr:y>
    </cdr:to>
    <cdr:sp macro="" textlink="">
      <cdr:nvSpPr>
        <cdr:cNvPr id="7" name="Teksti 3">
          <a:extLst xmlns:a="http://schemas.openxmlformats.org/drawingml/2006/main">
            <a:ext uri="{FF2B5EF4-FFF2-40B4-BE49-F238E27FC236}">
              <a16:creationId xmlns:a16="http://schemas.microsoft.com/office/drawing/2014/main" id="{64295BC0-052F-1B77-E303-EC25D3B5BBB8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170487" y="765175"/>
          <a:ext cx="1434880" cy="359452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>
            <a:defRPr sz="1000"/>
          </a:pPr>
          <a:r>
            <a:rPr lang="fi-FI" sz="18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Biomassa</a:t>
          </a:r>
        </a:p>
      </cdr:txBody>
    </cdr:sp>
  </cdr:relSizeAnchor>
  <cdr:relSizeAnchor xmlns:cdr="http://schemas.openxmlformats.org/drawingml/2006/chartDrawing">
    <cdr:from>
      <cdr:x>0.61845</cdr:x>
      <cdr:y>0.31184</cdr:y>
    </cdr:from>
    <cdr:to>
      <cdr:x>0.72435</cdr:x>
      <cdr:y>0.37094</cdr:y>
    </cdr:to>
    <cdr:sp macro="" textlink="">
      <cdr:nvSpPr>
        <cdr:cNvPr id="8" name="Teksti 1">
          <a:extLst xmlns:a="http://schemas.openxmlformats.org/drawingml/2006/main">
            <a:ext uri="{FF2B5EF4-FFF2-40B4-BE49-F238E27FC236}">
              <a16:creationId xmlns:a16="http://schemas.microsoft.com/office/drawing/2014/main" id="{0313943A-C9E5-72D3-A0E0-0C88C4BFD66A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750862" y="1453446"/>
          <a:ext cx="984748" cy="275461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rgbClr val="FFFFFF">
            <a:alpha val="78039"/>
          </a:srgb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Jäte</a:t>
          </a:r>
        </a:p>
      </cdr:txBody>
    </cdr:sp>
  </cdr:relSizeAnchor>
  <cdr:relSizeAnchor xmlns:cdr="http://schemas.openxmlformats.org/drawingml/2006/chartDrawing">
    <cdr:from>
      <cdr:x>0.69494</cdr:x>
      <cdr:y>0.54745</cdr:y>
    </cdr:from>
    <cdr:to>
      <cdr:x>0.91227</cdr:x>
      <cdr:y>0.60838</cdr:y>
    </cdr:to>
    <cdr:sp macro="" textlink="">
      <cdr:nvSpPr>
        <cdr:cNvPr id="9" name="Teksti 3">
          <a:extLst xmlns:a="http://schemas.openxmlformats.org/drawingml/2006/main">
            <a:ext uri="{FF2B5EF4-FFF2-40B4-BE49-F238E27FC236}">
              <a16:creationId xmlns:a16="http://schemas.microsoft.com/office/drawing/2014/main" id="{E762EFAB-FC29-9E24-E36E-554CBAFA4718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462128" y="2551618"/>
          <a:ext cx="2020939" cy="28399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>
            <a:alpha val="78000"/>
          </a:scheme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>
            <a:defRPr sz="1000"/>
          </a:pPr>
          <a:r>
            <a:rPr lang="fi-FI" sz="16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Lämmön talteenotto *</a:t>
          </a:r>
        </a:p>
      </cdr:txBody>
    </cdr:sp>
  </cdr:relSizeAnchor>
  <cdr:relSizeAnchor xmlns:cdr="http://schemas.openxmlformats.org/drawingml/2006/chartDrawing">
    <cdr:from>
      <cdr:x>0.77461</cdr:x>
      <cdr:y>0.78094</cdr:y>
    </cdr:from>
    <cdr:to>
      <cdr:x>0.92436</cdr:x>
      <cdr:y>0.84004</cdr:y>
    </cdr:to>
    <cdr:sp macro="" textlink="">
      <cdr:nvSpPr>
        <cdr:cNvPr id="10" name="Teksti 1">
          <a:extLst xmlns:a="http://schemas.openxmlformats.org/drawingml/2006/main">
            <a:ext uri="{FF2B5EF4-FFF2-40B4-BE49-F238E27FC236}">
              <a16:creationId xmlns:a16="http://schemas.microsoft.com/office/drawing/2014/main" id="{C266F61D-0525-C7FB-E7CB-43A177D41B37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207861" y="4749189"/>
          <a:ext cx="1393485" cy="359391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rgbClr val="FFFFFF">
            <a:alpha val="78039"/>
          </a:srgb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Sähkökattila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5206</cdr:x>
      <cdr:y>0.45737</cdr:y>
    </cdr:from>
    <cdr:to>
      <cdr:x>0.6005</cdr:x>
      <cdr:y>0.6370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16711C7-B285-499F-850D-5F2AAA4AE060}"/>
            </a:ext>
          </a:extLst>
        </cdr:cNvPr>
        <cdr:cNvSpPr txBox="1"/>
      </cdr:nvSpPr>
      <cdr:spPr>
        <a:xfrm xmlns:a="http://schemas.openxmlformats.org/drawingml/2006/main">
          <a:off x="2504661" y="2085900"/>
          <a:ext cx="1767518" cy="81945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 anchor="ctr">
          <a:noAutofit/>
        </a:bodyPr>
        <a:lstStyle xmlns:a="http://schemas.openxmlformats.org/drawingml/2006/main"/>
        <a:p xmlns:a="http://schemas.openxmlformats.org/drawingml/2006/main">
          <a:pPr algn="ctr"/>
          <a:r>
            <a:rPr lang="fi-FI" sz="1600" b="1" dirty="0">
              <a:solidFill>
                <a:schemeClr val="tx1">
                  <a:lumMod val="65000"/>
                  <a:lumOff val="35000"/>
                </a:schemeClr>
              </a:solidFill>
            </a:rPr>
            <a:t>Tuotettu</a:t>
          </a:r>
          <a:r>
            <a:rPr lang="fi-FI" sz="16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rPr>
            <a:t> lämpö </a:t>
          </a:r>
        </a:p>
        <a:p xmlns:a="http://schemas.openxmlformats.org/drawingml/2006/main">
          <a:pPr algn="ctr"/>
          <a:r>
            <a:rPr lang="fi-FI" sz="16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rPr>
            <a:t>36,7 </a:t>
          </a:r>
          <a:r>
            <a:rPr lang="fi-FI" sz="1600" b="1" dirty="0" err="1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rPr>
            <a:t>TWh</a:t>
          </a:r>
          <a:endParaRPr lang="fi-FI" sz="1600" b="1" dirty="0">
            <a:solidFill>
              <a:schemeClr val="tx1">
                <a:lumMod val="65000"/>
                <a:lumOff val="35000"/>
              </a:schemeClr>
            </a:solidFill>
            <a:latin typeface="+mn-lt"/>
            <a:ea typeface="+mn-ea"/>
            <a:cs typeface="+mn-cs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0552</cdr:x>
      <cdr:y>0.44439</cdr:y>
    </cdr:from>
    <cdr:to>
      <cdr:x>0.61157</cdr:x>
      <cdr:y>0.5639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16711C7-B285-499F-850D-5F2AAA4AE060}"/>
            </a:ext>
          </a:extLst>
        </cdr:cNvPr>
        <cdr:cNvSpPr txBox="1"/>
      </cdr:nvSpPr>
      <cdr:spPr>
        <a:xfrm xmlns:a="http://schemas.openxmlformats.org/drawingml/2006/main">
          <a:off x="3773732" y="2700564"/>
          <a:ext cx="1917486" cy="7266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 algn="ctr"/>
          <a:r>
            <a:rPr lang="fi-FI" sz="14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rPr>
            <a:t>Tuotettu lämpö </a:t>
          </a:r>
        </a:p>
        <a:p xmlns:a="http://schemas.openxmlformats.org/drawingml/2006/main">
          <a:pPr algn="ctr"/>
          <a:r>
            <a:rPr lang="fi-FI" sz="14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rPr>
            <a:t>36,7 </a:t>
          </a:r>
          <a:r>
            <a:rPr lang="fi-FI" sz="1400" b="1" dirty="0" err="1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rPr>
            <a:t>TWh</a:t>
          </a:r>
          <a:endParaRPr lang="fi-FI" sz="1400" b="1" dirty="0">
            <a:solidFill>
              <a:schemeClr val="tx1">
                <a:lumMod val="65000"/>
                <a:lumOff val="35000"/>
              </a:schemeClr>
            </a:solidFill>
            <a:latin typeface="+mn-lt"/>
            <a:ea typeface="+mn-ea"/>
            <a:cs typeface="+mn-cs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3885</cdr:x>
      <cdr:y>0.45079</cdr:y>
    </cdr:from>
    <cdr:to>
      <cdr:x>0.49796</cdr:x>
      <cdr:y>0.5217</cdr:y>
    </cdr:to>
    <cdr:sp macro="" textlink="">
      <cdr:nvSpPr>
        <cdr:cNvPr id="2" name="Teksti 3">
          <a:extLst xmlns:a="http://schemas.openxmlformats.org/drawingml/2006/main">
            <a:ext uri="{FF2B5EF4-FFF2-40B4-BE49-F238E27FC236}">
              <a16:creationId xmlns:a16="http://schemas.microsoft.com/office/drawing/2014/main" id="{92D5F9A9-F52A-EAC8-E76C-757670FFA636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702618" y="2059719"/>
          <a:ext cx="1269034" cy="3240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Maakaasu</a:t>
          </a:r>
        </a:p>
      </cdr:txBody>
    </cdr:sp>
  </cdr:relSizeAnchor>
  <cdr:relSizeAnchor xmlns:cdr="http://schemas.openxmlformats.org/drawingml/2006/chartDrawing">
    <cdr:from>
      <cdr:x>0.26087</cdr:x>
      <cdr:y>0.17301</cdr:y>
    </cdr:from>
    <cdr:to>
      <cdr:x>0.36648</cdr:x>
      <cdr:y>0.24392</cdr:y>
    </cdr:to>
    <cdr:sp macro="" textlink="">
      <cdr:nvSpPr>
        <cdr:cNvPr id="3" name="Teksti 4">
          <a:extLst xmlns:a="http://schemas.openxmlformats.org/drawingml/2006/main">
            <a:ext uri="{FF2B5EF4-FFF2-40B4-BE49-F238E27FC236}">
              <a16:creationId xmlns:a16="http://schemas.microsoft.com/office/drawing/2014/main" id="{4DFBBDD3-6F7B-8A42-04E4-B618BEC6DC9D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080631" y="790496"/>
          <a:ext cx="842327" cy="3240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Turve</a:t>
          </a:r>
        </a:p>
      </cdr:txBody>
    </cdr:sp>
  </cdr:relSizeAnchor>
  <cdr:relSizeAnchor xmlns:cdr="http://schemas.openxmlformats.org/drawingml/2006/chartDrawing">
    <cdr:from>
      <cdr:x>0.69259</cdr:x>
      <cdr:y>0.1082</cdr:y>
    </cdr:from>
    <cdr:to>
      <cdr:x>0.84678</cdr:x>
      <cdr:y>0.17911</cdr:y>
    </cdr:to>
    <cdr:sp macro="" textlink="">
      <cdr:nvSpPr>
        <cdr:cNvPr id="5" name="Teksti 3">
          <a:extLst xmlns:a="http://schemas.openxmlformats.org/drawingml/2006/main">
            <a:ext uri="{FF2B5EF4-FFF2-40B4-BE49-F238E27FC236}">
              <a16:creationId xmlns:a16="http://schemas.microsoft.com/office/drawing/2014/main" id="{AE293D17-3C17-8A8F-2305-75C5E5B9843F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523979" y="494383"/>
          <a:ext cx="1229793" cy="3240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Biomassa</a:t>
          </a:r>
        </a:p>
      </cdr:txBody>
    </cdr:sp>
  </cdr:relSizeAnchor>
  <cdr:relSizeAnchor xmlns:cdr="http://schemas.openxmlformats.org/drawingml/2006/chartDrawing">
    <cdr:from>
      <cdr:x>0.14776</cdr:x>
      <cdr:y>0.01729</cdr:y>
    </cdr:from>
    <cdr:to>
      <cdr:x>0.25365</cdr:x>
      <cdr:y>0.07643</cdr:y>
    </cdr:to>
    <cdr:sp macro="" textlink="">
      <cdr:nvSpPr>
        <cdr:cNvPr id="6" name="Teksti 1">
          <a:extLst xmlns:a="http://schemas.openxmlformats.org/drawingml/2006/main">
            <a:ext uri="{FF2B5EF4-FFF2-40B4-BE49-F238E27FC236}">
              <a16:creationId xmlns:a16="http://schemas.microsoft.com/office/drawing/2014/main" id="{2D58D23A-0470-BDE9-5227-870EC43048C6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375227" y="105229"/>
          <a:ext cx="985584" cy="359988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rgbClr val="FFFFFF">
            <a:alpha val="78039"/>
          </a:srgb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Muut</a:t>
          </a:r>
        </a:p>
      </cdr:txBody>
    </cdr:sp>
  </cdr:relSizeAnchor>
  <cdr:relSizeAnchor xmlns:cdr="http://schemas.openxmlformats.org/drawingml/2006/chartDrawing">
    <cdr:from>
      <cdr:x>0.1378</cdr:x>
      <cdr:y>0.73046</cdr:y>
    </cdr:from>
    <cdr:to>
      <cdr:x>0.26415</cdr:x>
      <cdr:y>0.80137</cdr:y>
    </cdr:to>
    <cdr:sp macro="" textlink="">
      <cdr:nvSpPr>
        <cdr:cNvPr id="7" name="Teksti 2">
          <a:extLst xmlns:a="http://schemas.openxmlformats.org/drawingml/2006/main">
            <a:ext uri="{FF2B5EF4-FFF2-40B4-BE49-F238E27FC236}">
              <a16:creationId xmlns:a16="http://schemas.microsoft.com/office/drawing/2014/main" id="{11E33294-0080-F500-F7AC-554F56303D05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099081" y="3337566"/>
          <a:ext cx="1007746" cy="3240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Kivihiili</a:t>
          </a:r>
        </a:p>
      </cdr:txBody>
    </cdr:sp>
  </cdr:relSizeAnchor>
  <cdr:relSizeAnchor xmlns:cdr="http://schemas.openxmlformats.org/drawingml/2006/chartDrawing">
    <cdr:from>
      <cdr:x>0.74011</cdr:x>
      <cdr:y>0.4605</cdr:y>
    </cdr:from>
    <cdr:to>
      <cdr:x>0.89964</cdr:x>
      <cdr:y>0.57034</cdr:y>
    </cdr:to>
    <cdr:sp macro="" textlink="">
      <cdr:nvSpPr>
        <cdr:cNvPr id="8" name="Teksti 3">
          <a:extLst xmlns:a="http://schemas.openxmlformats.org/drawingml/2006/main">
            <a:ext uri="{FF2B5EF4-FFF2-40B4-BE49-F238E27FC236}">
              <a16:creationId xmlns:a16="http://schemas.microsoft.com/office/drawing/2014/main" id="{F4010136-0E08-AF07-3CCB-5873FE82AC3F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903021" y="2104086"/>
          <a:ext cx="1272377" cy="501906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>
            <a:alpha val="78000"/>
          </a:scheme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>
            <a:defRPr sz="1000"/>
          </a:pPr>
          <a:r>
            <a:rPr lang="fi-FI" sz="16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Hukkalämpö ja sähkö*</a:t>
          </a:r>
        </a:p>
      </cdr:txBody>
    </cdr:sp>
  </cdr:relSizeAnchor>
  <cdr:relSizeAnchor xmlns:cdr="http://schemas.openxmlformats.org/drawingml/2006/chartDrawing">
    <cdr:from>
      <cdr:x>0.71598</cdr:x>
      <cdr:y>0.32429</cdr:y>
    </cdr:from>
    <cdr:to>
      <cdr:x>0.82188</cdr:x>
      <cdr:y>0.38343</cdr:y>
    </cdr:to>
    <cdr:sp macro="" textlink="">
      <cdr:nvSpPr>
        <cdr:cNvPr id="10" name="Teksti 1">
          <a:extLst xmlns:a="http://schemas.openxmlformats.org/drawingml/2006/main">
            <a:ext uri="{FF2B5EF4-FFF2-40B4-BE49-F238E27FC236}">
              <a16:creationId xmlns:a16="http://schemas.microsoft.com/office/drawing/2014/main" id="{2C716610-5ECF-FCBA-5B05-D115400479FB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663872" y="1973944"/>
          <a:ext cx="985584" cy="359988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rgbClr val="FFFFFF">
            <a:alpha val="78039"/>
          </a:srgb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Jäte</a:t>
          </a:r>
        </a:p>
      </cdr:txBody>
    </cdr:sp>
  </cdr:relSizeAnchor>
  <cdr:relSizeAnchor xmlns:cdr="http://schemas.openxmlformats.org/drawingml/2006/chartDrawing">
    <cdr:from>
      <cdr:x>0.10807</cdr:x>
      <cdr:y>0.47696</cdr:y>
    </cdr:from>
    <cdr:to>
      <cdr:x>0.21397</cdr:x>
      <cdr:y>0.54787</cdr:y>
    </cdr:to>
    <cdr:sp macro="" textlink="">
      <cdr:nvSpPr>
        <cdr:cNvPr id="11" name="Teksti 1">
          <a:extLst xmlns:a="http://schemas.openxmlformats.org/drawingml/2006/main">
            <a:ext uri="{FF2B5EF4-FFF2-40B4-BE49-F238E27FC236}">
              <a16:creationId xmlns:a16="http://schemas.microsoft.com/office/drawing/2014/main" id="{BC1CD9C7-C06D-3DD9-99B9-E4FA254A7EBD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861917" y="2179288"/>
          <a:ext cx="844640" cy="3240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rgbClr val="FFFFFF">
            <a:alpha val="78039"/>
          </a:srgb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Öljy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43041</cdr:x>
      <cdr:y>0.4152</cdr:y>
    </cdr:from>
    <cdr:to>
      <cdr:x>0.58952</cdr:x>
      <cdr:y>0.48636</cdr:y>
    </cdr:to>
    <cdr:sp macro="" textlink="">
      <cdr:nvSpPr>
        <cdr:cNvPr id="2" name="Teksti 3">
          <a:extLst xmlns:a="http://schemas.openxmlformats.org/drawingml/2006/main">
            <a:ext uri="{FF2B5EF4-FFF2-40B4-BE49-F238E27FC236}">
              <a16:creationId xmlns:a16="http://schemas.microsoft.com/office/drawing/2014/main" id="{92D5F9A9-F52A-EAC8-E76C-757670FFA636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56081" y="1890379"/>
          <a:ext cx="1462448" cy="3240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Maakaasu</a:t>
          </a:r>
        </a:p>
      </cdr:txBody>
    </cdr:sp>
  </cdr:relSizeAnchor>
  <cdr:relSizeAnchor xmlns:cdr="http://schemas.openxmlformats.org/drawingml/2006/chartDrawing">
    <cdr:from>
      <cdr:x>0.3154</cdr:x>
      <cdr:y>0.12906</cdr:y>
    </cdr:from>
    <cdr:to>
      <cdr:x>0.42101</cdr:x>
      <cdr:y>0.20022</cdr:y>
    </cdr:to>
    <cdr:sp macro="" textlink="">
      <cdr:nvSpPr>
        <cdr:cNvPr id="3" name="Teksti 4">
          <a:extLst xmlns:a="http://schemas.openxmlformats.org/drawingml/2006/main">
            <a:ext uri="{FF2B5EF4-FFF2-40B4-BE49-F238E27FC236}">
              <a16:creationId xmlns:a16="http://schemas.microsoft.com/office/drawing/2014/main" id="{4DFBBDD3-6F7B-8A42-04E4-B618BEC6DC9D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898975" y="587601"/>
          <a:ext cx="970707" cy="3240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Turve</a:t>
          </a:r>
        </a:p>
      </cdr:txBody>
    </cdr:sp>
  </cdr:relSizeAnchor>
  <cdr:relSizeAnchor xmlns:cdr="http://schemas.openxmlformats.org/drawingml/2006/chartDrawing">
    <cdr:from>
      <cdr:x>0.0883</cdr:x>
      <cdr:y>0.3377</cdr:y>
    </cdr:from>
    <cdr:to>
      <cdr:x>0.19091</cdr:x>
      <cdr:y>0.40886</cdr:y>
    </cdr:to>
    <cdr:sp macro="" textlink="">
      <cdr:nvSpPr>
        <cdr:cNvPr id="4" name="Teksti 5">
          <a:extLst xmlns:a="http://schemas.openxmlformats.org/drawingml/2006/main">
            <a:ext uri="{FF2B5EF4-FFF2-40B4-BE49-F238E27FC236}">
              <a16:creationId xmlns:a16="http://schemas.microsoft.com/office/drawing/2014/main" id="{53BA1C88-AE09-4323-E8B0-779657D1F33B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811603" y="1537528"/>
          <a:ext cx="943132" cy="3240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Öljy</a:t>
          </a:r>
        </a:p>
      </cdr:txBody>
    </cdr:sp>
  </cdr:relSizeAnchor>
  <cdr:relSizeAnchor xmlns:cdr="http://schemas.openxmlformats.org/drawingml/2006/chartDrawing">
    <cdr:from>
      <cdr:x>0.71695</cdr:x>
      <cdr:y>0.12608</cdr:y>
    </cdr:from>
    <cdr:to>
      <cdr:x>0.87115</cdr:x>
      <cdr:y>0.19724</cdr:y>
    </cdr:to>
    <cdr:sp macro="" textlink="">
      <cdr:nvSpPr>
        <cdr:cNvPr id="5" name="Teksti 3">
          <a:extLst xmlns:a="http://schemas.openxmlformats.org/drawingml/2006/main">
            <a:ext uri="{FF2B5EF4-FFF2-40B4-BE49-F238E27FC236}">
              <a16:creationId xmlns:a16="http://schemas.microsoft.com/office/drawing/2014/main" id="{AE293D17-3C17-8A8F-2305-75C5E5B9843F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589792" y="574034"/>
          <a:ext cx="1417318" cy="3240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Biomassa</a:t>
          </a:r>
        </a:p>
      </cdr:txBody>
    </cdr:sp>
  </cdr:relSizeAnchor>
  <cdr:relSizeAnchor xmlns:cdr="http://schemas.openxmlformats.org/drawingml/2006/chartDrawing">
    <cdr:from>
      <cdr:x>0.14776</cdr:x>
      <cdr:y>0.01729</cdr:y>
    </cdr:from>
    <cdr:to>
      <cdr:x>0.25365</cdr:x>
      <cdr:y>0.07643</cdr:y>
    </cdr:to>
    <cdr:sp macro="" textlink="">
      <cdr:nvSpPr>
        <cdr:cNvPr id="6" name="Teksti 1">
          <a:extLst xmlns:a="http://schemas.openxmlformats.org/drawingml/2006/main">
            <a:ext uri="{FF2B5EF4-FFF2-40B4-BE49-F238E27FC236}">
              <a16:creationId xmlns:a16="http://schemas.microsoft.com/office/drawing/2014/main" id="{2D58D23A-0470-BDE9-5227-870EC43048C6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375227" y="105229"/>
          <a:ext cx="985584" cy="359988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rgbClr val="FFFFFF">
            <a:alpha val="78039"/>
          </a:srgb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Muut</a:t>
          </a:r>
        </a:p>
      </cdr:txBody>
    </cdr:sp>
  </cdr:relSizeAnchor>
  <cdr:relSizeAnchor xmlns:cdr="http://schemas.openxmlformats.org/drawingml/2006/chartDrawing">
    <cdr:from>
      <cdr:x>0.22378</cdr:x>
      <cdr:y>0.67673</cdr:y>
    </cdr:from>
    <cdr:to>
      <cdr:x>0.35013</cdr:x>
      <cdr:y>0.7479</cdr:y>
    </cdr:to>
    <cdr:sp macro="" textlink="">
      <cdr:nvSpPr>
        <cdr:cNvPr id="7" name="Teksti 2">
          <a:extLst xmlns:a="http://schemas.openxmlformats.org/drawingml/2006/main">
            <a:ext uri="{FF2B5EF4-FFF2-40B4-BE49-F238E27FC236}">
              <a16:creationId xmlns:a16="http://schemas.microsoft.com/office/drawing/2014/main" id="{11E33294-0080-F500-F7AC-554F56303D05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056857" y="3081129"/>
          <a:ext cx="1161337" cy="3240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Kivihiili</a:t>
          </a:r>
        </a:p>
      </cdr:txBody>
    </cdr:sp>
  </cdr:relSizeAnchor>
  <cdr:relSizeAnchor xmlns:cdr="http://schemas.openxmlformats.org/drawingml/2006/chartDrawing">
    <cdr:from>
      <cdr:x>0.77154</cdr:x>
      <cdr:y>0.46448</cdr:y>
    </cdr:from>
    <cdr:to>
      <cdr:x>0.91133</cdr:x>
      <cdr:y>0.56195</cdr:y>
    </cdr:to>
    <cdr:sp macro="" textlink="">
      <cdr:nvSpPr>
        <cdr:cNvPr id="8" name="Teksti 3">
          <a:extLst xmlns:a="http://schemas.openxmlformats.org/drawingml/2006/main">
            <a:ext uri="{FF2B5EF4-FFF2-40B4-BE49-F238E27FC236}">
              <a16:creationId xmlns:a16="http://schemas.microsoft.com/office/drawing/2014/main" id="{F4010136-0E08-AF07-3CCB-5873FE82AC3F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091552" y="2114734"/>
          <a:ext cx="1284866" cy="443775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>
            <a:alpha val="78000"/>
          </a:scheme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0">
            <a:defRPr sz="1000"/>
          </a:pPr>
          <a:r>
            <a:rPr lang="fi-FI" sz="16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Hukkalämpö ja sähkö*</a:t>
          </a:r>
        </a:p>
      </cdr:txBody>
    </cdr:sp>
  </cdr:relSizeAnchor>
  <cdr:relSizeAnchor xmlns:cdr="http://schemas.openxmlformats.org/drawingml/2006/chartDrawing">
    <cdr:from>
      <cdr:x>0.76959</cdr:x>
      <cdr:y>0.32727</cdr:y>
    </cdr:from>
    <cdr:to>
      <cdr:x>0.87549</cdr:x>
      <cdr:y>0.38641</cdr:y>
    </cdr:to>
    <cdr:sp macro="" textlink="">
      <cdr:nvSpPr>
        <cdr:cNvPr id="10" name="Teksti 1">
          <a:extLst xmlns:a="http://schemas.openxmlformats.org/drawingml/2006/main">
            <a:ext uri="{FF2B5EF4-FFF2-40B4-BE49-F238E27FC236}">
              <a16:creationId xmlns:a16="http://schemas.microsoft.com/office/drawing/2014/main" id="{2C716610-5ECF-FCBA-5B05-D115400479FB}"/>
            </a:ext>
          </a:extLst>
        </cdr:cNvPr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162776" y="1992087"/>
          <a:ext cx="985642" cy="359981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rgbClr val="FFFFFF">
            <a:alpha val="78039"/>
          </a:srgbClr>
        </a:solidFill>
        <a:ln xmlns:a="http://schemas.openxmlformats.org/drawingml/2006/main">
          <a:noFill/>
        </a:ln>
        <a:effectLst xmlns:a="http://schemas.openxmlformats.org/drawingml/2006/main"/>
      </cdr:spPr>
      <cdr:txBody>
        <a:bodyPr xmlns:a="http://schemas.openxmlformats.org/drawingml/2006/main" wrap="square" lIns="54864" tIns="36576" rIns="54864" bIns="36576" anchor="ctr" upright="1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rtl="1">
            <a:defRPr sz="1000"/>
          </a:pPr>
          <a:r>
            <a:rPr lang="fi-FI" sz="1800" b="0" i="0" u="none" strike="noStrike" baseline="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Verdana"/>
              <a:cs typeface="Verdana"/>
            </a:rPr>
            <a:t>Jäte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37025</cdr:x>
      <cdr:y>0.23301</cdr:y>
    </cdr:from>
    <cdr:to>
      <cdr:x>0.79385</cdr:x>
      <cdr:y>0.4356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C01791B-2D0B-AD6E-9CA8-1C6733FD3A2A}"/>
            </a:ext>
          </a:extLst>
        </cdr:cNvPr>
        <cdr:cNvSpPr txBox="1"/>
      </cdr:nvSpPr>
      <cdr:spPr>
        <a:xfrm xmlns:a="http://schemas.openxmlformats.org/drawingml/2006/main">
          <a:off x="2367034" y="1044248"/>
          <a:ext cx="2708028" cy="90794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marL="0" marR="0" lvl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fi-FI" sz="1400" dirty="0">
              <a:effectLst/>
              <a:latin typeface="+mn-lt"/>
              <a:ea typeface="+mn-ea"/>
              <a:cs typeface="+mn-cs"/>
            </a:rPr>
            <a:t>Hukkalämpöjen talteenotto, lämpöpumppujen lämpö ja sähkökattiloiden tuottama lämpö</a:t>
          </a:r>
          <a:endParaRPr lang="fi-FI" sz="1400" dirty="0">
            <a:effectLst/>
          </a:endParaRPr>
        </a:p>
        <a:p xmlns:a="http://schemas.openxmlformats.org/drawingml/2006/main">
          <a:endParaRPr lang="fi-FI" sz="1100" dirty="0">
            <a:solidFill>
              <a:schemeClr val="tx1">
                <a:lumMod val="65000"/>
                <a:lumOff val="35000"/>
              </a:schemeClr>
            </a:solidFill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90158</cdr:x>
      <cdr:y>0.02772</cdr:y>
    </cdr:from>
    <cdr:to>
      <cdr:x>0.97448</cdr:x>
      <cdr:y>0.0827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A2B5D63-C210-5B05-1093-157A9AE53517}"/>
            </a:ext>
          </a:extLst>
        </cdr:cNvPr>
        <cdr:cNvSpPr txBox="1"/>
      </cdr:nvSpPr>
      <cdr:spPr>
        <a:xfrm xmlns:a="http://schemas.openxmlformats.org/drawingml/2006/main">
          <a:off x="8314764" y="156882"/>
          <a:ext cx="672353" cy="31149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r>
            <a:rPr lang="fi-FI" sz="1400" b="1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rPr>
            <a:t>TWh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064</cdr:x>
      <cdr:y>0.00337</cdr:y>
    </cdr:from>
    <cdr:to>
      <cdr:x>0.22756</cdr:x>
      <cdr:y>0.05047</cdr:y>
    </cdr:to>
    <cdr:sp macro="" textlink="">
      <cdr:nvSpPr>
        <cdr:cNvPr id="2" name="Tekstiruutu 1">
          <a:extLst xmlns:a="http://schemas.openxmlformats.org/drawingml/2006/main">
            <a:ext uri="{FF2B5EF4-FFF2-40B4-BE49-F238E27FC236}">
              <a16:creationId xmlns:a16="http://schemas.microsoft.com/office/drawing/2014/main" id="{D08F7210-1211-E029-D35E-44F17755B87B}"/>
            </a:ext>
          </a:extLst>
        </cdr:cNvPr>
        <cdr:cNvSpPr txBox="1"/>
      </cdr:nvSpPr>
      <cdr:spPr>
        <a:xfrm xmlns:a="http://schemas.openxmlformats.org/drawingml/2006/main">
          <a:off x="921976" y="21196"/>
          <a:ext cx="1049865" cy="296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fi-FI" sz="1400" b="1">
              <a:solidFill>
                <a:schemeClr val="tx1">
                  <a:lumMod val="75000"/>
                  <a:lumOff val="25000"/>
                </a:schemeClr>
              </a:solidFill>
            </a:rPr>
            <a:t>2010 = 100</a:t>
          </a:r>
        </a:p>
      </cdr:txBody>
    </cdr:sp>
  </cdr:relSizeAnchor>
  <cdr:relSizeAnchor xmlns:cdr="http://schemas.openxmlformats.org/drawingml/2006/chartDrawing">
    <cdr:from>
      <cdr:x>0</cdr:x>
      <cdr:y>0.01195</cdr:y>
    </cdr:from>
    <cdr:to>
      <cdr:x>0.16874</cdr:x>
      <cdr:y>0.05976</cdr:y>
    </cdr:to>
    <cdr:sp macro="" textlink="">
      <cdr:nvSpPr>
        <cdr:cNvPr id="3" name="Tekstiruutu 2">
          <a:extLst xmlns:a="http://schemas.openxmlformats.org/drawingml/2006/main">
            <a:ext uri="{FF2B5EF4-FFF2-40B4-BE49-F238E27FC236}">
              <a16:creationId xmlns:a16="http://schemas.microsoft.com/office/drawing/2014/main" id="{48B0B885-283F-BEBF-DDF4-969230327982}"/>
            </a:ext>
          </a:extLst>
        </cdr:cNvPr>
        <cdr:cNvSpPr txBox="1"/>
      </cdr:nvSpPr>
      <cdr:spPr>
        <a:xfrm xmlns:a="http://schemas.openxmlformats.org/drawingml/2006/main">
          <a:off x="0" y="75198"/>
          <a:ext cx="1462171" cy="3007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fi-FI" sz="1400" b="1">
              <a:solidFill>
                <a:schemeClr val="tx1">
                  <a:lumMod val="75000"/>
                  <a:lumOff val="25000"/>
                </a:schemeClr>
              </a:solidFill>
            </a:rPr>
            <a:t>€/MWh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38136</cdr:x>
      <cdr:y>0.47346</cdr:y>
    </cdr:from>
    <cdr:to>
      <cdr:x>0.61574</cdr:x>
      <cdr:y>0.5351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9D16F9C5-4452-4381-AB31-AFD192C756DD}"/>
            </a:ext>
          </a:extLst>
        </cdr:cNvPr>
        <cdr:cNvSpPr txBox="1"/>
      </cdr:nvSpPr>
      <cdr:spPr>
        <a:xfrm xmlns:a="http://schemas.openxmlformats.org/drawingml/2006/main">
          <a:off x="3544270" y="2873340"/>
          <a:ext cx="2178253" cy="37450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fi-FI" sz="1800" b="1">
              <a:solidFill>
                <a:schemeClr val="tx1">
                  <a:lumMod val="65000"/>
                  <a:lumOff val="35000"/>
                </a:schemeClr>
              </a:solidFill>
            </a:rPr>
            <a:t>Yhteensä 33,2 TWh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5986F4-4B4A-414D-B0A3-971C452E03C0}" type="datetimeFigureOut">
              <a:rPr lang="fi-FI" smtClean="0"/>
              <a:t>6.11.2024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FA0A38-E614-4BA1-A813-38F8731195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914825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0AF86D-21AF-476E-B7ED-61799633A175}" type="slidenum">
              <a:rPr lang="fi-FI" smtClean="0"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48450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FA0A38-E614-4BA1-A813-38F873119582}" type="slidenum">
              <a:rPr lang="fi-FI" smtClean="0"/>
              <a:t>1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77659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FA0A38-E614-4BA1-A813-38F873119582}" type="slidenum">
              <a:rPr lang="fi-FI" smtClean="0"/>
              <a:t>3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875988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9D6097-F58A-4259-AB86-8695682BDB19}" type="slidenum">
              <a:rPr lang="fi-FI" smtClean="0"/>
              <a:t>3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4008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"/>
          <a:stretch/>
        </p:blipFill>
        <p:spPr>
          <a:xfrm>
            <a:off x="156883" y="143123"/>
            <a:ext cx="11899392" cy="5823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6" name="Picture 15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92867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8.11.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110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081" y="365125"/>
            <a:ext cx="10980225" cy="1325563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5576" y="1825625"/>
            <a:ext cx="5278718" cy="4351338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12647" y="1825625"/>
            <a:ext cx="5283204" cy="4351338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8.11.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4726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8.11.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3894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8.11.202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257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56884" y="141288"/>
            <a:ext cx="11887480" cy="6551612"/>
          </a:xfrm>
          <a:solidFill>
            <a:schemeClr val="bg2"/>
          </a:solidFill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274047"/>
            <a:ext cx="9144000" cy="1829081"/>
          </a:xfrm>
        </p:spPr>
        <p:txBody>
          <a:bodyPr anchor="ctr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636" y="5951123"/>
            <a:ext cx="2137832" cy="47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868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237288" y="141288"/>
            <a:ext cx="5807075" cy="6551612"/>
          </a:xfrm>
          <a:solidFill>
            <a:schemeClr val="bg2"/>
          </a:solidFill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081" y="365125"/>
            <a:ext cx="5392271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5575" y="1825625"/>
            <a:ext cx="5390777" cy="4351338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6.11.2024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8.11.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6288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48759" y="141288"/>
            <a:ext cx="5807075" cy="6551612"/>
          </a:xfrm>
          <a:solidFill>
            <a:schemeClr val="bg2"/>
          </a:solidFill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8638" y="365125"/>
            <a:ext cx="5392271" cy="13255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90132" y="1825625"/>
            <a:ext cx="5390777" cy="4351338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i-FI"/>
              <a:t>6.11.2024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8.11.202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07" y="6405771"/>
            <a:ext cx="1490123" cy="182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18312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pic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48759" y="141287"/>
            <a:ext cx="11895604" cy="3169179"/>
          </a:xfrm>
          <a:solidFill>
            <a:schemeClr val="bg2"/>
          </a:solidFill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081" y="3413620"/>
            <a:ext cx="9478683" cy="83016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4081" y="4258730"/>
            <a:ext cx="9478683" cy="2038975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8.11.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1988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"/>
          <a:stretch/>
        </p:blipFill>
        <p:spPr>
          <a:xfrm>
            <a:off x="156883" y="143123"/>
            <a:ext cx="11899392" cy="582376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6" name="Picture 15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532074" y="2407444"/>
            <a:ext cx="9137945" cy="87868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4800">
                <a:solidFill>
                  <a:schemeClr val="bg1"/>
                </a:solidFill>
              </a:rPr>
              <a:t>Suomi on </a:t>
            </a:r>
            <a:r>
              <a:rPr lang="en-US" sz="4800" err="1">
                <a:solidFill>
                  <a:schemeClr val="bg1"/>
                </a:solidFill>
              </a:rPr>
              <a:t>energia-alan</a:t>
            </a:r>
            <a:r>
              <a:rPr lang="en-US" sz="4800">
                <a:solidFill>
                  <a:schemeClr val="bg1"/>
                </a:solidFill>
              </a:rPr>
              <a:t> </a:t>
            </a:r>
            <a:r>
              <a:rPr lang="en-US" sz="4800" err="1">
                <a:solidFill>
                  <a:schemeClr val="bg1"/>
                </a:solidFill>
              </a:rPr>
              <a:t>edelläkävijä</a:t>
            </a:r>
            <a:endParaRPr lang="en-US" sz="480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FBA1413-D840-4048-B977-C0B3B3389A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44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FBA1413-D840-4048-B977-C0B3B3389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47A0ED3-EBDF-4A88-A4D3-BD4EA652B4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3951F5-4703-D44A-B115-272F5947A2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958740"/>
            <a:ext cx="10658475" cy="584775"/>
          </a:xfrm>
        </p:spPr>
        <p:txBody>
          <a:bodyPr>
            <a:spAutoFit/>
          </a:bodyPr>
          <a:lstStyle/>
          <a:p>
            <a:r>
              <a:rPr lang="en-GB" noProof="0"/>
              <a:t>Click here to add a headline 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82F03808-5700-F64A-B0B7-5EC2FE9B66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1808163"/>
            <a:ext cx="1065847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here to add text or click on icon to add conte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5" name="Datumsplatzhalter 14">
            <a:extLst>
              <a:ext uri="{FF2B5EF4-FFF2-40B4-BE49-F238E27FC236}">
                <a16:creationId xmlns:a16="http://schemas.microsoft.com/office/drawing/2014/main" id="{CCE1D5B0-D380-4A55-BFCF-AF4809BCA3B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/>
              <a:t>6.11.2024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47F536C0-7643-40EB-AA89-B95D5A27C59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8.11.2022</a:t>
            </a:r>
            <a:endParaRPr lang="en-GB" noProof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A67F99E9-0F02-4D45-BC0C-D2B04AECD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en-GB" noProof="0"/>
              <a:pPr/>
              <a:t>‹#›</a:t>
            </a:fld>
            <a:endParaRPr lang="en-GB" noProof="0"/>
          </a:p>
        </p:txBody>
      </p:sp>
      <p:sp>
        <p:nvSpPr>
          <p:cNvPr id="21" name="Source / Footnote Placeholder">
            <a:extLst>
              <a:ext uri="{FF2B5EF4-FFF2-40B4-BE49-F238E27FC236}">
                <a16:creationId xmlns:a16="http://schemas.microsoft.com/office/drawing/2014/main" id="{AA37DF42-5A4E-4D6A-9AE9-5A61F1B876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3" y="6278992"/>
            <a:ext cx="8852438" cy="10233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>
                <a:solidFill>
                  <a:schemeClr val="tx2"/>
                </a:solidFill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Placeholder for sources and footnotes: footnotes are numbered (no *)  |  Single-line </a:t>
            </a:r>
          </a:p>
        </p:txBody>
      </p:sp>
    </p:spTree>
    <p:extLst>
      <p:ext uri="{BB962C8B-B14F-4D97-AF65-F5344CB8AC3E}">
        <p14:creationId xmlns:p14="http://schemas.microsoft.com/office/powerpoint/2010/main" val="622255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9">
          <p15:clr>
            <a:srgbClr val="F26B43"/>
          </p15:clr>
        </p15:guide>
        <p15:guide id="2" pos="483">
          <p15:clr>
            <a:srgbClr val="F26B43"/>
          </p15:clr>
        </p15:guide>
        <p15:guide id="3" pos="7197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orient="horz" pos="2546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swoosh_1.png"/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"/>
          <a:stretch/>
        </p:blipFill>
        <p:spPr>
          <a:xfrm>
            <a:off x="156883" y="143123"/>
            <a:ext cx="11899392" cy="5823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5" name="Picture 14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08504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6.11.202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8.11.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528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"/>
          <a:stretch/>
        </p:blipFill>
        <p:spPr>
          <a:xfrm>
            <a:off x="156883" y="143123"/>
            <a:ext cx="11899392" cy="5823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3" name="Picture 12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5600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0" b="2"/>
          <a:stretch/>
        </p:blipFill>
        <p:spPr>
          <a:xfrm>
            <a:off x="156883" y="143123"/>
            <a:ext cx="11899392" cy="58237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8658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02" y="142240"/>
            <a:ext cx="11890248" cy="58186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6" name="Picture 15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7730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02" y="142240"/>
            <a:ext cx="11890248" cy="58186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5" name="Picture 14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02" y="142240"/>
            <a:ext cx="11890248" cy="58186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3" name="Picture 12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81202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56883" y="141298"/>
            <a:ext cx="11887200" cy="581923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602" y="142240"/>
            <a:ext cx="11890248" cy="58186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0" name="Picture 9" descr="ET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1199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56884" y="141288"/>
            <a:ext cx="11887480" cy="5830142"/>
          </a:xfrm>
          <a:solidFill>
            <a:schemeClr val="bg2"/>
          </a:solidFill>
        </p:spPr>
        <p:txBody>
          <a:bodyPr/>
          <a:lstStyle/>
          <a:p>
            <a:r>
              <a:rPr lang="fi-FI"/>
              <a:t>Lisää kuva napsauttamalla kuvaketta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486647"/>
            <a:ext cx="9144000" cy="182908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48572"/>
            <a:ext cx="9144000" cy="745840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US"/>
          </a:p>
        </p:txBody>
      </p:sp>
      <p:pic>
        <p:nvPicPr>
          <p:cNvPr id="10" name="Picture 9" descr="ET_log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1" y="6121400"/>
            <a:ext cx="2506997" cy="560073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3916411" y="3535953"/>
            <a:ext cx="4320000" cy="0"/>
          </a:xfrm>
          <a:prstGeom prst="line">
            <a:avLst/>
          </a:prstGeom>
          <a:ln w="3810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4081" y="365125"/>
            <a:ext cx="947868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081" y="1825625"/>
            <a:ext cx="9478683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588815" y="6356350"/>
            <a:ext cx="1014507" cy="246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i-FI"/>
              <a:t>6.11.2024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5824" y="6356350"/>
            <a:ext cx="3812992" cy="246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8.11.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819589" y="6356350"/>
            <a:ext cx="545354" cy="2465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rgbClr val="595959"/>
                </a:solidFill>
              </a:defRPr>
            </a:lvl1pPr>
          </a:lstStyle>
          <a:p>
            <a:fld id="{D5CDC59A-8C4B-3741-8921-09D2C8EE8B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 descr="ET_vesileima.pn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02" y="6405771"/>
            <a:ext cx="1490134" cy="182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8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49" r:id="rId2"/>
    <p:sldLayoutId id="2147483663" r:id="rId3"/>
    <p:sldLayoutId id="2147483664" r:id="rId4"/>
    <p:sldLayoutId id="2147483666" r:id="rId5"/>
    <p:sldLayoutId id="2147483669" r:id="rId6"/>
    <p:sldLayoutId id="2147483667" r:id="rId7"/>
    <p:sldLayoutId id="2147483668" r:id="rId8"/>
    <p:sldLayoutId id="2147483670" r:id="rId9"/>
    <p:sldLayoutId id="2147483650" r:id="rId10"/>
    <p:sldLayoutId id="2147483652" r:id="rId11"/>
    <p:sldLayoutId id="2147483654" r:id="rId12"/>
    <p:sldLayoutId id="2147483655" r:id="rId13"/>
    <p:sldLayoutId id="2147483658" r:id="rId14"/>
    <p:sldLayoutId id="2147483659" r:id="rId15"/>
    <p:sldLayoutId id="2147483660" r:id="rId16"/>
    <p:sldLayoutId id="2147483661" r:id="rId17"/>
    <p:sldLayoutId id="2147483671" r:id="rId18"/>
    <p:sldLayoutId id="2147483672" r:id="rId19"/>
    <p:sldLayoutId id="2147483673" r:id="rId2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3">
            <a:lumMod val="75000"/>
          </a:schemeClr>
        </a:buClr>
        <a:buFont typeface="Arial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>
            <a:lumMod val="50000"/>
          </a:schemeClr>
        </a:buClr>
        <a:buFont typeface="Lucida Grande"/>
        <a:buChar char="–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microsoft.com/office/2018/10/relationships/comments" Target="../comments/modernComment_DC0793B_328A17C9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microsoft.com/office/2018/10/relationships/comments" Target="../comments/modernComment_DC07938_AF93536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2.xml"/><Relationship Id="rId2" Type="http://schemas.openxmlformats.org/officeDocument/2006/relationships/slide" Target="slide4.xml"/><Relationship Id="rId1" Type="http://schemas.openxmlformats.org/officeDocument/2006/relationships/slideLayout" Target="../slideLayouts/slideLayout10.xml"/><Relationship Id="rId4" Type="http://schemas.openxmlformats.org/officeDocument/2006/relationships/slide" Target="slide3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microsoft.com/office/2018/10/relationships/comments" Target="../comments/modernComment_DC07930_6286DCEB.xml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microsoft.com/office/2018/10/relationships/comments" Target="../comments/modernComment_138_BDFD282E.xml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2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18" Type="http://schemas.openxmlformats.org/officeDocument/2006/relationships/image" Target="../media/image27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25.svg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emf"/><Relationship Id="rId15" Type="http://schemas.openxmlformats.org/officeDocument/2006/relationships/image" Target="../media/image24.png"/><Relationship Id="rId10" Type="http://schemas.openxmlformats.org/officeDocument/2006/relationships/image" Target="../media/image19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8.png"/><Relationship Id="rId14" Type="http://schemas.openxmlformats.org/officeDocument/2006/relationships/image" Target="../media/image23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8710FFB-ACCD-4797-AAB6-ED49953B301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/>
              <a:t>Kaukolämpö 2023</a:t>
            </a:r>
          </a:p>
        </p:txBody>
      </p:sp>
    </p:spTree>
    <p:extLst>
      <p:ext uri="{BB962C8B-B14F-4D97-AF65-F5344CB8AC3E}">
        <p14:creationId xmlns:p14="http://schemas.microsoft.com/office/powerpoint/2010/main" val="20126342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B66A6D0-1D6C-4B38-92DA-92846BA71D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2" y="365125"/>
            <a:ext cx="8877788" cy="1325563"/>
          </a:xfrm>
        </p:spPr>
        <p:txBody>
          <a:bodyPr>
            <a:noAutofit/>
          </a:bodyPr>
          <a:lstStyle/>
          <a:p>
            <a:r>
              <a:rPr lang="fi-FI" sz="3600"/>
              <a:t>Lämpöindeksin kehitys kaukolämmitetyissä rakennuksissa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233F10E-85E8-461E-B926-F3B0E208D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0</a:t>
            </a:fld>
            <a:endParaRPr lang="en-US"/>
          </a:p>
        </p:txBody>
      </p:sp>
      <p:sp>
        <p:nvSpPr>
          <p:cNvPr id="7" name="Tekstiruutu 6">
            <a:extLst>
              <a:ext uri="{FF2B5EF4-FFF2-40B4-BE49-F238E27FC236}">
                <a16:creationId xmlns:a16="http://schemas.microsoft.com/office/drawing/2014/main" id="{25C45941-A978-4290-8A56-21029AEF8E8C}"/>
              </a:ext>
            </a:extLst>
          </p:cNvPr>
          <p:cNvSpPr txBox="1"/>
          <p:nvPr/>
        </p:nvSpPr>
        <p:spPr>
          <a:xfrm>
            <a:off x="8135252" y="2274838"/>
            <a:ext cx="344266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pöindeksi kertoo, kuinka paljon tilojen ja käyttöveden lämmittämiseen on käytetty energiaa rakennustilavuutta tai pinta-alaa kohd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pöindeksi on normeerattu vastaamaan vertailukautta 1991-2020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591B3EA-B5BC-B899-16BD-5B6B3B49F0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8" name="Kaavio 1">
            <a:extLst>
              <a:ext uri="{FF2B5EF4-FFF2-40B4-BE49-F238E27FC236}">
                <a16:creationId xmlns:a16="http://schemas.microsoft.com/office/drawing/2014/main" id="{5B379024-C66A-51CE-B7FE-A4A9B1A453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1203767"/>
              </p:ext>
            </p:extLst>
          </p:nvPr>
        </p:nvGraphicFramePr>
        <p:xfrm>
          <a:off x="614082" y="1688308"/>
          <a:ext cx="7166339" cy="45634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67793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9576F36-56F4-4671-B810-257EDE0175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841884" cy="1325563"/>
          </a:xfrm>
        </p:spPr>
        <p:txBody>
          <a:bodyPr>
            <a:normAutofit/>
          </a:bodyPr>
          <a:lstStyle/>
          <a:p>
            <a:r>
              <a:rPr lang="fi-FI" sz="3600"/>
              <a:t>Kaukolämmön hankinta ja yhteistuotannon osuus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1FD0643-A21D-4F59-B4AA-13DCFCE36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1</a:t>
            </a:fld>
            <a:endParaRPr lang="en-US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F3BCE03-B0DF-D450-755E-53D326AFD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7" name="Kaavio 1">
            <a:extLst>
              <a:ext uri="{FF2B5EF4-FFF2-40B4-BE49-F238E27FC236}">
                <a16:creationId xmlns:a16="http://schemas.microsoft.com/office/drawing/2014/main" id="{D13DDF54-60ED-4C97-B792-A4A86EDAF7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8307207"/>
              </p:ext>
            </p:extLst>
          </p:nvPr>
        </p:nvGraphicFramePr>
        <p:xfrm>
          <a:off x="614081" y="1381539"/>
          <a:ext cx="8977180" cy="48304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99151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3C74135-670B-4D1B-BF0D-B7DB35F5F3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5456081"/>
              </p:ext>
            </p:extLst>
          </p:nvPr>
        </p:nvGraphicFramePr>
        <p:xfrm>
          <a:off x="253259" y="1729926"/>
          <a:ext cx="7959161" cy="4587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20EF11A0-872B-4CFB-8A0A-E3E5EB28A8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200" dirty="0"/>
              <a:t>Kaukolämmön hankinta sekä kaukolämmön ja siihen liittyvän sähkön tuotantoon käytetyt polttoainee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072D8E7-1C6E-4C8E-8720-B0FC2681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2</a:t>
            </a:fld>
            <a:endParaRPr lang="en-US"/>
          </a:p>
        </p:txBody>
      </p:sp>
      <p:graphicFrame>
        <p:nvGraphicFramePr>
          <p:cNvPr id="11" name="Taulukko 10">
            <a:extLst>
              <a:ext uri="{FF2B5EF4-FFF2-40B4-BE49-F238E27FC236}">
                <a16:creationId xmlns:a16="http://schemas.microsoft.com/office/drawing/2014/main" id="{7115F23E-8C1C-4ACB-9DE1-97F06B9234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41506"/>
              </p:ext>
            </p:extLst>
          </p:nvPr>
        </p:nvGraphicFramePr>
        <p:xfrm>
          <a:off x="7959161" y="2880840"/>
          <a:ext cx="3757871" cy="27519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5039">
                  <a:extLst>
                    <a:ext uri="{9D8B030D-6E8A-4147-A177-3AD203B41FA5}">
                      <a16:colId xmlns:a16="http://schemas.microsoft.com/office/drawing/2014/main" val="1304246720"/>
                    </a:ext>
                  </a:extLst>
                </a:gridCol>
                <a:gridCol w="972832">
                  <a:extLst>
                    <a:ext uri="{9D8B030D-6E8A-4147-A177-3AD203B41FA5}">
                      <a16:colId xmlns:a16="http://schemas.microsoft.com/office/drawing/2014/main" val="3487307987"/>
                    </a:ext>
                  </a:extLst>
                </a:gridCol>
              </a:tblGrid>
              <a:tr h="461904">
                <a:tc>
                  <a:txBody>
                    <a:bodyPr/>
                    <a:lstStyle/>
                    <a:p>
                      <a:pPr algn="l"/>
                      <a:r>
                        <a:rPr lang="fi-FI" sz="1400" dirty="0"/>
                        <a:t>Kaukolämmön hankinta yhteensä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i-FI" sz="1400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36,7 </a:t>
                      </a:r>
                      <a:r>
                        <a:rPr lang="fi-FI" sz="1400" b="1" kern="1200" err="1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Wh</a:t>
                      </a:r>
                      <a:endParaRPr lang="fi-FI" sz="1400" b="1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0852302"/>
                  </a:ext>
                </a:extLst>
              </a:tr>
              <a:tr h="461904">
                <a:tc>
                  <a:txBody>
                    <a:bodyPr/>
                    <a:lstStyle/>
                    <a:p>
                      <a:r>
                        <a:rPr lang="fi-FI" sz="1400" dirty="0"/>
                        <a:t>Kaukolämmön tuotanto polttoaineill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i-FI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,7 TWh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1665066"/>
                  </a:ext>
                </a:extLst>
              </a:tr>
              <a:tr h="578509">
                <a:tc>
                  <a:txBody>
                    <a:bodyPr/>
                    <a:lstStyle/>
                    <a:p>
                      <a:r>
                        <a:rPr lang="fi-FI" sz="1400" dirty="0"/>
                        <a:t>Kaukolämmön tuotantoon liittyvä sähkön tuotan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i-FI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,9 </a:t>
                      </a:r>
                      <a:r>
                        <a:rPr lang="fi-FI" sz="1400" kern="120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Wh</a:t>
                      </a:r>
                      <a:endParaRPr lang="fi-FI" sz="1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2093322"/>
                  </a:ext>
                </a:extLst>
              </a:tr>
              <a:tr h="461904">
                <a:tc>
                  <a:txBody>
                    <a:bodyPr/>
                    <a:lstStyle/>
                    <a:p>
                      <a:r>
                        <a:rPr lang="fi-FI" sz="1400" dirty="0"/>
                        <a:t>Edellisiin käytetyt polttoaine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i-FI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3,2 </a:t>
                      </a:r>
                      <a:r>
                        <a:rPr lang="fi-FI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Wh</a:t>
                      </a:r>
                      <a:endParaRPr lang="fi-FI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58612897"/>
                  </a:ext>
                </a:extLst>
              </a:tr>
              <a:tr h="714285">
                <a:tc>
                  <a:txBody>
                    <a:bodyPr/>
                    <a:lstStyle/>
                    <a:p>
                      <a:r>
                        <a:rPr lang="fi-FI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ämmön talteenotto, lämpöpumpun tuotanto ja sähkökattiloiden tuotant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,0 </a:t>
                      </a:r>
                      <a:r>
                        <a:rPr lang="fi-FI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Wh</a:t>
                      </a:r>
                      <a:endParaRPr lang="fi-FI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49239371"/>
                  </a:ext>
                </a:extLst>
              </a:tr>
            </a:tbl>
          </a:graphicData>
        </a:graphic>
      </p:graphicFrame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6DE2B6A-C8BA-5B3C-49D6-978D8E05F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00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5F9E9C6-8010-4AC4-ADA7-421FECB0E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0" y="365125"/>
            <a:ext cx="9051213" cy="1325563"/>
          </a:xfrm>
        </p:spPr>
        <p:txBody>
          <a:bodyPr>
            <a:normAutofit/>
          </a:bodyPr>
          <a:lstStyle/>
          <a:p>
            <a:r>
              <a:rPr lang="fi-FI" sz="3600"/>
              <a:t>Kaukolämmön hankinnan energialähteet 2023 polttoaineluokittain</a:t>
            </a:r>
            <a:endParaRPr lang="fi-FI" sz="3600">
              <a:solidFill>
                <a:srgbClr val="FF0000"/>
              </a:solidFill>
            </a:endParaRP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F5D6C049-2558-48CB-8CD1-C27A1E421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3</a:t>
            </a:fld>
            <a:endParaRPr lang="en-US"/>
          </a:p>
        </p:txBody>
      </p:sp>
      <p:sp>
        <p:nvSpPr>
          <p:cNvPr id="13" name="Tekstiruutu 12">
            <a:extLst>
              <a:ext uri="{FF2B5EF4-FFF2-40B4-BE49-F238E27FC236}">
                <a16:creationId xmlns:a16="http://schemas.microsoft.com/office/drawing/2014/main" id="{3F8AC6C0-DAEE-4310-B80F-CE2AFEE53F6E}"/>
              </a:ext>
            </a:extLst>
          </p:cNvPr>
          <p:cNvSpPr txBox="1"/>
          <p:nvPr/>
        </p:nvSpPr>
        <p:spPr>
          <a:xfrm>
            <a:off x="5944139" y="4717429"/>
            <a:ext cx="4899094" cy="14491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äte sisältää yhdyskuntajätteen, kierrätyspolttoaineet, purkupuun, kyllästetyn puun, muovijätteet ja vaaralliset jätteet. </a:t>
            </a:r>
          </a:p>
          <a:p>
            <a:pPr marL="742950" lvl="1" indent="-285750"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ätteen bio-osuus on 54 % ja fossiilinen osuus 46 %.</a:t>
            </a:r>
            <a:endParaRPr lang="fi-FI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u biomassa: Muut bioperäiset polttoaine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ut: Höyry, vety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93EC98B-4F98-E6B9-4E84-FC83955F5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32EAF9C3-5B80-0134-CE0F-A5B899EBD139}"/>
              </a:ext>
            </a:extLst>
          </p:cNvPr>
          <p:cNvSpPr txBox="1">
            <a:spLocks/>
          </p:cNvSpPr>
          <p:nvPr/>
        </p:nvSpPr>
        <p:spPr>
          <a:xfrm>
            <a:off x="5864510" y="1892009"/>
            <a:ext cx="5738812" cy="12511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>
                  <a:lumMod val="50000"/>
                </a:schemeClr>
              </a:buClr>
              <a:buFont typeface="Lucida Grande"/>
              <a:buChar char="–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dirty="0"/>
              <a:t>Hiilidioksidineutraali* 70 prosenttia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fi-FI" dirty="0"/>
              <a:t>Uusiutuvat + lämmön talteenotto + sähkökattiloiden sähkönkulutus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fi-FI" dirty="0"/>
              <a:t>Fossiiliset tuontipolttoaineet 17 prosenttia</a:t>
            </a:r>
          </a:p>
        </p:txBody>
      </p:sp>
      <p:graphicFrame>
        <p:nvGraphicFramePr>
          <p:cNvPr id="8" name="Kaavio 1">
            <a:extLst>
              <a:ext uri="{FF2B5EF4-FFF2-40B4-BE49-F238E27FC236}">
                <a16:creationId xmlns:a16="http://schemas.microsoft.com/office/drawing/2014/main" id="{5CAED4CF-9C5A-8685-9A93-37D72DC778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510202"/>
              </p:ext>
            </p:extLst>
          </p:nvPr>
        </p:nvGraphicFramePr>
        <p:xfrm>
          <a:off x="0" y="1762577"/>
          <a:ext cx="7114322" cy="4560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0B7317B-819C-93C2-F82E-BD03B4EA977F}"/>
              </a:ext>
            </a:extLst>
          </p:cNvPr>
          <p:cNvSpPr txBox="1"/>
          <p:nvPr/>
        </p:nvSpPr>
        <p:spPr>
          <a:xfrm>
            <a:off x="6458808" y="3215075"/>
            <a:ext cx="465403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*Hiilidioksidineutraaleiksi energialähteiksi on laskettu ne energialähteet, joiden hiilidioksidivaikutusta ei raportoida lämmön tuotannossa. Bioenergian ilmastovaikutus lasketaan maankäyttösektorilla ja kaukolämmöntuotantoon käytetyn sähkön päästöt sähköntuotannossa.</a:t>
            </a:r>
          </a:p>
        </p:txBody>
      </p:sp>
    </p:spTree>
    <p:extLst>
      <p:ext uri="{BB962C8B-B14F-4D97-AF65-F5344CB8AC3E}">
        <p14:creationId xmlns:p14="http://schemas.microsoft.com/office/powerpoint/2010/main" val="20407443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A2EE0-37C1-8C92-2C86-4BCEBBAF7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2" y="365125"/>
            <a:ext cx="5309640" cy="2109718"/>
          </a:xfrm>
        </p:spPr>
        <p:txBody>
          <a:bodyPr>
            <a:normAutofit/>
          </a:bodyPr>
          <a:lstStyle/>
          <a:p>
            <a:r>
              <a:rPr lang="fi-FI" sz="3600"/>
              <a:t>Kaukolämmön hankinnan energialähteet 2023 polttoaineittain</a:t>
            </a:r>
            <a:endParaRPr lang="fi-FI" sz="360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1C70230-C740-303F-F541-D36ED0210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785626-2B30-F9A2-13EF-628E82C9C7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4</a:t>
            </a:fld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91B63DF-5168-EA67-7FCD-0F1EB5876B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764309"/>
              </p:ext>
            </p:extLst>
          </p:nvPr>
        </p:nvGraphicFramePr>
        <p:xfrm>
          <a:off x="3192323" y="365125"/>
          <a:ext cx="9305925" cy="6076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4791085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2ECCD-365F-74A1-30F7-FB32125E74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052ECE5-9001-6472-6644-B07CC2BFA8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19" y="311178"/>
            <a:ext cx="10419433" cy="1013819"/>
          </a:xfrm>
        </p:spPr>
        <p:txBody>
          <a:bodyPr>
            <a:normAutofit fontScale="90000"/>
          </a:bodyPr>
          <a:lstStyle/>
          <a:p>
            <a:r>
              <a:rPr lang="fi-FI" sz="4000"/>
              <a:t>Kaukolämmön hankinnan energialähteet 2023 ja 2022</a:t>
            </a:r>
            <a:endParaRPr lang="fi-FI">
              <a:solidFill>
                <a:srgbClr val="FF0000"/>
              </a:solidFill>
            </a:endParaRP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85DAE072-BD18-F692-F118-B6394C32F1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2E9F3D07-1DBD-D975-5050-6E4FF1516A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5</a:t>
            </a:fld>
            <a:endParaRPr lang="en-US"/>
          </a:p>
        </p:txBody>
      </p:sp>
      <p:sp>
        <p:nvSpPr>
          <p:cNvPr id="11" name="Tekstiruutu 10">
            <a:extLst>
              <a:ext uri="{FF2B5EF4-FFF2-40B4-BE49-F238E27FC236}">
                <a16:creationId xmlns:a16="http://schemas.microsoft.com/office/drawing/2014/main" id="{D2D22850-DEB9-F13C-0A27-CF9918EB6EE2}"/>
              </a:ext>
            </a:extLst>
          </p:cNvPr>
          <p:cNvSpPr txBox="1"/>
          <p:nvPr/>
        </p:nvSpPr>
        <p:spPr>
          <a:xfrm>
            <a:off x="9187793" y="2643809"/>
            <a:ext cx="2802043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150000"/>
              </a:lnSpc>
              <a:defRPr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b="0" dirty="0"/>
              <a:t>Lämmön talteenotto: muuten hyödyntämättä jäävä lämpöenergia, esimerkiksi lämmön talteenotto jätevedestä, savukaasuista, kaukojäähdytyksen paluuvedestä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b="0" dirty="0"/>
              <a:t>Jäte: sisältää yhdyskuntajätteen, kierrätyspolttoaineet, purkupuun, kyllästetyn puun, muovijätteet ja vaaralliset jätteet. 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b="0" dirty="0"/>
              <a:t>Muu biomassa: muut bioperäiset polttoaineet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b="0" dirty="0"/>
              <a:t>Muut: höyry, vety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EC5BF5EB-E84F-7911-43B4-8335CB8D59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198889"/>
              </p:ext>
            </p:extLst>
          </p:nvPr>
        </p:nvGraphicFramePr>
        <p:xfrm>
          <a:off x="532819" y="1324997"/>
          <a:ext cx="8531668" cy="50313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138538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D95F7-B0FD-71E3-912A-B08012A19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2" y="365125"/>
            <a:ext cx="8201927" cy="1325563"/>
          </a:xfrm>
        </p:spPr>
        <p:txBody>
          <a:bodyPr>
            <a:normAutofit/>
          </a:bodyPr>
          <a:lstStyle/>
          <a:p>
            <a:r>
              <a:rPr lang="fi-FI" sz="3600"/>
              <a:t>Sähkökattiloiden tuottama lämpö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9B0C6B-9513-84A6-9AAE-E04ABD5728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95981" y="2285999"/>
            <a:ext cx="3601767" cy="3890963"/>
          </a:xfrm>
        </p:spPr>
        <p:txBody>
          <a:bodyPr/>
          <a:lstStyle/>
          <a:p>
            <a:r>
              <a:rPr lang="fi-FI" sz="2000" dirty="0"/>
              <a:t>Sähkökattiloilla korvataan polttoaineiden käyttöä kun sähkön hinta on edullista.</a:t>
            </a:r>
          </a:p>
          <a:p>
            <a:r>
              <a:rPr lang="fi-FI" sz="2000" dirty="0"/>
              <a:t>Sähkökattiloiden rinnalla on yleensä lämpövarasto.</a:t>
            </a:r>
          </a:p>
          <a:p>
            <a:endParaRPr lang="fi-FI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7E10BF-9100-41EC-F842-B553D755A8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104EE-86D9-1FF3-FA46-CE08480F8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6</a:t>
            </a:fld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B001E9A-C5A1-0A67-133D-4D2FF5520E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899195"/>
              </p:ext>
            </p:extLst>
          </p:nvPr>
        </p:nvGraphicFramePr>
        <p:xfrm>
          <a:off x="614082" y="1690688"/>
          <a:ext cx="6983786" cy="4510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801219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77562A-07CD-0E52-3542-17739DF5C1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4B4A4B7-25B6-5E2A-D309-A7D468C33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 dirty="0"/>
              <a:t>Kaukolämmön hankinnan energialähteet </a:t>
            </a:r>
            <a:br>
              <a:rPr lang="fi-FI" sz="3600" dirty="0"/>
            </a:br>
            <a:r>
              <a:rPr lang="fi-FI" sz="3600" dirty="0"/>
              <a:t>1990-2023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A1F16A57-8ED1-9550-72D1-60595EC60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7</a:t>
            </a:fld>
            <a:endParaRPr lang="en-US"/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AB2C06B6-F148-F9FB-86DD-28DE12997F3B}"/>
              </a:ext>
            </a:extLst>
          </p:cNvPr>
          <p:cNvSpPr txBox="1"/>
          <p:nvPr/>
        </p:nvSpPr>
        <p:spPr>
          <a:xfrm>
            <a:off x="8622436" y="1690688"/>
            <a:ext cx="3311958" cy="3395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iomassa, hukkalämmöt ja sähkökattilat ovat korvanneet fossiilisia polttoaineita kaukolämmön tuotannossa. </a:t>
            </a:r>
          </a:p>
          <a:p>
            <a:pPr marL="228600" indent="-228600"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iomassan käyttö on 2,5-kertaistunut vuodesta 2010.</a:t>
            </a:r>
          </a:p>
          <a:p>
            <a:pPr marL="228600" indent="-228600"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ukkalämpöjen määrä on viisinkertaistunut vuodesta 2010. Hukkalämpöjä hyödyntämällä vältetään polttoaineiden käyttöä.</a:t>
            </a:r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24F8527F-EE30-910D-95D8-551BE81C6AE4}"/>
              </a:ext>
            </a:extLst>
          </p:cNvPr>
          <p:cNvSpPr txBox="1"/>
          <p:nvPr/>
        </p:nvSpPr>
        <p:spPr>
          <a:xfrm>
            <a:off x="5433120" y="6123323"/>
            <a:ext cx="39897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*sisältää lämpöpumput, lämmön talteenoton ja sähkökattilat</a:t>
            </a:r>
          </a:p>
        </p:txBody>
      </p:sp>
      <p:sp>
        <p:nvSpPr>
          <p:cNvPr id="8" name="Päivämäärän paikkamerkki 7">
            <a:extLst>
              <a:ext uri="{FF2B5EF4-FFF2-40B4-BE49-F238E27FC236}">
                <a16:creationId xmlns:a16="http://schemas.microsoft.com/office/drawing/2014/main" id="{2E06E1DE-815F-1749-FA2F-C07B7B714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84DD2E4-0A8B-C607-A1ED-ED8B9BD908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8709656"/>
              </p:ext>
            </p:extLst>
          </p:nvPr>
        </p:nvGraphicFramePr>
        <p:xfrm>
          <a:off x="646607" y="1692662"/>
          <a:ext cx="7975829" cy="4569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456679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0EF11A0-872B-4CFB-8A0A-E3E5EB28A8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1313460" cy="1325563"/>
          </a:xfrm>
        </p:spPr>
        <p:txBody>
          <a:bodyPr>
            <a:normAutofit/>
          </a:bodyPr>
          <a:lstStyle/>
          <a:p>
            <a:r>
              <a:rPr lang="fi-FI" sz="3600" dirty="0"/>
              <a:t>Kaukolämmön hankinnan energialähteet </a:t>
            </a:r>
            <a:br>
              <a:rPr lang="fi-FI" sz="3600" dirty="0"/>
            </a:br>
            <a:r>
              <a:rPr lang="fi-FI" sz="3600" dirty="0"/>
              <a:t>1976-2023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072D8E7-1C6E-4C8E-8720-B0FC2681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8</a:t>
            </a:fld>
            <a:endParaRPr lang="en-US"/>
          </a:p>
        </p:txBody>
      </p:sp>
      <p:sp>
        <p:nvSpPr>
          <p:cNvPr id="8" name="Päivämäärän paikkamerkki 7">
            <a:extLst>
              <a:ext uri="{FF2B5EF4-FFF2-40B4-BE49-F238E27FC236}">
                <a16:creationId xmlns:a16="http://schemas.microsoft.com/office/drawing/2014/main" id="{990ECF33-3A94-98FB-F5F6-7457F05AD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6" name="Tekstiruutu 3">
            <a:extLst>
              <a:ext uri="{FF2B5EF4-FFF2-40B4-BE49-F238E27FC236}">
                <a16:creationId xmlns:a16="http://schemas.microsoft.com/office/drawing/2014/main" id="{4E0606DA-2AEA-EF6A-5434-B2827743CF1F}"/>
              </a:ext>
            </a:extLst>
          </p:cNvPr>
          <p:cNvSpPr txBox="1"/>
          <p:nvPr/>
        </p:nvSpPr>
        <p:spPr>
          <a:xfrm>
            <a:off x="5363546" y="6123323"/>
            <a:ext cx="39897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*sisältää lämpöpumput, lämmön talteenoton ja sähkökattilat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EE564062-2C7A-19B3-7363-7D24B050E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660291"/>
              </p:ext>
            </p:extLst>
          </p:nvPr>
        </p:nvGraphicFramePr>
        <p:xfrm>
          <a:off x="588678" y="1570384"/>
          <a:ext cx="9191425" cy="4552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229123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F2C70D6-C5FC-4BA3-A355-D6A1505A29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0584794" cy="1325563"/>
          </a:xfrm>
        </p:spPr>
        <p:txBody>
          <a:bodyPr>
            <a:normAutofit/>
          </a:bodyPr>
          <a:lstStyle/>
          <a:p>
            <a:r>
              <a:rPr lang="fi-FI" sz="3600" dirty="0"/>
              <a:t>Kaukolämmön energialähteet 2023 maakunnittain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7C7678A-C533-45F5-87ED-EEE7B110E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19</a:t>
            </a:fld>
            <a:endParaRPr lang="en-US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CAC7B70-313B-5AA8-FDD4-BDA2C3761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0D5AB6-13AA-C13B-91CD-23F4C93AF4AC}"/>
              </a:ext>
            </a:extLst>
          </p:cNvPr>
          <p:cNvSpPr txBox="1"/>
          <p:nvPr/>
        </p:nvSpPr>
        <p:spPr>
          <a:xfrm>
            <a:off x="8825512" y="2136338"/>
            <a:ext cx="299211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Huom</a:t>
            </a: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! Kaukolämmön energialähteiden osuus kaukolämmön ja sähkön yhteistuotantolaitoksissa on arvioitu yleisillä kertoimilla, joita ei ole muokattu maakuntakohtaiselle tasolle.</a:t>
            </a:r>
          </a:p>
        </p:txBody>
      </p:sp>
      <p:graphicFrame>
        <p:nvGraphicFramePr>
          <p:cNvPr id="7" name="Kaavio 1">
            <a:extLst>
              <a:ext uri="{FF2B5EF4-FFF2-40B4-BE49-F238E27FC236}">
                <a16:creationId xmlns:a16="http://schemas.microsoft.com/office/drawing/2014/main" id="{70D0EA28-FFEC-452C-8F6E-C8372A8E14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2844833"/>
              </p:ext>
            </p:extLst>
          </p:nvPr>
        </p:nvGraphicFramePr>
        <p:xfrm>
          <a:off x="614081" y="1313625"/>
          <a:ext cx="8310651" cy="5042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330468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4EA7572-02CF-6A65-ECBE-524BDE0DE3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3600"/>
              <a:t>Sisällysluettelo</a:t>
            </a:r>
            <a:endParaRPr lang="fi-FI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F2FCD2A-1822-4E3D-5FF3-13EDF399F7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fi-FI" sz="2000"/>
              <a:t>Tilastoesitys on jaettu kolmeen osaan. Ensimmäisessä osassa esitetään tilastokuvaajia. Seuraavassa osassa on tilastoihin perustuvaa analyysiä. Kolmannessa osassa esitetään tulevaisuusskenaarioita.</a:t>
            </a:r>
          </a:p>
          <a:p>
            <a:pPr marL="0" indent="0">
              <a:buNone/>
            </a:pPr>
            <a:endParaRPr lang="fi-FI" sz="2000"/>
          </a:p>
          <a:p>
            <a:pPr marL="0" indent="0">
              <a:buNone/>
            </a:pPr>
            <a:r>
              <a:rPr lang="fi-FI" sz="2000"/>
              <a:t>Sisällys</a:t>
            </a:r>
          </a:p>
          <a:p>
            <a:r>
              <a:rPr lang="fi-FI" sz="2000">
                <a:hlinkClick r:id="rId2" action="ppaction://hlinksldjump"/>
              </a:rPr>
              <a:t>Tilastot graafeina</a:t>
            </a:r>
            <a:endParaRPr lang="fi-FI" sz="2000"/>
          </a:p>
          <a:p>
            <a:r>
              <a:rPr lang="fi-FI" sz="2000">
                <a:hlinkClick r:id="rId3" action="ppaction://hlinksldjump"/>
              </a:rPr>
              <a:t>Analyysi</a:t>
            </a:r>
            <a:endParaRPr lang="fi-FI" sz="2000"/>
          </a:p>
          <a:p>
            <a:r>
              <a:rPr lang="fi-FI" sz="2000">
                <a:hlinkClick r:id="rId4" action="ppaction://hlinksldjump"/>
              </a:rPr>
              <a:t>Tulevaisuusskenaariot</a:t>
            </a:r>
            <a:endParaRPr lang="fi-FI" sz="200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08B43B7-C0AF-E015-FF02-1427898009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C3E9EADE-2A6F-758F-64D2-E07ADF265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6943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F2C70D6-C5FC-4BA3-A355-D6A1505A2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 dirty="0"/>
              <a:t>Kaukolämmön energialähteet maakunnittain vuosina 2005 ja 2023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7C7678A-C533-45F5-87ED-EEE7B110E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0</a:t>
            </a:fld>
            <a:endParaRPr lang="en-US"/>
          </a:p>
        </p:txBody>
      </p:sp>
      <p:sp>
        <p:nvSpPr>
          <p:cNvPr id="11" name="Tekstiruutu 10">
            <a:extLst>
              <a:ext uri="{FF2B5EF4-FFF2-40B4-BE49-F238E27FC236}">
                <a16:creationId xmlns:a16="http://schemas.microsoft.com/office/drawing/2014/main" id="{A3E9856D-6884-4F34-9B1A-68E1CD58DF46}"/>
              </a:ext>
            </a:extLst>
          </p:cNvPr>
          <p:cNvSpPr txBox="1"/>
          <p:nvPr/>
        </p:nvSpPr>
        <p:spPr>
          <a:xfrm>
            <a:off x="614081" y="1677470"/>
            <a:ext cx="56807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000" b="1">
                <a:solidFill>
                  <a:schemeClr val="accent1"/>
                </a:solidFill>
              </a:rPr>
              <a:t>Vuosi 2005</a:t>
            </a:r>
          </a:p>
        </p:txBody>
      </p:sp>
      <p:sp>
        <p:nvSpPr>
          <p:cNvPr id="13" name="Tekstiruutu 12">
            <a:extLst>
              <a:ext uri="{FF2B5EF4-FFF2-40B4-BE49-F238E27FC236}">
                <a16:creationId xmlns:a16="http://schemas.microsoft.com/office/drawing/2014/main" id="{850D3B1B-9C7A-4E2B-9182-91666F6132B4}"/>
              </a:ext>
            </a:extLst>
          </p:cNvPr>
          <p:cNvSpPr txBox="1"/>
          <p:nvPr/>
        </p:nvSpPr>
        <p:spPr>
          <a:xfrm>
            <a:off x="6775824" y="1677470"/>
            <a:ext cx="51874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000" b="1">
                <a:solidFill>
                  <a:schemeClr val="accent1"/>
                </a:solidFill>
              </a:rPr>
              <a:t>Vuosi 2023</a:t>
            </a:r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0693C71A-9300-4A88-BCF7-0F73F65FB4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8491" y="2008800"/>
            <a:ext cx="6168075" cy="4031999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A0726090-9BEA-456D-96A5-16D84FC27F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5973054" y="2011592"/>
            <a:ext cx="6168509" cy="4028156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9313871-6DF8-1E66-CECB-A84440460A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9840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F0F56FAE-20F1-4340-AFA1-5036AF7B4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478683" cy="1325563"/>
          </a:xfrm>
        </p:spPr>
        <p:txBody>
          <a:bodyPr anchor="ctr">
            <a:normAutofit fontScale="90000"/>
          </a:bodyPr>
          <a:lstStyle/>
          <a:p>
            <a:r>
              <a:rPr lang="fi-FI" sz="3600"/>
              <a:t>Uusiutuvien polttoaineiden käyttö kaukolämmön ja siihen liittyvän sähkön tuotantoon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DFF4C101-8E01-A2F8-5B2E-5322E5DEA1F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88815" y="6356350"/>
            <a:ext cx="1014507" cy="24658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fi-FI"/>
              <a:t>6.11.2024</a:t>
            </a:r>
            <a:endParaRPr lang="en-US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9F290A6B-CAEF-4DF1-834B-10E5BA9730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819589" y="6356350"/>
            <a:ext cx="545354" cy="24658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D5CDC59A-8C4B-3741-8921-09D2C8EE8BFB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graphicFrame>
        <p:nvGraphicFramePr>
          <p:cNvPr id="4" name="Kaavio 1">
            <a:extLst>
              <a:ext uri="{FF2B5EF4-FFF2-40B4-BE49-F238E27FC236}">
                <a16:creationId xmlns:a16="http://schemas.microsoft.com/office/drawing/2014/main" id="{134177DD-ADA9-4E06-AEE6-7703344EDC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997712"/>
              </p:ext>
            </p:extLst>
          </p:nvPr>
        </p:nvGraphicFramePr>
        <p:xfrm>
          <a:off x="614081" y="1825625"/>
          <a:ext cx="9478683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584337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00C3295-AFD1-4873-9F37-0D1DA1048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974734" cy="1325563"/>
          </a:xfrm>
        </p:spPr>
        <p:txBody>
          <a:bodyPr>
            <a:normAutofit/>
          </a:bodyPr>
          <a:lstStyle/>
          <a:p>
            <a:r>
              <a:rPr lang="fi-FI" sz="3600" dirty="0"/>
              <a:t>Hukka- ja ympäristölämpöjen ja sähkökattiloiden hyödyntäminen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4E6A3B19-E9CE-4581-AA73-57C0221AC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2</a:t>
            </a:fld>
            <a:endParaRPr lang="en-US"/>
          </a:p>
        </p:txBody>
      </p:sp>
      <p:sp>
        <p:nvSpPr>
          <p:cNvPr id="8" name="Tekstiruutu 9">
            <a:extLst>
              <a:ext uri="{FF2B5EF4-FFF2-40B4-BE49-F238E27FC236}">
                <a16:creationId xmlns:a16="http://schemas.microsoft.com/office/drawing/2014/main" id="{A23A80B5-D539-470D-880C-CA145B667BB1}"/>
              </a:ext>
            </a:extLst>
          </p:cNvPr>
          <p:cNvSpPr txBox="1"/>
          <p:nvPr/>
        </p:nvSpPr>
        <p:spPr>
          <a:xfrm>
            <a:off x="7007087" y="2366544"/>
            <a:ext cx="483527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ähkökattiloilla tuotettiin lämpöä 750 </a:t>
            </a:r>
            <a:r>
              <a:rPr lang="fi-FI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Wh</a:t>
            </a:r>
            <a:r>
              <a:rPr lang="fi-FI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vuonna 2023.</a:t>
            </a:r>
          </a:p>
          <a:p>
            <a:endParaRPr lang="fi-FI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fi-FI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ukka- ja ympäristölämpöjen talteenotolla tuotettiin 6 249 </a:t>
            </a:r>
            <a:r>
              <a:rPr lang="fi-FI" sz="20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Wh</a:t>
            </a:r>
            <a:r>
              <a:rPr lang="fi-FI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kaukolämpöä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irtimillä talteen otettua lämpöä 4 230 </a:t>
            </a:r>
            <a:r>
              <a:rPr lang="fi-FI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Wh</a:t>
            </a: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i-FI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kittävimmät lämmönlähteet: savukaasut, teollisuusprosessit sekä geoterminen energia</a:t>
            </a:r>
            <a:endParaRPr lang="fi-FI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ämpöpumpuilla tuotettua lämpöä 2 020 </a:t>
            </a:r>
            <a:r>
              <a:rPr lang="fi-FI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GWh</a:t>
            </a: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i-FI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rkittävimmät lämmönlähteet: jätevesi, kaukojäähdytyksen paluuvesi ja datakeskukset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F2E64F99-FCE9-9AD2-B49D-735CB4AB15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9" name="Kaavio 1">
            <a:extLst>
              <a:ext uri="{FF2B5EF4-FFF2-40B4-BE49-F238E27FC236}">
                <a16:creationId xmlns:a16="http://schemas.microsoft.com/office/drawing/2014/main" id="{783CD4FD-8E71-4C54-A320-282866D9BA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1781096"/>
              </p:ext>
            </p:extLst>
          </p:nvPr>
        </p:nvGraphicFramePr>
        <p:xfrm>
          <a:off x="614081" y="1690689"/>
          <a:ext cx="6393006" cy="4481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043759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97C7D2C-3721-41FE-B2A5-61D6B15422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1125901" cy="1347974"/>
          </a:xfrm>
        </p:spPr>
        <p:txBody>
          <a:bodyPr>
            <a:normAutofit/>
          </a:bodyPr>
          <a:lstStyle/>
          <a:p>
            <a:r>
              <a:rPr lang="fi-FI" sz="3600"/>
              <a:t>Kaukolämmön kokonaispäästöt</a:t>
            </a:r>
            <a:endParaRPr lang="fi-FI" sz="2000">
              <a:latin typeface="+mn-lt"/>
            </a:endParaRP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8FCB521D-9A6F-407F-A88D-2F3A4C7FEF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36733" y="2005012"/>
            <a:ext cx="3400148" cy="435133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/>
              <a:t>Kaukolämmön tuotannon    CO</a:t>
            </a:r>
            <a:r>
              <a:rPr lang="fi-FI" baseline="-25000"/>
              <a:t>2</a:t>
            </a:r>
            <a:r>
              <a:rPr lang="fi-FI"/>
              <a:t>-päästöt olivat vuonna 2023 3,1 milj. tonnia </a:t>
            </a:r>
          </a:p>
          <a:p>
            <a:pPr>
              <a:lnSpc>
                <a:spcPct val="100000"/>
              </a:lnSpc>
            </a:pPr>
            <a:r>
              <a:rPr lang="fi-FI"/>
              <a:t>Kaukolämmön kokonaispäästöt laskivat</a:t>
            </a:r>
            <a:r>
              <a:rPr lang="fi-FI" sz="1800"/>
              <a:t> edellisvuodesta </a:t>
            </a:r>
            <a:r>
              <a:rPr lang="fi-FI"/>
              <a:t>22</a:t>
            </a:r>
            <a:r>
              <a:rPr lang="fi-FI" sz="1800"/>
              <a:t> % 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29C560F4-D19E-4622-AAA6-9EC555A299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5E16E0A4-A522-4AD3-AB0A-71459D2F3F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3</a:t>
            </a:fld>
            <a:endParaRPr lang="en-US"/>
          </a:p>
        </p:txBody>
      </p:sp>
      <p:graphicFrame>
        <p:nvGraphicFramePr>
          <p:cNvPr id="3" name="Kaavio 1">
            <a:extLst>
              <a:ext uri="{FF2B5EF4-FFF2-40B4-BE49-F238E27FC236}">
                <a16:creationId xmlns:a16="http://schemas.microsoft.com/office/drawing/2014/main" id="{572B400F-9FD1-D3CC-AF2F-6362AAB963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1869676"/>
              </p:ext>
            </p:extLst>
          </p:nvPr>
        </p:nvGraphicFramePr>
        <p:xfrm>
          <a:off x="452018" y="1487447"/>
          <a:ext cx="7751156" cy="47742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919677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93A63DF-F56F-422F-8164-53755A453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Kaukolämmön hankinnan hiilidioksidipäästöt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62255A4-0086-40C6-9F18-9E9B46B06D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4</a:t>
            </a:fld>
            <a:endParaRPr lang="en-US"/>
          </a:p>
        </p:txBody>
      </p:sp>
      <p:sp>
        <p:nvSpPr>
          <p:cNvPr id="10" name="Tekstiruutu 9">
            <a:extLst>
              <a:ext uri="{FF2B5EF4-FFF2-40B4-BE49-F238E27FC236}">
                <a16:creationId xmlns:a16="http://schemas.microsoft.com/office/drawing/2014/main" id="{1FD332D9-11C0-4740-9AAF-32E859FB6B25}"/>
              </a:ext>
            </a:extLst>
          </p:cNvPr>
          <p:cNvSpPr txBox="1"/>
          <p:nvPr/>
        </p:nvSpPr>
        <p:spPr>
          <a:xfrm>
            <a:off x="7521143" y="2201512"/>
            <a:ext cx="435136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Vuonna 2023 kaukolämmön tuotannon ominaispäästöt olivat 85 gCO</a:t>
            </a:r>
            <a:r>
              <a:rPr lang="fi-FI" baseline="-2500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/kWh 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askua edellisvuoteen: 26 %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Päästöt laskeneet 58 % vuodesta 2010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Yhteistuotantolaitosten polttoaineet on jyvitetty hyödynjakomenetelmällä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E56609BB-4757-41A6-861E-3C358157BC34}"/>
              </a:ext>
            </a:extLst>
          </p:cNvPr>
          <p:cNvSpPr txBox="1"/>
          <p:nvPr/>
        </p:nvSpPr>
        <p:spPr>
          <a:xfrm>
            <a:off x="2475006" y="5956600"/>
            <a:ext cx="3812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Lähteet: </a:t>
            </a:r>
          </a:p>
          <a:p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Tilastokeskus (2000…2022)</a:t>
            </a:r>
          </a:p>
          <a:p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Energiateollisuus ry (1976…1999, 2023)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1D03CB20-1032-3BAC-5388-3EE876151E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7" name="Kaavio 1">
            <a:extLst>
              <a:ext uri="{FF2B5EF4-FFF2-40B4-BE49-F238E27FC236}">
                <a16:creationId xmlns:a16="http://schemas.microsoft.com/office/drawing/2014/main" id="{BD273660-0356-4B37-963E-986268A5FD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9019948"/>
              </p:ext>
            </p:extLst>
          </p:nvPr>
        </p:nvGraphicFramePr>
        <p:xfrm>
          <a:off x="614081" y="1448098"/>
          <a:ext cx="6907062" cy="45390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953123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8E31165-4B09-483D-B313-E8CB9A7946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2" y="365125"/>
            <a:ext cx="7695730" cy="1325563"/>
          </a:xfrm>
        </p:spPr>
        <p:txBody>
          <a:bodyPr>
            <a:normAutofit/>
          </a:bodyPr>
          <a:lstStyle/>
          <a:p>
            <a:r>
              <a:rPr lang="fi-FI" sz="3600"/>
              <a:t>Kaukolämmön keskihinta sekä minimi- ja maksimiarvot </a:t>
            </a:r>
            <a:r>
              <a:rPr lang="fi-FI" sz="2000"/>
              <a:t>(sis. alv)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0C65DBC-E89A-49B2-BA22-99A2F23FDF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5</a:t>
            </a:fld>
            <a:endParaRPr lang="en-US"/>
          </a:p>
        </p:txBody>
      </p:sp>
      <p:sp>
        <p:nvSpPr>
          <p:cNvPr id="8" name="Tekstiruutu 9">
            <a:extLst>
              <a:ext uri="{FF2B5EF4-FFF2-40B4-BE49-F238E27FC236}">
                <a16:creationId xmlns:a16="http://schemas.microsoft.com/office/drawing/2014/main" id="{DEA2D510-32D6-4407-8ADB-B71B2850E0B4}"/>
              </a:ext>
            </a:extLst>
          </p:cNvPr>
          <p:cNvSpPr txBox="1"/>
          <p:nvPr/>
        </p:nvSpPr>
        <p:spPr>
          <a:xfrm>
            <a:off x="8129626" y="2352751"/>
            <a:ext cx="3870587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nta sisältää kaikki verot, teho- ja energiamaksut ja mahdolliset muut vuotuiset kaukolämpömaksut. Ei sisällä liittymismaksuja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ämmön myynnillä painotettu keskihinta: 100,69 €/MWh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ritmeettinen keskihinta: </a:t>
            </a:r>
            <a:b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96,26 €/MW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DF50714-53E0-BABB-9D2B-BBA0EF8E4D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5" name="Kaavio 1">
            <a:extLst>
              <a:ext uri="{FF2B5EF4-FFF2-40B4-BE49-F238E27FC236}">
                <a16:creationId xmlns:a16="http://schemas.microsoft.com/office/drawing/2014/main" id="{4D946D90-232A-4426-BD2A-0BC13BB2D2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9211830"/>
              </p:ext>
            </p:extLst>
          </p:nvPr>
        </p:nvGraphicFramePr>
        <p:xfrm>
          <a:off x="614082" y="1690688"/>
          <a:ext cx="7312931" cy="4627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665689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60EE3A9-6661-488F-806A-49C549DB4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380151" cy="1325563"/>
          </a:xfrm>
        </p:spPr>
        <p:txBody>
          <a:bodyPr>
            <a:normAutofit/>
          </a:bodyPr>
          <a:lstStyle/>
          <a:p>
            <a:r>
              <a:rPr lang="fi-FI" sz="3600"/>
              <a:t>Kaukolämpöyritysten lukumäärän jakautuma lämmön keskihinnan mukaan vuonna 2023 </a:t>
            </a:r>
            <a:r>
              <a:rPr lang="fi-FI" sz="2000"/>
              <a:t>(sis. alv)</a:t>
            </a:r>
            <a:endParaRPr lang="fi-FI" sz="360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6BD11DC7-42A9-4727-ADBC-6F8C986D2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6</a:t>
            </a:fld>
            <a:endParaRPr lang="en-US"/>
          </a:p>
        </p:txBody>
      </p:sp>
      <p:sp>
        <p:nvSpPr>
          <p:cNvPr id="8" name="Tekstiruutu 9">
            <a:extLst>
              <a:ext uri="{FF2B5EF4-FFF2-40B4-BE49-F238E27FC236}">
                <a16:creationId xmlns:a16="http://schemas.microsoft.com/office/drawing/2014/main" id="{2160C043-C7B8-47F9-94B0-63E325F64656}"/>
              </a:ext>
            </a:extLst>
          </p:cNvPr>
          <p:cNvSpPr txBox="1"/>
          <p:nvPr/>
        </p:nvSpPr>
        <p:spPr>
          <a:xfrm>
            <a:off x="7689165" y="2445494"/>
            <a:ext cx="41642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inta sisältää kaikki verot, teho- ja energiamaksut ja mahdolliset muut vuotuiset kaukolämpömaksut. Ei sisällä liittymismaksuj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uvaaja edustaa vain tilaston myynti-osioon vastanneita yrityksiä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21B53ED7-A2FE-0282-7E30-472CC76638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C23AC3A-2287-0AC0-941A-6E466DC3DE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4548434"/>
              </p:ext>
            </p:extLst>
          </p:nvPr>
        </p:nvGraphicFramePr>
        <p:xfrm>
          <a:off x="614081" y="1690688"/>
          <a:ext cx="6959536" cy="4579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60130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>
            <a:extLst>
              <a:ext uri="{FF2B5EF4-FFF2-40B4-BE49-F238E27FC236}">
                <a16:creationId xmlns:a16="http://schemas.microsoft.com/office/drawing/2014/main" id="{AB530289-AFB9-4089-B0D1-16383309EB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0030245" cy="1099691"/>
          </a:xfrm>
        </p:spPr>
        <p:txBody>
          <a:bodyPr>
            <a:normAutofit/>
          </a:bodyPr>
          <a:lstStyle/>
          <a:p>
            <a:r>
              <a:rPr lang="fi-FI" sz="3600"/>
              <a:t>Kaukolämmön hinta uudisrakennuksissa (€/MWh)</a:t>
            </a:r>
            <a:br>
              <a:rPr lang="fi-FI" sz="3600"/>
            </a:br>
            <a:r>
              <a:rPr lang="fi-FI" sz="2000"/>
              <a:t>Teho- ja energiamaksu, sis. verot</a:t>
            </a:r>
            <a:endParaRPr lang="fi-FI" sz="3600"/>
          </a:p>
        </p:txBody>
      </p:sp>
      <p:sp>
        <p:nvSpPr>
          <p:cNvPr id="8" name="Tekstiruutu 8">
            <a:extLst>
              <a:ext uri="{FF2B5EF4-FFF2-40B4-BE49-F238E27FC236}">
                <a16:creationId xmlns:a16="http://schemas.microsoft.com/office/drawing/2014/main" id="{8D1FBC1A-9ABE-4286-BFC3-18618206BDB3}"/>
              </a:ext>
            </a:extLst>
          </p:cNvPr>
          <p:cNvSpPr txBox="1"/>
          <p:nvPr/>
        </p:nvSpPr>
        <p:spPr>
          <a:xfrm>
            <a:off x="8037926" y="2048586"/>
            <a:ext cx="376359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Hinta sisältää kaikki verot, teho- ja energiamaksut ja mahdolliset muut vuotuiset kaukolämpömaksut. Ei sisällä liittymismaksuja.</a:t>
            </a:r>
          </a:p>
        </p:txBody>
      </p:sp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2026038B-F7AF-4BA4-8EA6-93CE818D8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7</a:t>
            </a:fld>
            <a:endParaRPr lang="en-US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C73A045B-9272-CA85-B9C4-0ED0DBF4B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5" name="Text Box 1">
            <a:extLst>
              <a:ext uri="{FF2B5EF4-FFF2-40B4-BE49-F238E27FC236}">
                <a16:creationId xmlns:a16="http://schemas.microsoft.com/office/drawing/2014/main" id="{48AA3FCC-A6C3-B95D-A783-5862524B18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8679" y="6018605"/>
            <a:ext cx="4832249" cy="297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xmlns:mc="http://schemas.openxmlformats.org/markup-compatibility/2006" val="FFFFFF" mc:Ignorable="a14" a14:legacySpreadsheetColorIndex="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xmlns:mc="http://schemas.openxmlformats.org/markup-compatibility/2006" val="000000" mc:Ignorable="a14" a14:legacySpreadsheetColorIndex="6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tIns="32004" rIns="0" bIns="0" anchor="t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 sz="1000"/>
            </a:pPr>
            <a:r>
              <a:rPr lang="fi-FI" sz="1200" i="0" u="none" strike="noStrike" baseline="0" dirty="0">
                <a:solidFill>
                  <a:schemeClr val="bg2">
                    <a:lumMod val="50000"/>
                  </a:schemeClr>
                </a:solidFill>
                <a:latin typeface="+mn-lt"/>
                <a:ea typeface="Verdana"/>
                <a:cs typeface="Verdana"/>
              </a:rPr>
              <a:t>Lähde: Energiateollisuus ry, Hintatilasto 07/2023</a:t>
            </a:r>
          </a:p>
        </p:txBody>
      </p:sp>
      <p:graphicFrame>
        <p:nvGraphicFramePr>
          <p:cNvPr id="10" name="Kaavio 1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2836555"/>
              </p:ext>
            </p:extLst>
          </p:nvPr>
        </p:nvGraphicFramePr>
        <p:xfrm>
          <a:off x="588679" y="1464816"/>
          <a:ext cx="7293052" cy="4448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500676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979C1DB-285B-4688-BDB6-388653DE5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478683" cy="1086481"/>
          </a:xfrm>
        </p:spPr>
        <p:txBody>
          <a:bodyPr>
            <a:normAutofit/>
          </a:bodyPr>
          <a:lstStyle/>
          <a:p>
            <a:r>
              <a:rPr lang="fi-FI" sz="3600"/>
              <a:t>Kaukolämmön reaalihinnan kehitys</a:t>
            </a:r>
            <a:br>
              <a:rPr lang="fi-FI" sz="3600"/>
            </a:br>
            <a:r>
              <a:rPr lang="fi-FI" sz="2000"/>
              <a:t>Elinkustannusindeksillä korjattuna, verollinen ja veroton keskihinta</a:t>
            </a:r>
            <a:endParaRPr lang="fi-FI" sz="360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8A4EE0C7-9A9C-4EC9-AF25-D42CBD841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8</a:t>
            </a:fld>
            <a:endParaRPr lang="en-US"/>
          </a:p>
        </p:txBody>
      </p:sp>
      <p:sp>
        <p:nvSpPr>
          <p:cNvPr id="6" name="Text Box 1">
            <a:extLst>
              <a:ext uri="{FF2B5EF4-FFF2-40B4-BE49-F238E27FC236}">
                <a16:creationId xmlns:a16="http://schemas.microsoft.com/office/drawing/2014/main" id="{F4EA2CB7-B5E6-4307-BDEE-1D2554BD6A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4081" y="5969175"/>
            <a:ext cx="4832249" cy="297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xmlns:mc="http://schemas.openxmlformats.org/markup-compatibility/2006" val="FFFFFF" mc:Ignorable="a14" a14:legacySpreadsheetColorIndex="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xmlns:mc="http://schemas.openxmlformats.org/markup-compatibility/2006" val="000000" mc:Ignorable="a14" a14:legacySpreadsheetColorIndex="6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tIns="32004" rIns="0" bIns="0" anchor="t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 sz="1000"/>
            </a:pPr>
            <a:r>
              <a:rPr lang="fi-FI" sz="1200" i="0" u="none" strike="noStrike" baseline="0" dirty="0">
                <a:solidFill>
                  <a:schemeClr val="bg2">
                    <a:lumMod val="50000"/>
                  </a:schemeClr>
                </a:solidFill>
                <a:latin typeface="+mn-lt"/>
                <a:ea typeface="Verdana"/>
                <a:cs typeface="Verdana"/>
              </a:rPr>
              <a:t>Lähde: Energiateollisuus ry, Hintatilasto 07/2023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AA4A6069-F5A9-C17C-8DE3-DD95D480C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7" name="Kaavio 1">
            <a:extLst>
              <a:ext uri="{FF2B5EF4-FFF2-40B4-BE49-F238E27FC236}">
                <a16:creationId xmlns:a16="http://schemas.microsoft.com/office/drawing/2014/main" id="{5AC399E5-6832-1B08-1383-C9C70E66C3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7335201"/>
              </p:ext>
            </p:extLst>
          </p:nvPr>
        </p:nvGraphicFramePr>
        <p:xfrm>
          <a:off x="614081" y="1451606"/>
          <a:ext cx="8152232" cy="44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947862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B9B377E-20C3-4B40-ACF2-F37A7463B4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Kaukolämmön käytön jakaantuminen 2023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441F2E4A-D495-4307-A04B-EABFB49627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29</a:t>
            </a:fld>
            <a:endParaRPr lang="en-US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6AB460C1-6F10-31DB-6E99-D8ECB3AE8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7" name="Kaavio 1">
            <a:extLst>
              <a:ext uri="{FF2B5EF4-FFF2-40B4-BE49-F238E27FC236}">
                <a16:creationId xmlns:a16="http://schemas.microsoft.com/office/drawing/2014/main" id="{339DB0CB-FECF-4E4E-997F-875C644559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263138"/>
              </p:ext>
            </p:extLst>
          </p:nvPr>
        </p:nvGraphicFramePr>
        <p:xfrm>
          <a:off x="-107737" y="1385410"/>
          <a:ext cx="7074350" cy="48624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210704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26E8F6-302C-A075-6787-F67420E484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3F07B1F-A844-C8A7-08CB-D0A48D600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Tilastovuosi 2023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A992B404-5102-BDE2-61FC-842B0B9209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sz="2000" dirty="0"/>
              <a:t>Vuosi 2023 oli kaukolämmön sähköistymisen vuosi.</a:t>
            </a:r>
          </a:p>
          <a:p>
            <a:pPr lvl="1"/>
            <a:r>
              <a:rPr lang="fi-FI" sz="1800" dirty="0"/>
              <a:t>Polttoon perustumaton tuotanto kasvoi kokonaisuudessaan noin 40% vuodesta 2022.</a:t>
            </a:r>
          </a:p>
          <a:p>
            <a:pPr lvl="1"/>
            <a:r>
              <a:rPr lang="fi-FI" sz="1800" dirty="0"/>
              <a:t>Polttoon perustumaton tuotanto, erityisesti lämpöpumppujen ja sähkökattiloiden tuotanto, kasvanee lähivuosina voimakkaasti.</a:t>
            </a:r>
          </a:p>
          <a:p>
            <a:r>
              <a:rPr lang="fi-FI" sz="2000" dirty="0"/>
              <a:t>Polttoaineiden saanti alkoi palautua vuoden 2022 poikkeusvuosista, jolloin Ukrainan sota alkoi ja Venäjän polttoaineiden tuonti lopetettiin.</a:t>
            </a:r>
          </a:p>
          <a:p>
            <a:pPr lvl="1"/>
            <a:r>
              <a:rPr lang="fi-FI" sz="1800" dirty="0"/>
              <a:t>Maakaasun saatavuus parani vuonna 2023, mikä vähensi öljyn ja kivihiilen käyttöä kaukolämmön tuotannossa. Myös energiapuulla korvattiin kivihiiltä ja turvetta.</a:t>
            </a:r>
          </a:p>
          <a:p>
            <a:pPr lvl="1"/>
            <a:r>
              <a:rPr lang="fi-FI" sz="1800" dirty="0"/>
              <a:t>Polttoaineiden hinnat kuitenkin pysyivät edelleen korkeina.</a:t>
            </a:r>
          </a:p>
          <a:p>
            <a:r>
              <a:rPr lang="fi-FI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uosi 2023 oli keskimäärin hieman normaalivuotta (1991-2020 keskiarvoa) lämpimämpi. Kuukausilämpötilat erosivat kuitenkin keskimääräisestä vuodesta. </a:t>
            </a:r>
          </a:p>
          <a:p>
            <a:pPr lvl="1"/>
            <a:r>
              <a:rPr lang="fi-FI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ammi-, helmi- ja kesäkuukaudet olivat normaalia lämpimämpiä, mutta maaliskuu ja loppuvuosi olivat normaalia kylmempiä. </a:t>
            </a:r>
          </a:p>
          <a:p>
            <a:endParaRPr lang="fi-FI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fi-FI" sz="2000" dirty="0">
              <a:highlight>
                <a:srgbClr val="FFFF00"/>
              </a:highlight>
            </a:endParaRPr>
          </a:p>
          <a:p>
            <a:pPr marL="0" indent="0">
              <a:buNone/>
            </a:pPr>
            <a:endParaRPr lang="fi-FI" sz="2000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BA87B165-D378-254B-E699-FCDF9689BC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4A0D851B-273F-8C98-B425-1EE867320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5829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FDA9791-9338-4EB4-9865-FE9A48F66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Asiakkaiden osuudet sopimusteholuokittain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EC79B3E-4D83-43FC-864D-9193C50A3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30</a:t>
            </a:fld>
            <a:endParaRPr lang="en-US"/>
          </a:p>
        </p:txBody>
      </p:sp>
      <p:sp>
        <p:nvSpPr>
          <p:cNvPr id="9" name="Tekstiruutu 6">
            <a:extLst>
              <a:ext uri="{FF2B5EF4-FFF2-40B4-BE49-F238E27FC236}">
                <a16:creationId xmlns:a16="http://schemas.microsoft.com/office/drawing/2014/main" id="{DC30C998-394A-4D9B-907F-CC890140D23E}"/>
              </a:ext>
            </a:extLst>
          </p:cNvPr>
          <p:cNvSpPr txBox="1"/>
          <p:nvPr/>
        </p:nvSpPr>
        <p:spPr>
          <a:xfrm>
            <a:off x="7786580" y="1841679"/>
            <a:ext cx="381299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000">
                <a:solidFill>
                  <a:schemeClr val="tx1">
                    <a:lumMod val="65000"/>
                    <a:lumOff val="35000"/>
                  </a:schemeClr>
                </a:solidFill>
              </a:rPr>
              <a:t>Kaukolämpöasiakkaita: 160 000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000">
                <a:solidFill>
                  <a:schemeClr val="tx1">
                    <a:lumMod val="65000"/>
                    <a:lumOff val="35000"/>
                  </a:schemeClr>
                </a:solidFill>
              </a:rPr>
              <a:t>Noin 130 000 asuintaloasiakasta</a:t>
            </a:r>
          </a:p>
          <a:p>
            <a:pPr marL="285750" indent="-285750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000">
                <a:solidFill>
                  <a:schemeClr val="tx1">
                    <a:lumMod val="65000"/>
                    <a:lumOff val="35000"/>
                  </a:schemeClr>
                </a:solidFill>
              </a:rPr>
              <a:t>3,0 miljoonaa asukasta</a:t>
            </a:r>
          </a:p>
          <a:p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Kuva 3">
            <a:extLst>
              <a:ext uri="{FF2B5EF4-FFF2-40B4-BE49-F238E27FC236}">
                <a16:creationId xmlns:a16="http://schemas.microsoft.com/office/drawing/2014/main" id="{FC9FBBF2-8C14-493F-9851-316060F54D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21388" y="1232266"/>
            <a:ext cx="7324095" cy="4819087"/>
          </a:xfrm>
          <a:prstGeom prst="rect">
            <a:avLst/>
          </a:prstGeom>
        </p:spPr>
      </p:pic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7B52CA29-18BE-1BFE-00DA-61FAAADF85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8464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979C1DB-285B-4688-BDB6-388653DE58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sz="3600"/>
              <a:t>Kaukolämmön tuotantokapasiteetti ja asiakkaiden sopimusteh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F0948EE-2517-874E-4316-857981C8E8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F607A9D9-E614-4E22-BDB9-7810E9C37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31</a:t>
            </a:fld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6FB82FD-3E7E-4D41-A62A-EE0DCEFB56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470009"/>
              </p:ext>
            </p:extLst>
          </p:nvPr>
        </p:nvGraphicFramePr>
        <p:xfrm>
          <a:off x="614081" y="1690688"/>
          <a:ext cx="7257710" cy="4486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293045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6E604-7256-EC8C-0CDF-4826AEB6885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/>
              <a:t>Analyysi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7AA368-9475-BF70-3DBD-EEDA1C23D4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385585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F7FCF6F-B60C-4497-BEF9-B352EED64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702800" cy="1325563"/>
          </a:xfrm>
        </p:spPr>
        <p:txBody>
          <a:bodyPr>
            <a:noAutofit/>
          </a:bodyPr>
          <a:lstStyle/>
          <a:p>
            <a:r>
              <a:rPr lang="fi-FI" sz="3600">
                <a:cs typeface="Calibri"/>
              </a:rPr>
              <a:t>Kaukolämmön arvioitu kulutus kuukausittain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55390E1-2372-4720-86C9-28A4E71B3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889757D9-FB3A-47FB-98B9-4A03C23F9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33</a:t>
            </a:fld>
            <a:endParaRPr lang="en-US"/>
          </a:p>
        </p:txBody>
      </p:sp>
      <p:sp>
        <p:nvSpPr>
          <p:cNvPr id="8" name="Suorakulmio 7">
            <a:extLst>
              <a:ext uri="{FF2B5EF4-FFF2-40B4-BE49-F238E27FC236}">
                <a16:creationId xmlns:a16="http://schemas.microsoft.com/office/drawing/2014/main" id="{94B1B0BE-D93A-4D2D-84FB-259AAE7856A4}"/>
              </a:ext>
            </a:extLst>
          </p:cNvPr>
          <p:cNvSpPr/>
          <p:nvPr/>
        </p:nvSpPr>
        <p:spPr>
          <a:xfrm>
            <a:off x="8485975" y="2094512"/>
            <a:ext cx="3371484" cy="299056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Vuosi 2023 oli noin 0,3 astetta normaalivuotta lämpimämpi.</a:t>
            </a:r>
          </a:p>
          <a:p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Kuukausilämpötilat erosivat kuitenkin keskimääräisestä vuodesta. </a:t>
            </a:r>
          </a:p>
          <a:p>
            <a:pPr marL="228600" indent="-228600"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Tammi-, helmi- ja kesäkuukaudet olivat normaalia lämpimämpiä, mutta maaliskuu ja loppuvuosi olivat normaalia kylmempiä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A3A695D-551F-9079-FE7F-C580FCF8A5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081" y="1273244"/>
            <a:ext cx="7422798" cy="4798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00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67ACF-F93B-3375-45DA-D68DEAC40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974734" cy="1325563"/>
          </a:xfrm>
        </p:spPr>
        <p:txBody>
          <a:bodyPr>
            <a:noAutofit/>
          </a:bodyPr>
          <a:lstStyle/>
          <a:p>
            <a:r>
              <a:rPr lang="fi-FI" sz="3200"/>
              <a:t>Vertailu 2021 - Huolimatta suuresta erosta kokonaiskysynnässä, sähkön ja lämmön piikkikulutukset ovat varsin lähellä toisiaan</a:t>
            </a:r>
            <a:endParaRPr lang="fi-FI" sz="3200">
              <a:solidFill>
                <a:srgbClr val="FF0000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114512-C25F-94A9-61B3-A6F688FC6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6.11.20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24E8FE-FB58-62B3-38E3-3257DEFBC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34</a:t>
            </a:fld>
            <a:endParaRPr lang="en-US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7DC8925B-020E-2969-50DF-B99154CFCF4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24869393"/>
              </p:ext>
            </p:extLst>
          </p:nvPr>
        </p:nvGraphicFramePr>
        <p:xfrm>
          <a:off x="923925" y="1720984"/>
          <a:ext cx="9633630" cy="3814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3B7739D-F6E2-5F29-A711-64D1C3AD4F45}"/>
              </a:ext>
            </a:extLst>
          </p:cNvPr>
          <p:cNvSpPr txBox="1"/>
          <p:nvPr/>
        </p:nvSpPr>
        <p:spPr>
          <a:xfrm>
            <a:off x="9216882" y="5253550"/>
            <a:ext cx="268134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900">
                <a:solidFill>
                  <a:schemeClr val="tx1">
                    <a:lumMod val="65000"/>
                    <a:lumOff val="35000"/>
                  </a:schemeClr>
                </a:solidFill>
              </a:rPr>
              <a:t>Lähde: Energiateollisuus, Helen open data 2021, </a:t>
            </a:r>
            <a:r>
              <a:rPr lang="fi-FI" sz="900" err="1">
                <a:solidFill>
                  <a:schemeClr val="tx1">
                    <a:lumMod val="65000"/>
                    <a:lumOff val="35000"/>
                  </a:schemeClr>
                </a:solidFill>
              </a:rPr>
              <a:t>tunnittainen</a:t>
            </a:r>
            <a:r>
              <a:rPr lang="fi-FI" sz="900">
                <a:solidFill>
                  <a:schemeClr val="tx1">
                    <a:lumMod val="65000"/>
                    <a:lumOff val="35000"/>
                  </a:schemeClr>
                </a:solidFill>
              </a:rPr>
              <a:t> kysyntä, kaukolämmön kysyntä skaalattu Helenin tuntidatan perusteella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F641741-2E6B-4BB0-9BD7-806D3F8449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4001434"/>
              </p:ext>
            </p:extLst>
          </p:nvPr>
        </p:nvGraphicFramePr>
        <p:xfrm>
          <a:off x="1520791" y="4715507"/>
          <a:ext cx="8864868" cy="370840"/>
        </p:xfrm>
        <a:graphic>
          <a:graphicData uri="http://schemas.openxmlformats.org/drawingml/2006/table">
            <a:tbl>
              <a:tblPr firstRow="1" bandRow="1">
                <a:solidFill>
                  <a:schemeClr val="bg1"/>
                </a:solidFill>
                <a:tableStyleId>{2D5ABB26-0587-4C30-8999-92F81FD0307C}</a:tableStyleId>
              </a:tblPr>
              <a:tblGrid>
                <a:gridCol w="738739">
                  <a:extLst>
                    <a:ext uri="{9D8B030D-6E8A-4147-A177-3AD203B41FA5}">
                      <a16:colId xmlns:a16="http://schemas.microsoft.com/office/drawing/2014/main" val="2763319157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2071937928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1365343589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3874323448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457859610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791437029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4195170353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1371530971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142694700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308460327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1655707842"/>
                    </a:ext>
                  </a:extLst>
                </a:gridCol>
                <a:gridCol w="738739">
                  <a:extLst>
                    <a:ext uri="{9D8B030D-6E8A-4147-A177-3AD203B41FA5}">
                      <a16:colId xmlns:a16="http://schemas.microsoft.com/office/drawing/2014/main" val="304234850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fi-FI" sz="900" dirty="0"/>
                        <a:t>Tammikuu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/>
                        <a:t>Helmi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/>
                        <a:t>Maalis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/>
                        <a:t>Huhti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/>
                        <a:t>Touko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/>
                        <a:t>Kesä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/>
                        <a:t>Heinä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 baseline="0"/>
                        <a:t>Elo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/>
                        <a:t>Syys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/>
                        <a:t>Loka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/>
                        <a:t>Marras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900" dirty="0"/>
                        <a:t>Joulukuu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10848913"/>
                  </a:ext>
                </a:extLst>
              </a:tr>
            </a:tbl>
          </a:graphicData>
        </a:graphic>
      </p:graphicFrame>
      <p:sp>
        <p:nvSpPr>
          <p:cNvPr id="8" name="Tekstiruutu 7">
            <a:extLst>
              <a:ext uri="{FF2B5EF4-FFF2-40B4-BE49-F238E27FC236}">
                <a16:creationId xmlns:a16="http://schemas.microsoft.com/office/drawing/2014/main" id="{71FA4606-102F-97AB-21ED-528A91C63746}"/>
              </a:ext>
            </a:extLst>
          </p:cNvPr>
          <p:cNvSpPr txBox="1"/>
          <p:nvPr/>
        </p:nvSpPr>
        <p:spPr>
          <a:xfrm>
            <a:off x="923925" y="5484383"/>
            <a:ext cx="896687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Vuonna 2021 kaukolämmön ja sähkön kulutuspiikit osuivat samoihin hetkii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Kaukolämmön suuri osuus lämmityksessä pienentää sähkön kysyntähuippuja merkittäväst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Kaukolämpö tukee sähköjärjestelmää.</a:t>
            </a:r>
          </a:p>
        </p:txBody>
      </p:sp>
    </p:spTree>
    <p:extLst>
      <p:ext uri="{BB962C8B-B14F-4D97-AF65-F5344CB8AC3E}">
        <p14:creationId xmlns:p14="http://schemas.microsoft.com/office/powerpoint/2010/main" val="165300554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4D03D5D-2775-F6A8-C69D-1F70F492C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1077176" cy="1325563"/>
          </a:xfrm>
        </p:spPr>
        <p:txBody>
          <a:bodyPr>
            <a:normAutofit/>
          </a:bodyPr>
          <a:lstStyle/>
          <a:p>
            <a:r>
              <a:rPr lang="fi-FI" sz="3600"/>
              <a:t>Vertailu 2021 – sähkön ja kaukolämmön kysyntähuippu talvella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856B26E-0E8B-64FE-E41C-F2BB373FE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915886"/>
            <a:ext cx="5791200" cy="3849188"/>
          </a:xfrm>
        </p:spPr>
        <p:txBody>
          <a:bodyPr/>
          <a:lstStyle/>
          <a:p>
            <a:r>
              <a:rPr lang="fi-FI" sz="2000"/>
              <a:t>Kaukolämmön kysyntä on huippukulutuksen aikaan samaa suuruusluokkaa kuin sähkön kysyntä vaikka vuositasolla sähkön kysyntä on merkittävästi kaukolämmön kysyntää suurempaa (n. 85 </a:t>
            </a:r>
            <a:r>
              <a:rPr lang="fi-FI" sz="2000" err="1"/>
              <a:t>TWh</a:t>
            </a:r>
            <a:r>
              <a:rPr lang="fi-FI" sz="2000"/>
              <a:t> </a:t>
            </a:r>
            <a:r>
              <a:rPr lang="fi-FI" sz="2000" err="1"/>
              <a:t>vs</a:t>
            </a:r>
            <a:r>
              <a:rPr lang="fi-FI" sz="2000"/>
              <a:t>  n. 35 </a:t>
            </a:r>
            <a:r>
              <a:rPr lang="fi-FI" sz="2000" err="1"/>
              <a:t>TWh</a:t>
            </a:r>
            <a:r>
              <a:rPr lang="fi-FI" sz="2000"/>
              <a:t>)</a:t>
            </a:r>
          </a:p>
          <a:p>
            <a:r>
              <a:rPr lang="fi-FI" sz="2000"/>
              <a:t>Kaukolämmön CHP-laitokset tuottavat merkittävän määrän sähköä (2 500 MW) samalla kuin tuottavat lämpöä </a:t>
            </a:r>
          </a:p>
          <a:p>
            <a:r>
              <a:rPr lang="fi-FI" sz="2000"/>
              <a:t>Kaukolämmön suuri osuus lämmityksessä pienentää sähkön kysyntähuippuja merkittävästi, sähkön tuotannon lisäksi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A0B124-87F2-E1BF-A116-82DA709D0E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647B799-25D0-DB1A-4DC8-2C042B7D1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35</a:t>
            </a:fld>
            <a:endParaRPr lang="en-US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5AF21794-0A59-E76B-0CE3-635792D029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0587" y="1816575"/>
            <a:ext cx="5596613" cy="4413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48471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DDEF65-B7F3-4552-596F-84DA2787E8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1030748" cy="1325563"/>
          </a:xfrm>
        </p:spPr>
        <p:txBody>
          <a:bodyPr>
            <a:normAutofit fontScale="90000"/>
          </a:bodyPr>
          <a:lstStyle/>
          <a:p>
            <a:r>
              <a:rPr lang="fi-FI" sz="3600" dirty="0"/>
              <a:t>Sähkökattiloiden vaikutus polttoaineiden kulutukseen – </a:t>
            </a:r>
            <a:r>
              <a:rPr lang="fi-FI" sz="3100" dirty="0"/>
              <a:t>Sähkökattila laski Seinäjoen kaukolämpöverkon polttoainetarvetta merkittävästi</a:t>
            </a:r>
            <a:endParaRPr lang="fi-FI" sz="3600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33A46C0-E498-E7CA-0298-C994D5E80C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0073577"/>
              </p:ext>
            </p:extLst>
          </p:nvPr>
        </p:nvGraphicFramePr>
        <p:xfrm>
          <a:off x="614081" y="2112908"/>
          <a:ext cx="2898775" cy="2695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ADC1CC2-B710-8E01-A661-BF55DFEDBB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4728508"/>
              </p:ext>
            </p:extLst>
          </p:nvPr>
        </p:nvGraphicFramePr>
        <p:xfrm>
          <a:off x="4080528" y="2112907"/>
          <a:ext cx="2889250" cy="2695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DE61B05-E1C4-BEFA-9B2A-CC74886C30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5147495"/>
              </p:ext>
            </p:extLst>
          </p:nvPr>
        </p:nvGraphicFramePr>
        <p:xfrm>
          <a:off x="7537450" y="2076450"/>
          <a:ext cx="2889250" cy="2695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Right Brace 5">
            <a:extLst>
              <a:ext uri="{FF2B5EF4-FFF2-40B4-BE49-F238E27FC236}">
                <a16:creationId xmlns:a16="http://schemas.microsoft.com/office/drawing/2014/main" id="{6CC3D585-2FDA-E0E8-B4D4-47C05ECE80A2}"/>
              </a:ext>
            </a:extLst>
          </p:cNvPr>
          <p:cNvSpPr/>
          <p:nvPr/>
        </p:nvSpPr>
        <p:spPr>
          <a:xfrm>
            <a:off x="9872284" y="2683565"/>
            <a:ext cx="99848" cy="53317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7DC298-55E9-4647-0129-BB9656BE3FD3}"/>
              </a:ext>
            </a:extLst>
          </p:cNvPr>
          <p:cNvSpPr txBox="1"/>
          <p:nvPr/>
        </p:nvSpPr>
        <p:spPr>
          <a:xfrm>
            <a:off x="9972132" y="2765485"/>
            <a:ext cx="7072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>
                <a:solidFill>
                  <a:schemeClr val="accent6"/>
                </a:solidFill>
              </a:rPr>
              <a:t>-31 %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3E1CB7-4036-1E0F-3223-81F765DE9581}"/>
              </a:ext>
            </a:extLst>
          </p:cNvPr>
          <p:cNvSpPr/>
          <p:nvPr/>
        </p:nvSpPr>
        <p:spPr>
          <a:xfrm>
            <a:off x="969484" y="4808483"/>
            <a:ext cx="10025350" cy="14490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/>
              <a:t>Vaikka kaukolämmön tarve verkossa hieman kasvoi, polttoaineita kului sähkön ja lämmön tuotantoon reilu 30% vähemmän. Sähkökattilalla tuotettiin noin 20% verkon lämmön tarpeesta. Seinäjoella sähkökattilan käyttöönotto laski yhdessä laskeneiden sähkön markkinahintojen kanssa myös sähköntuotantoa merkittävästi.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524D64C9-7CFA-E2D6-FFCA-4059D3E6F7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32F3CDB-B4EB-07BB-306C-9B5D7843B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8045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6DA163-BC7E-2B25-3AF4-BE09ACC84F3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/>
              <a:t>Tulevaisuusskenaario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F7ACFC-F4DF-EF72-31F0-0CDF5761C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405583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8C4EF-F979-1AC4-A873-C4E3A3D99C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0989241" cy="1325563"/>
          </a:xfrm>
        </p:spPr>
        <p:txBody>
          <a:bodyPr>
            <a:normAutofit/>
          </a:bodyPr>
          <a:lstStyle/>
          <a:p>
            <a:r>
              <a:rPr lang="fi-FI" sz="3600"/>
              <a:t>Fossiilisten ja turpeen käyttö laskee nopeasti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A7C2BD-7B5E-F7B0-4568-ACD8F1A446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6.11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827C4A-66E3-4EAC-164E-3B28AEB88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pPr/>
              <a:t>38</a:t>
            </a:fld>
            <a:endParaRPr lang="en-US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8CC83B5-3274-37B4-4F68-559ED6E117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2741593"/>
              </p:ext>
            </p:extLst>
          </p:nvPr>
        </p:nvGraphicFramePr>
        <p:xfrm>
          <a:off x="857249" y="1476375"/>
          <a:ext cx="10115551" cy="4600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882985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8C4EF-F979-1AC4-A873-C4E3A3D99C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0989241" cy="1325563"/>
          </a:xfrm>
        </p:spPr>
        <p:txBody>
          <a:bodyPr>
            <a:normAutofit/>
          </a:bodyPr>
          <a:lstStyle/>
          <a:p>
            <a:r>
              <a:rPr lang="fi-FI" sz="3600" dirty="0"/>
              <a:t>Biomassan ja jätteen osuus kaukolämmössä tulee laskemaan hieman vuosikymmenen loppua kohden</a:t>
            </a:r>
            <a:endParaRPr lang="fi-FI" sz="3600" dirty="0">
              <a:highlight>
                <a:srgbClr val="FFFF00"/>
              </a:highlight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A7C2BD-7B5E-F7B0-4568-ACD8F1A446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6.11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827C4A-66E3-4EAC-164E-3B28AEB88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pPr/>
              <a:t>39</a:t>
            </a:fld>
            <a:endParaRPr lang="en-US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E99F27AB-1D49-A0C9-C0D0-84DB2D61BB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9309507"/>
              </p:ext>
            </p:extLst>
          </p:nvPr>
        </p:nvGraphicFramePr>
        <p:xfrm>
          <a:off x="752476" y="1495424"/>
          <a:ext cx="10439400" cy="486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31138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DAEBB-39ED-0F33-5464-7CE5011BF3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/>
              <a:t>Tilastot graafeina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2AADDA2-DE3B-D129-9FCF-49D3C85EF85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0896890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32BB0-8869-4822-7B18-30E72E31CF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0989242" cy="1325563"/>
          </a:xfrm>
        </p:spPr>
        <p:txBody>
          <a:bodyPr>
            <a:noAutofit/>
          </a:bodyPr>
          <a:lstStyle/>
          <a:p>
            <a:r>
              <a:rPr lang="fi-FI" sz="3200" dirty="0"/>
              <a:t>Sähköistyvä kaukolämmön tuotanto korvaa fossiilisia ja turvetta sekä pienentää biomassan energiakäytön tarvetta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46F8FE-9204-CF38-22CC-FE5A16C124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 noProof="0"/>
              <a:t>6.11.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37159F-0C73-53C2-9C1A-BF300CD8CF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pPr/>
              <a:t>40</a:t>
            </a:fld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4B7EFE9-B5C0-2094-1444-3BEA973202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8533347"/>
              </p:ext>
            </p:extLst>
          </p:nvPr>
        </p:nvGraphicFramePr>
        <p:xfrm>
          <a:off x="614081" y="1690688"/>
          <a:ext cx="10963838" cy="46943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8353296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BD6B8CC-B196-B5CA-64FD-B06797BD2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8F3ADA54-2E93-770A-0EA5-35CC2CACF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1368010" cy="1325563"/>
          </a:xfrm>
        </p:spPr>
        <p:txBody>
          <a:bodyPr>
            <a:normAutofit/>
          </a:bodyPr>
          <a:lstStyle/>
          <a:p>
            <a:r>
              <a:rPr lang="fi-FI" sz="3600" dirty="0"/>
              <a:t>Kaukolämmön hankinnan energialähteet 1990-2030</a:t>
            </a:r>
            <a:endParaRPr lang="fi-FI" sz="3600" dirty="0">
              <a:solidFill>
                <a:srgbClr val="FF0000"/>
              </a:solidFill>
            </a:endParaRP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69FBE0D-8318-D1E0-AFFD-3E83130FB5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41</a:t>
            </a:fld>
            <a:endParaRPr lang="en-US"/>
          </a:p>
        </p:txBody>
      </p:sp>
      <p:sp>
        <p:nvSpPr>
          <p:cNvPr id="4" name="Tekstiruutu 3">
            <a:extLst>
              <a:ext uri="{FF2B5EF4-FFF2-40B4-BE49-F238E27FC236}">
                <a16:creationId xmlns:a16="http://schemas.microsoft.com/office/drawing/2014/main" id="{C7CFD9FE-CE2C-7533-9EA1-4992BFE5748C}"/>
              </a:ext>
            </a:extLst>
          </p:cNvPr>
          <p:cNvSpPr txBox="1"/>
          <p:nvPr/>
        </p:nvSpPr>
        <p:spPr>
          <a:xfrm>
            <a:off x="6610584" y="6131436"/>
            <a:ext cx="26920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i-FI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*sisältää lämpöpumput ja hukkalämmöt</a:t>
            </a:r>
          </a:p>
        </p:txBody>
      </p:sp>
      <p:sp>
        <p:nvSpPr>
          <p:cNvPr id="8" name="Päivämäärän paikkamerkki 7">
            <a:extLst>
              <a:ext uri="{FF2B5EF4-FFF2-40B4-BE49-F238E27FC236}">
                <a16:creationId xmlns:a16="http://schemas.microsoft.com/office/drawing/2014/main" id="{C4D5FC59-A5C3-5C34-99BF-EB8BC5025F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sp>
        <p:nvSpPr>
          <p:cNvPr id="3" name="TextBox 5">
            <a:extLst>
              <a:ext uri="{FF2B5EF4-FFF2-40B4-BE49-F238E27FC236}">
                <a16:creationId xmlns:a16="http://schemas.microsoft.com/office/drawing/2014/main" id="{1DB82A3A-3D4A-938C-3A39-1ECC052B6C9E}"/>
              </a:ext>
            </a:extLst>
          </p:cNvPr>
          <p:cNvSpPr txBox="1"/>
          <p:nvPr/>
        </p:nvSpPr>
        <p:spPr>
          <a:xfrm>
            <a:off x="1288294" y="6146825"/>
            <a:ext cx="326563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fi-FI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ähde vuosille 2024-2030: Jäsenkysely keväällä 2024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D3D75C6-27DC-D760-7F8D-D610F6A1DC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7034495"/>
              </p:ext>
            </p:extLst>
          </p:nvPr>
        </p:nvGraphicFramePr>
        <p:xfrm>
          <a:off x="614081" y="1418425"/>
          <a:ext cx="9298846" cy="466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064805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58FF983C-6589-F632-A5AB-3BC0CF79E2B5}"/>
              </a:ext>
            </a:extLst>
          </p:cNvPr>
          <p:cNvSpPr/>
          <p:nvPr/>
        </p:nvSpPr>
        <p:spPr>
          <a:xfrm>
            <a:off x="7102532" y="3311810"/>
            <a:ext cx="1112430" cy="143164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fi-FI" sz="1200">
              <a:latin typeface="Verdana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5BF55D7-69B9-A99E-78B3-8F3D1BE8A3DF}"/>
              </a:ext>
            </a:extLst>
          </p:cNvPr>
          <p:cNvSpPr/>
          <p:nvPr/>
        </p:nvSpPr>
        <p:spPr>
          <a:xfrm>
            <a:off x="3162300" y="3311810"/>
            <a:ext cx="1112430" cy="14316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fi-FI" sz="1200">
              <a:latin typeface="Verdana"/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7224A74-FA40-4ECD-B862-413360E065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7224A74-FA40-4ECD-B862-413360E06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4EEB65-92EE-4A6D-87D1-6C01367DF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727559"/>
            <a:ext cx="10658475" cy="590931"/>
          </a:xfrm>
        </p:spPr>
        <p:txBody>
          <a:bodyPr vert="horz"/>
          <a:lstStyle/>
          <a:p>
            <a:r>
              <a:rPr lang="fi-FI" sz="3600"/>
              <a:t>Tilastotietoja 2023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685F63-30B2-41B1-95DD-A4E1B9C70FA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B1617BE-BA58-4B59-88D5-A8C7B239E913}" type="slidenum">
              <a:rPr lang="fi-FI" noProof="0" smtClean="0"/>
              <a:pPr/>
              <a:t>5</a:t>
            </a:fld>
            <a:endParaRPr lang="fi-FI" noProof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41B43EC-07C8-4606-9D40-5313638C1478}"/>
              </a:ext>
            </a:extLst>
          </p:cNvPr>
          <p:cNvSpPr/>
          <p:nvPr/>
        </p:nvSpPr>
        <p:spPr>
          <a:xfrm>
            <a:off x="4274729" y="3311811"/>
            <a:ext cx="2564221" cy="14316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i-FI" sz="2800">
                <a:latin typeface="Verdana"/>
              </a:rPr>
              <a:t>~16 500 km</a:t>
            </a:r>
          </a:p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i-FI" sz="1200">
                <a:latin typeface="Verdana"/>
              </a:rPr>
              <a:t>kaukolämpöverkkoja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2FA56DA-7AFC-4535-9005-F871B889F75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086" t="2611"/>
          <a:stretch/>
        </p:blipFill>
        <p:spPr>
          <a:xfrm>
            <a:off x="758673" y="1808163"/>
            <a:ext cx="2223563" cy="4429125"/>
          </a:xfrm>
          <a:prstGeom prst="rect">
            <a:avLst/>
          </a:prstGeom>
          <a:ln>
            <a:solidFill>
              <a:schemeClr val="lt1"/>
            </a:solidFill>
          </a:ln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059BCA-0748-42D6-878D-6B413D6E6CE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i-FI"/>
              <a:t>6.11.2024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7C1198E-C2BC-7D05-652D-D97085F47520}"/>
              </a:ext>
            </a:extLst>
          </p:cNvPr>
          <p:cNvSpPr/>
          <p:nvPr/>
        </p:nvSpPr>
        <p:spPr>
          <a:xfrm>
            <a:off x="8214962" y="3311811"/>
            <a:ext cx="2564221" cy="143164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i-FI" sz="2800">
                <a:latin typeface="Verdana"/>
              </a:rPr>
              <a:t>~10,1 </a:t>
            </a:r>
            <a:r>
              <a:rPr lang="fi-FI" sz="2800" err="1">
                <a:latin typeface="Verdana"/>
              </a:rPr>
              <a:t>snt</a:t>
            </a:r>
            <a:r>
              <a:rPr lang="fi-FI" sz="2800">
                <a:latin typeface="Verdana"/>
              </a:rPr>
              <a:t>/kWh</a:t>
            </a:r>
          </a:p>
          <a:p>
            <a:pPr marL="0" marR="0" indent="0" algn="ctr" defTabSz="91440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fi-FI" sz="1200">
                <a:latin typeface="Verdana"/>
              </a:rPr>
              <a:t>keskimääräinen hinta veroineen</a:t>
            </a:r>
          </a:p>
        </p:txBody>
      </p:sp>
      <p:grpSp>
        <p:nvGrpSpPr>
          <p:cNvPr id="25" name="Ryhmä 24">
            <a:extLst>
              <a:ext uri="{FF2B5EF4-FFF2-40B4-BE49-F238E27FC236}">
                <a16:creationId xmlns:a16="http://schemas.microsoft.com/office/drawing/2014/main" id="{01ECCC5C-76E0-74EC-4794-6C4B3A267363}"/>
              </a:ext>
            </a:extLst>
          </p:cNvPr>
          <p:cNvGrpSpPr/>
          <p:nvPr/>
        </p:nvGrpSpPr>
        <p:grpSpPr>
          <a:xfrm>
            <a:off x="7102532" y="1808161"/>
            <a:ext cx="3676654" cy="1431649"/>
            <a:chOff x="7102529" y="4815460"/>
            <a:chExt cx="3676654" cy="1431649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F1B2067-8502-D6E6-4667-8E5A404A8867}"/>
                </a:ext>
              </a:extLst>
            </p:cNvPr>
            <p:cNvSpPr/>
            <p:nvPr/>
          </p:nvSpPr>
          <p:spPr>
            <a:xfrm>
              <a:off x="7102529" y="4815460"/>
              <a:ext cx="1112431" cy="143164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fi-FI" sz="1200">
                <a:latin typeface="Verdana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A7640D0-B6D0-6484-3BE4-F60C4E093704}"/>
                </a:ext>
              </a:extLst>
            </p:cNvPr>
            <p:cNvSpPr/>
            <p:nvPr/>
          </p:nvSpPr>
          <p:spPr>
            <a:xfrm>
              <a:off x="8214962" y="4815460"/>
              <a:ext cx="2564221" cy="143164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2800">
                  <a:latin typeface="Verdana"/>
                </a:rPr>
                <a:t>~3,0 milj. ihmistä</a:t>
              </a:r>
            </a:p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1200">
                  <a:latin typeface="Verdana"/>
                </a:rPr>
                <a:t>asuu kaukolämmitetyissä taloissa</a:t>
              </a:r>
            </a:p>
          </p:txBody>
        </p:sp>
        <p:pic>
          <p:nvPicPr>
            <p:cNvPr id="24" name="Graphic 23" descr="Group success with solid fill">
              <a:extLst>
                <a:ext uri="{FF2B5EF4-FFF2-40B4-BE49-F238E27FC236}">
                  <a16:creationId xmlns:a16="http://schemas.microsoft.com/office/drawing/2014/main" id="{87EDD15F-7335-89DF-C60F-1DA3326A30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201547" y="5074084"/>
              <a:ext cx="914400" cy="914400"/>
            </a:xfrm>
            <a:prstGeom prst="rect">
              <a:avLst/>
            </a:prstGeom>
          </p:spPr>
        </p:pic>
      </p:grpSp>
      <p:grpSp>
        <p:nvGrpSpPr>
          <p:cNvPr id="23" name="Ryhmä 22">
            <a:extLst>
              <a:ext uri="{FF2B5EF4-FFF2-40B4-BE49-F238E27FC236}">
                <a16:creationId xmlns:a16="http://schemas.microsoft.com/office/drawing/2014/main" id="{8B418B97-27BB-4F7A-B962-3AE3FBA9A4FE}"/>
              </a:ext>
            </a:extLst>
          </p:cNvPr>
          <p:cNvGrpSpPr/>
          <p:nvPr/>
        </p:nvGrpSpPr>
        <p:grpSpPr>
          <a:xfrm>
            <a:off x="7102532" y="4834079"/>
            <a:ext cx="3676651" cy="1431650"/>
            <a:chOff x="7102532" y="1808162"/>
            <a:chExt cx="3676651" cy="1431650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25996E88-A9FB-7D84-5DE8-43ECFE457735}"/>
                </a:ext>
              </a:extLst>
            </p:cNvPr>
            <p:cNvSpPr/>
            <p:nvPr/>
          </p:nvSpPr>
          <p:spPr>
            <a:xfrm>
              <a:off x="7102532" y="1808162"/>
              <a:ext cx="1112430" cy="1431649"/>
            </a:xfrm>
            <a:prstGeom prst="rect">
              <a:avLst/>
            </a:prstGeom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fi-FI" sz="1200">
                <a:latin typeface="Verdana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3B139C2-F262-4208-ADA3-4248B876C78D}"/>
                </a:ext>
              </a:extLst>
            </p:cNvPr>
            <p:cNvSpPr/>
            <p:nvPr/>
          </p:nvSpPr>
          <p:spPr>
            <a:xfrm>
              <a:off x="8214962" y="1808163"/>
              <a:ext cx="2564221" cy="1431649"/>
            </a:xfrm>
            <a:prstGeom prst="rect">
              <a:avLst/>
            </a:prstGeom>
            <a:solidFill>
              <a:schemeClr val="accent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2800">
                  <a:latin typeface="Verdana"/>
                </a:rPr>
                <a:t>~3 mrd. EUR </a:t>
              </a:r>
              <a:br>
                <a:rPr lang="fi-FI" sz="1400">
                  <a:latin typeface="Verdana"/>
                </a:rPr>
              </a:br>
              <a:r>
                <a:rPr lang="fi-FI" sz="1200">
                  <a:latin typeface="Verdana"/>
                </a:rPr>
                <a:t>myydyn lämmön arvo veroineen</a:t>
              </a:r>
            </a:p>
          </p:txBody>
        </p:sp>
        <p:pic>
          <p:nvPicPr>
            <p:cNvPr id="26" name="Graphic 25" descr="Coins outline">
              <a:extLst>
                <a:ext uri="{FF2B5EF4-FFF2-40B4-BE49-F238E27FC236}">
                  <a16:creationId xmlns:a16="http://schemas.microsoft.com/office/drawing/2014/main" id="{DF3F6D23-3E24-E57B-AF5F-A53784544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201547" y="2042540"/>
              <a:ext cx="914400" cy="914400"/>
            </a:xfrm>
            <a:prstGeom prst="rect">
              <a:avLst/>
            </a:prstGeom>
          </p:spPr>
        </p:pic>
      </p:grp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F7BFCE9B-93E0-3ED9-CE2B-D12647DF1AB8}"/>
              </a:ext>
            </a:extLst>
          </p:cNvPr>
          <p:cNvGrpSpPr/>
          <p:nvPr/>
        </p:nvGrpSpPr>
        <p:grpSpPr>
          <a:xfrm>
            <a:off x="3162300" y="4834079"/>
            <a:ext cx="3676650" cy="1431650"/>
            <a:chOff x="3162300" y="1808162"/>
            <a:chExt cx="3676650" cy="1431650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F583E33-AC50-A090-F4D3-F0E72B057A99}"/>
                </a:ext>
              </a:extLst>
            </p:cNvPr>
            <p:cNvSpPr/>
            <p:nvPr/>
          </p:nvSpPr>
          <p:spPr>
            <a:xfrm>
              <a:off x="3162300" y="1808162"/>
              <a:ext cx="1112430" cy="14316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fi-FI" sz="1200">
                <a:latin typeface="Verdana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F3040C4-7C62-4340-85D2-F98DC5EA5DAB}"/>
                </a:ext>
              </a:extLst>
            </p:cNvPr>
            <p:cNvSpPr/>
            <p:nvPr/>
          </p:nvSpPr>
          <p:spPr>
            <a:xfrm>
              <a:off x="4274729" y="1808163"/>
              <a:ext cx="2564221" cy="14316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2800">
                  <a:latin typeface="Verdana"/>
                </a:rPr>
                <a:t>45 % </a:t>
              </a:r>
              <a:br>
                <a:rPr lang="fi-FI" sz="1400">
                  <a:latin typeface="Verdana"/>
                </a:rPr>
              </a:br>
              <a:r>
                <a:rPr lang="fi-FI" sz="1200">
                  <a:latin typeface="Verdana"/>
                </a:rPr>
                <a:t>markkinaosuus*</a:t>
              </a:r>
            </a:p>
          </p:txBody>
        </p:sp>
        <p:pic>
          <p:nvPicPr>
            <p:cNvPr id="28" name="Graphic 27" descr="Harvey Balls 50% with solid fill">
              <a:extLst>
                <a:ext uri="{FF2B5EF4-FFF2-40B4-BE49-F238E27FC236}">
                  <a16:creationId xmlns:a16="http://schemas.microsoft.com/office/drawing/2014/main" id="{FDD56339-598B-7A7B-A6D7-CEF1FBD16B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3261315" y="2066787"/>
              <a:ext cx="914400" cy="914400"/>
            </a:xfrm>
            <a:prstGeom prst="rect">
              <a:avLst/>
            </a:prstGeom>
          </p:spPr>
        </p:pic>
      </p:grpSp>
      <p:pic>
        <p:nvPicPr>
          <p:cNvPr id="30" name="Graphic 29" descr="Network with solid fill">
            <a:extLst>
              <a:ext uri="{FF2B5EF4-FFF2-40B4-BE49-F238E27FC236}">
                <a16:creationId xmlns:a16="http://schemas.microsoft.com/office/drawing/2014/main" id="{ADB9349D-D238-65A9-06F1-06BE07CCF10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61315" y="3570435"/>
            <a:ext cx="914400" cy="914400"/>
          </a:xfrm>
          <a:prstGeom prst="rect">
            <a:avLst/>
          </a:prstGeom>
        </p:spPr>
      </p:pic>
      <p:pic>
        <p:nvPicPr>
          <p:cNvPr id="32" name="Graphic 31" descr="Supply And Demand with solid fill">
            <a:extLst>
              <a:ext uri="{FF2B5EF4-FFF2-40B4-BE49-F238E27FC236}">
                <a16:creationId xmlns:a16="http://schemas.microsoft.com/office/drawing/2014/main" id="{0522A6D9-923F-C1E9-21FC-FAD5511A215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201547" y="3570434"/>
            <a:ext cx="914400" cy="914400"/>
          </a:xfrm>
          <a:prstGeom prst="rect">
            <a:avLst/>
          </a:prstGeom>
        </p:spPr>
      </p:pic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949661AC-DAFE-7D4F-BBA8-ADB449EC01EA}"/>
              </a:ext>
            </a:extLst>
          </p:cNvPr>
          <p:cNvSpPr txBox="1">
            <a:spLocks/>
          </p:cNvSpPr>
          <p:nvPr/>
        </p:nvSpPr>
        <p:spPr>
          <a:xfrm>
            <a:off x="758672" y="1313631"/>
            <a:ext cx="2223563" cy="48013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>
                  <a:lumMod val="75000"/>
                </a:schemeClr>
              </a:buClr>
              <a:buFont typeface="Arial"/>
              <a:buChar char="•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>
                  <a:lumMod val="50000"/>
                </a:schemeClr>
              </a:buClr>
              <a:buFont typeface="Lucida Grande"/>
              <a:buChar char="–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i-FI" sz="1400"/>
              <a:t>Kaukolämpöverkot Suomessa</a:t>
            </a:r>
          </a:p>
        </p:txBody>
      </p:sp>
      <p:grpSp>
        <p:nvGrpSpPr>
          <p:cNvPr id="19" name="Ryhmä 18">
            <a:extLst>
              <a:ext uri="{FF2B5EF4-FFF2-40B4-BE49-F238E27FC236}">
                <a16:creationId xmlns:a16="http://schemas.microsoft.com/office/drawing/2014/main" id="{D4299FDF-48F4-94BC-55E4-42D79B7C3654}"/>
              </a:ext>
            </a:extLst>
          </p:cNvPr>
          <p:cNvGrpSpPr/>
          <p:nvPr/>
        </p:nvGrpSpPr>
        <p:grpSpPr>
          <a:xfrm>
            <a:off x="3162298" y="1808161"/>
            <a:ext cx="3676652" cy="1431649"/>
            <a:chOff x="3162297" y="4815460"/>
            <a:chExt cx="3676652" cy="1431649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A206AFA-A945-7D8A-40AB-85D37B31081D}"/>
                </a:ext>
              </a:extLst>
            </p:cNvPr>
            <p:cNvSpPr/>
            <p:nvPr/>
          </p:nvSpPr>
          <p:spPr>
            <a:xfrm>
              <a:off x="3162297" y="4815460"/>
              <a:ext cx="1112431" cy="14316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fi-FI" sz="1200">
                <a:latin typeface="Verdana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57BE54E-2065-4AF5-90E3-7407DF0969DA}"/>
                </a:ext>
              </a:extLst>
            </p:cNvPr>
            <p:cNvSpPr/>
            <p:nvPr/>
          </p:nvSpPr>
          <p:spPr>
            <a:xfrm>
              <a:off x="4274728" y="4815460"/>
              <a:ext cx="2564221" cy="14316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2800">
                  <a:latin typeface="Verdana"/>
                </a:rPr>
                <a:t>~33 </a:t>
              </a:r>
              <a:r>
                <a:rPr lang="fi-FI" sz="2800" err="1">
                  <a:latin typeface="Verdana"/>
                </a:rPr>
                <a:t>TWh</a:t>
              </a:r>
              <a:endParaRPr lang="fi-FI" sz="2800">
                <a:latin typeface="Verdana"/>
              </a:endParaRPr>
            </a:p>
            <a:p>
              <a:pPr marL="0" marR="0" indent="0" algn="ctr" defTabSz="914400" eaLnBrk="1" fontAlgn="auto" latinLnBrk="0" hangingPunct="1">
                <a:lnSpc>
                  <a:spcPct val="95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fi-FI" sz="1200">
                  <a:latin typeface="Verdana"/>
                </a:rPr>
                <a:t>myytyä energiaa vuosittain</a:t>
              </a:r>
            </a:p>
          </p:txBody>
        </p:sp>
        <p:pic>
          <p:nvPicPr>
            <p:cNvPr id="40" name="Graphic 39" descr="Fire with solid fill">
              <a:extLst>
                <a:ext uri="{FF2B5EF4-FFF2-40B4-BE49-F238E27FC236}">
                  <a16:creationId xmlns:a16="http://schemas.microsoft.com/office/drawing/2014/main" id="{B80B2BFE-7811-9F15-9094-AD35BE64FD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261313" y="5043646"/>
              <a:ext cx="914400" cy="914400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C0BE165D-D084-6E68-12D6-A8DBE423EBFD}"/>
              </a:ext>
            </a:extLst>
          </p:cNvPr>
          <p:cNvSpPr txBox="1"/>
          <p:nvPr/>
        </p:nvSpPr>
        <p:spPr>
          <a:xfrm>
            <a:off x="3162298" y="6279624"/>
            <a:ext cx="28463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900">
                <a:solidFill>
                  <a:schemeClr val="tx1">
                    <a:lumMod val="65000"/>
                    <a:lumOff val="35000"/>
                  </a:schemeClr>
                </a:solidFill>
              </a:rPr>
              <a:t>*lämmityksen markkinaosuus asuin- ja kerrostaloissa</a:t>
            </a:r>
          </a:p>
        </p:txBody>
      </p:sp>
    </p:spTree>
    <p:extLst>
      <p:ext uri="{BB962C8B-B14F-4D97-AF65-F5344CB8AC3E}">
        <p14:creationId xmlns:p14="http://schemas.microsoft.com/office/powerpoint/2010/main" val="774552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AAEC898-8B4B-4F87-9A78-ADE044BAB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2" y="255069"/>
            <a:ext cx="7329718" cy="1435619"/>
          </a:xfrm>
        </p:spPr>
        <p:txBody>
          <a:bodyPr>
            <a:normAutofit/>
          </a:bodyPr>
          <a:lstStyle/>
          <a:p>
            <a:r>
              <a:rPr lang="fi-FI" sz="3600"/>
              <a:t>Lämmityksen markkinaosuudet 2022 </a:t>
            </a:r>
            <a:r>
              <a:rPr lang="fi-FI" sz="2000"/>
              <a:t>Asuin- ja palvelurakennukset</a:t>
            </a:r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0A95179-17CB-48FB-A4FE-84B636EC4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6</a:t>
            </a:fld>
            <a:endParaRPr lang="en-US"/>
          </a:p>
        </p:txBody>
      </p:sp>
      <p:sp>
        <p:nvSpPr>
          <p:cNvPr id="3" name="Tekstiruutu 2">
            <a:extLst>
              <a:ext uri="{FF2B5EF4-FFF2-40B4-BE49-F238E27FC236}">
                <a16:creationId xmlns:a16="http://schemas.microsoft.com/office/drawing/2014/main" id="{256834F6-18E7-49D6-A1F4-4DE635DA4A60}"/>
              </a:ext>
            </a:extLst>
          </p:cNvPr>
          <p:cNvSpPr txBox="1"/>
          <p:nvPr/>
        </p:nvSpPr>
        <p:spPr>
          <a:xfrm>
            <a:off x="6092266" y="4367354"/>
            <a:ext cx="402173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ämpöpumppulämpö: lämpöpumpuilla ympäristöstä (maasta, ilmasta tai vedestä) </a:t>
            </a:r>
            <a:r>
              <a:rPr lang="fi-FI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talteenotettu</a:t>
            </a:r>
            <a:r>
              <a:rPr lang="fi-FI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energia, jota käytetään rakennusten lämmitykseen. </a:t>
            </a:r>
          </a:p>
          <a:p>
            <a:r>
              <a:rPr lang="fi-FI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ämpöpumppujen sähkö: arvioitu lämpöpumppujen käyttämä sähkö.</a:t>
            </a:r>
          </a:p>
          <a:p>
            <a:r>
              <a:rPr lang="fi-FI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ähkölämpö: sisältää myös lämmönjakolaitteiden käyttämän sähkön sekä kiukaiden sähkön. </a:t>
            </a:r>
          </a:p>
          <a:p>
            <a:r>
              <a:rPr lang="fi-FI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uun pienkäyttö: sisältää myös kiukaiden käyttämän puun.</a:t>
            </a:r>
          </a:p>
        </p:txBody>
      </p:sp>
      <p:sp>
        <p:nvSpPr>
          <p:cNvPr id="9" name="Text Box 1">
            <a:extLst>
              <a:ext uri="{FF2B5EF4-FFF2-40B4-BE49-F238E27FC236}">
                <a16:creationId xmlns:a16="http://schemas.microsoft.com/office/drawing/2014/main" id="{B0DF8BF7-1039-4E82-8A6D-CBEC214497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486" y="6134613"/>
            <a:ext cx="4832249" cy="297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xmlns:mc="http://schemas.openxmlformats.org/markup-compatibility/2006" val="FFFFFF" mc:Ignorable="a14" a14:legacySpreadsheetColorIndex="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xmlns:mc="http://schemas.openxmlformats.org/markup-compatibility/2006" val="000000" mc:Ignorable="a14" a14:legacySpreadsheetColorIndex="64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tIns="32004" rIns="0" bIns="0" anchor="t" upright="1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 sz="1000"/>
            </a:pPr>
            <a:r>
              <a:rPr lang="fi-FI" sz="1200">
                <a:solidFill>
                  <a:schemeClr val="tx1">
                    <a:lumMod val="65000"/>
                    <a:lumOff val="35000"/>
                  </a:schemeClr>
                </a:solidFill>
              </a:rPr>
              <a:t>Lähde: Tilastokeskus, Energia 2023 –taulukkopalvelu, Taulukko 7.2</a:t>
            </a:r>
            <a:endParaRPr lang="fi-FI" sz="1200" i="0" u="none" strike="noStrike" baseline="0">
              <a:solidFill>
                <a:srgbClr val="000000"/>
              </a:solidFill>
              <a:latin typeface="+mn-lt"/>
              <a:ea typeface="Verdana"/>
              <a:cs typeface="Verdana"/>
            </a:endParaRP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B87BD7E3-CDE2-79E8-CE0B-A6CBAEE01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6" name="Kaavio 1">
            <a:extLst>
              <a:ext uri="{FF2B5EF4-FFF2-40B4-BE49-F238E27FC236}">
                <a16:creationId xmlns:a16="http://schemas.microsoft.com/office/drawing/2014/main" id="{D504BE2E-6515-4774-B068-13C14DFE6E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4888474"/>
              </p:ext>
            </p:extLst>
          </p:nvPr>
        </p:nvGraphicFramePr>
        <p:xfrm>
          <a:off x="0" y="1559371"/>
          <a:ext cx="7410223" cy="4592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93549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0EF11A0-872B-4CFB-8A0A-E3E5EB28A8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861762" cy="1325563"/>
          </a:xfrm>
        </p:spPr>
        <p:txBody>
          <a:bodyPr>
            <a:normAutofit/>
          </a:bodyPr>
          <a:lstStyle/>
          <a:p>
            <a:r>
              <a:rPr lang="fi-FI" sz="3600"/>
              <a:t>Kaukolämmön käyttö ja asiakkaiden sopimusteho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072D8E7-1C6E-4C8E-8720-B0FC2681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7</a:t>
            </a:fld>
            <a:endParaRPr lang="en-US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4ED13F1-6967-8B05-44F5-362F852EE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A4727B7-3C5E-4215-96B4-6446195C76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9151522"/>
              </p:ext>
            </p:extLst>
          </p:nvPr>
        </p:nvGraphicFramePr>
        <p:xfrm>
          <a:off x="614080" y="1480593"/>
          <a:ext cx="8092598" cy="46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920238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0EF11A0-872B-4CFB-8A0A-E3E5EB28A8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9974734" cy="1223043"/>
          </a:xfrm>
        </p:spPr>
        <p:txBody>
          <a:bodyPr>
            <a:normAutofit/>
          </a:bodyPr>
          <a:lstStyle/>
          <a:p>
            <a:r>
              <a:rPr lang="fi-FI" sz="3600"/>
              <a:t>Kaukolämmön mitattu ja lämpötilakorjattu käyttö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072D8E7-1C6E-4C8E-8720-B0FC26817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8</a:t>
            </a:fld>
            <a:endParaRPr lang="en-US"/>
          </a:p>
        </p:txBody>
      </p:sp>
      <p:sp>
        <p:nvSpPr>
          <p:cNvPr id="7" name="Tekstiruutu 6">
            <a:extLst>
              <a:ext uri="{FF2B5EF4-FFF2-40B4-BE49-F238E27FC236}">
                <a16:creationId xmlns:a16="http://schemas.microsoft.com/office/drawing/2014/main" id="{759AE806-088A-49C6-AEE7-E35F7D97FD99}"/>
              </a:ext>
            </a:extLst>
          </p:cNvPr>
          <p:cNvSpPr txBox="1"/>
          <p:nvPr/>
        </p:nvSpPr>
        <p:spPr>
          <a:xfrm>
            <a:off x="7969053" y="2024985"/>
            <a:ext cx="360886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Kaukolämmön käyttö 33,2 </a:t>
            </a:r>
            <a:r>
              <a:rPr lang="fi-FI" err="1">
                <a:solidFill>
                  <a:schemeClr val="tx1">
                    <a:lumMod val="65000"/>
                    <a:lumOff val="35000"/>
                  </a:schemeClr>
                </a:solidFill>
              </a:rPr>
              <a:t>TWh</a:t>
            </a: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 (v. 2023)</a:t>
            </a:r>
          </a:p>
          <a:p>
            <a:pPr marL="541338" lvl="1" indent="-18732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pötilakorjattuna 33,8 </a:t>
            </a:r>
            <a:r>
              <a:rPr lang="fi-FI" err="1">
                <a:solidFill>
                  <a:schemeClr val="tx1">
                    <a:lumMod val="65000"/>
                    <a:lumOff val="35000"/>
                  </a:schemeClr>
                </a:solidFill>
              </a:rPr>
              <a:t>TWh</a:t>
            </a:r>
            <a:endParaRPr lang="fi-FI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i-FI">
                <a:solidFill>
                  <a:schemeClr val="tx1">
                    <a:lumMod val="65000"/>
                    <a:lumOff val="35000"/>
                  </a:schemeClr>
                </a:solidFill>
              </a:rPr>
              <a:t>Lämpötilakorjattu lämmön käyttö laski edellisvuodesta 0,3 % 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A85C727-226C-C7F3-B8ED-FCF551564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6" name="Kaavio 1">
            <a:extLst>
              <a:ext uri="{FF2B5EF4-FFF2-40B4-BE49-F238E27FC236}">
                <a16:creationId xmlns:a16="http://schemas.microsoft.com/office/drawing/2014/main" id="{D113D32D-A564-29DD-21E5-84529C7780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9876267"/>
              </p:ext>
            </p:extLst>
          </p:nvPr>
        </p:nvGraphicFramePr>
        <p:xfrm>
          <a:off x="614081" y="1588168"/>
          <a:ext cx="7545945" cy="4494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999067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B66A6D0-1D6C-4B38-92DA-92846BA71D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081" y="365125"/>
            <a:ext cx="10169875" cy="1235075"/>
          </a:xfrm>
        </p:spPr>
        <p:txBody>
          <a:bodyPr>
            <a:normAutofit/>
          </a:bodyPr>
          <a:lstStyle/>
          <a:p>
            <a:r>
              <a:rPr lang="fi-FI" sz="3600" dirty="0"/>
              <a:t>Asiakkaiden lukumäärä ja kaukolämpöverkon johtopituus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233F10E-85E8-461E-B926-F3B0E208D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DC59A-8C4B-3741-8921-09D2C8EE8BFB}" type="slidenum">
              <a:rPr lang="en-US" smtClean="0"/>
              <a:t>9</a:t>
            </a:fld>
            <a:endParaRPr lang="en-US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4DF9F5BA-EF7C-D734-C187-89F64B0AD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6.11.2024</a:t>
            </a:r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70FC8F10-55AB-5A13-BD58-86766FD7A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7923972"/>
              </p:ext>
            </p:extLst>
          </p:nvPr>
        </p:nvGraphicFramePr>
        <p:xfrm>
          <a:off x="616352" y="1390650"/>
          <a:ext cx="8018609" cy="5163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580867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lFHfENGZZYNIkv3Grd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ergiateollisuus">
  <a:themeElements>
    <a:clrScheme name="Energiateollisuus">
      <a:dk1>
        <a:srgbClr val="000000"/>
      </a:dk1>
      <a:lt1>
        <a:srgbClr val="FFFFFF"/>
      </a:lt1>
      <a:dk2>
        <a:srgbClr val="DB5800"/>
      </a:dk2>
      <a:lt2>
        <a:srgbClr val="E7E6E6"/>
      </a:lt2>
      <a:accent1>
        <a:srgbClr val="460D56"/>
      </a:accent1>
      <a:accent2>
        <a:srgbClr val="9E78B2"/>
      </a:accent2>
      <a:accent3>
        <a:srgbClr val="B21C58"/>
      </a:accent3>
      <a:accent4>
        <a:srgbClr val="EA7911"/>
      </a:accent4>
      <a:accent5>
        <a:srgbClr val="4EADBB"/>
      </a:accent5>
      <a:accent6>
        <a:srgbClr val="14B063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nergiateollisuus" id="{55CFBF0B-11E4-2A4C-8D3A-81BA89ED3745}" vid="{DCA50BD7-A851-F742-8C56-D9351B008FF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2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3.xml><?xml version="1.0" encoding="utf-8"?>
<a:themeOverride xmlns:a="http://schemas.openxmlformats.org/drawingml/2006/main">
  <a:clrScheme name="Energiateollisuus2017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5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6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7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8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9.xml><?xml version="1.0" encoding="utf-8"?>
<a:themeOverride xmlns:a="http://schemas.openxmlformats.org/drawingml/2006/main">
  <a:clrScheme name="Custom 1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Energiateollisuus">
    <a:dk1>
      <a:srgbClr val="000000"/>
    </a:dk1>
    <a:lt1>
      <a:srgbClr val="FFFFFF"/>
    </a:lt1>
    <a:dk2>
      <a:srgbClr val="DB5800"/>
    </a:dk2>
    <a:lt2>
      <a:srgbClr val="E7E6E6"/>
    </a:lt2>
    <a:accent1>
      <a:srgbClr val="460D56"/>
    </a:accent1>
    <a:accent2>
      <a:srgbClr val="9E78B2"/>
    </a:accent2>
    <a:accent3>
      <a:srgbClr val="B21C58"/>
    </a:accent3>
    <a:accent4>
      <a:srgbClr val="EA7911"/>
    </a:accent4>
    <a:accent5>
      <a:srgbClr val="4EADBB"/>
    </a:accent5>
    <a:accent6>
      <a:srgbClr val="14B063"/>
    </a:accent6>
    <a:hlink>
      <a:srgbClr val="0563C1"/>
    </a:hlink>
    <a:folHlink>
      <a:srgbClr val="954F7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3637f4e-3105-4f21-b1b4-ef4680048a14" xsi:nil="true"/>
    <lcf76f155ced4ddcb4097134ff3c332f xmlns="2c39e6aa-46e8-428a-81cc-27a4ca9f5229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23BE75E6072349999047A5FA9D42AC" ma:contentTypeVersion="18" ma:contentTypeDescription="Create a new document." ma:contentTypeScope="" ma:versionID="eea5ab055b7d9cdb6ef741d4641646d8">
  <xsd:schema xmlns:xsd="http://www.w3.org/2001/XMLSchema" xmlns:xs="http://www.w3.org/2001/XMLSchema" xmlns:p="http://schemas.microsoft.com/office/2006/metadata/properties" xmlns:ns2="2c39e6aa-46e8-428a-81cc-27a4ca9f5229" xmlns:ns3="f3637f4e-3105-4f21-b1b4-ef4680048a14" targetNamespace="http://schemas.microsoft.com/office/2006/metadata/properties" ma:root="true" ma:fieldsID="92342dbdaf3c709d3624a380d40ed819" ns2:_="" ns3:_="">
    <xsd:import namespace="2c39e6aa-46e8-428a-81cc-27a4ca9f5229"/>
    <xsd:import namespace="f3637f4e-3105-4f21-b1b4-ef4680048a1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39e6aa-46e8-428a-81cc-27a4ca9f52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2b0897a-976a-40fc-9eb3-43b30155ff6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637f4e-3105-4f21-b1b4-ef4680048a1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3bdb7821-bbcb-453a-9820-f8d58f23fe74}" ma:internalName="TaxCatchAll" ma:showField="CatchAllData" ma:web="f3637f4e-3105-4f21-b1b4-ef4680048a1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63DED46-6EAD-47D0-8BD8-2D3E2C4C6B4D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2c39e6aa-46e8-428a-81cc-27a4ca9f5229"/>
    <ds:schemaRef ds:uri="http://purl.org/dc/terms/"/>
    <ds:schemaRef ds:uri="http://schemas.microsoft.com/office/infopath/2007/PartnerControls"/>
    <ds:schemaRef ds:uri="f3637f4e-3105-4f21-b1b4-ef4680048a14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92732B9-E981-4866-AA3F-D3F5C43BB3C8}">
  <ds:schemaRefs>
    <ds:schemaRef ds:uri="2c39e6aa-46e8-428a-81cc-27a4ca9f5229"/>
    <ds:schemaRef ds:uri="f3637f4e-3105-4f21-b1b4-ef4680048a1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C55B3C5-37EB-4692-8559-6856140D161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ergiateollisuus</Template>
  <TotalTime>148</TotalTime>
  <Words>1538</Words>
  <Application>Microsoft Office PowerPoint</Application>
  <PresentationFormat>Widescreen</PresentationFormat>
  <Paragraphs>359</Paragraphs>
  <Slides>4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8" baseType="lpstr">
      <vt:lpstr>Arial</vt:lpstr>
      <vt:lpstr>Calibri</vt:lpstr>
      <vt:lpstr>Courier New</vt:lpstr>
      <vt:lpstr>Lucida Grande</vt:lpstr>
      <vt:lpstr>Verdana</vt:lpstr>
      <vt:lpstr>Energiateollisuus</vt:lpstr>
      <vt:lpstr>think-cell Slide</vt:lpstr>
      <vt:lpstr>Kaukolämpö 2023</vt:lpstr>
      <vt:lpstr>Sisällysluettelo</vt:lpstr>
      <vt:lpstr>Tilastovuosi 2023</vt:lpstr>
      <vt:lpstr>Tilastot graafeina</vt:lpstr>
      <vt:lpstr>Tilastotietoja 2023</vt:lpstr>
      <vt:lpstr>Lämmityksen markkinaosuudet 2022 Asuin- ja palvelurakennukset</vt:lpstr>
      <vt:lpstr>Kaukolämmön käyttö ja asiakkaiden sopimusteho</vt:lpstr>
      <vt:lpstr>Kaukolämmön mitattu ja lämpötilakorjattu käyttö</vt:lpstr>
      <vt:lpstr>Asiakkaiden lukumäärä ja kaukolämpöverkon johtopituus</vt:lpstr>
      <vt:lpstr>Lämpöindeksin kehitys kaukolämmitetyissä rakennuksissa</vt:lpstr>
      <vt:lpstr>Kaukolämmön hankinta ja yhteistuotannon osuus</vt:lpstr>
      <vt:lpstr>Kaukolämmön hankinta sekä kaukolämmön ja siihen liittyvän sähkön tuotantoon käytetyt polttoaineet</vt:lpstr>
      <vt:lpstr>Kaukolämmön hankinnan energialähteet 2023 polttoaineluokittain</vt:lpstr>
      <vt:lpstr>Kaukolämmön hankinnan energialähteet 2023 polttoaineittain</vt:lpstr>
      <vt:lpstr>Kaukolämmön hankinnan energialähteet 2023 ja 2022</vt:lpstr>
      <vt:lpstr>Sähkökattiloiden tuottama lämpö</vt:lpstr>
      <vt:lpstr>Kaukolämmön hankinnan energialähteet  1990-2023</vt:lpstr>
      <vt:lpstr>Kaukolämmön hankinnan energialähteet  1976-2023</vt:lpstr>
      <vt:lpstr>Kaukolämmön energialähteet 2023 maakunnittain</vt:lpstr>
      <vt:lpstr>Kaukolämmön energialähteet maakunnittain vuosina 2005 ja 2023</vt:lpstr>
      <vt:lpstr>Uusiutuvien polttoaineiden käyttö kaukolämmön ja siihen liittyvän sähkön tuotantoon</vt:lpstr>
      <vt:lpstr>Hukka- ja ympäristölämpöjen ja sähkökattiloiden hyödyntäminen</vt:lpstr>
      <vt:lpstr>Kaukolämmön kokonaispäästöt</vt:lpstr>
      <vt:lpstr>Kaukolämmön hankinnan hiilidioksidipäästöt</vt:lpstr>
      <vt:lpstr>Kaukolämmön keskihinta sekä minimi- ja maksimiarvot (sis. alv)</vt:lpstr>
      <vt:lpstr>Kaukolämpöyritysten lukumäärän jakautuma lämmön keskihinnan mukaan vuonna 2023 (sis. alv)</vt:lpstr>
      <vt:lpstr>Kaukolämmön hinta uudisrakennuksissa (€/MWh) Teho- ja energiamaksu, sis. verot</vt:lpstr>
      <vt:lpstr>Kaukolämmön reaalihinnan kehitys Elinkustannusindeksillä korjattuna, verollinen ja veroton keskihinta</vt:lpstr>
      <vt:lpstr>Kaukolämmön käytön jakaantuminen 2023</vt:lpstr>
      <vt:lpstr>Asiakkaiden osuudet sopimusteholuokittain</vt:lpstr>
      <vt:lpstr>Kaukolämmön tuotantokapasiteetti ja asiakkaiden sopimusteho</vt:lpstr>
      <vt:lpstr>Analyysi</vt:lpstr>
      <vt:lpstr>Kaukolämmön arvioitu kulutus kuukausittain</vt:lpstr>
      <vt:lpstr>Vertailu 2021 - Huolimatta suuresta erosta kokonaiskysynnässä, sähkön ja lämmön piikkikulutukset ovat varsin lähellä toisiaan</vt:lpstr>
      <vt:lpstr>Vertailu 2021 – sähkön ja kaukolämmön kysyntähuippu talvella</vt:lpstr>
      <vt:lpstr>Sähkökattiloiden vaikutus polttoaineiden kulutukseen – Sähkökattila laski Seinäjoen kaukolämpöverkon polttoainetarvetta merkittävästi</vt:lpstr>
      <vt:lpstr>Tulevaisuusskenaariot</vt:lpstr>
      <vt:lpstr>Fossiilisten ja turpeen käyttö laskee nopeasti</vt:lpstr>
      <vt:lpstr>Biomassan ja jätteen osuus kaukolämmössä tulee laskemaan hieman vuosikymmenen loppua kohden</vt:lpstr>
      <vt:lpstr>Sähköistyvä kaukolämmön tuotanto korvaa fossiilisia ja turvetta sekä pienentää biomassan energiakäytön tarvetta</vt:lpstr>
      <vt:lpstr>Kaukolämmön hankinnan energialähteet 1990-2030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ukolampo graafeina</dc:title>
  <dc:creator>Tiitinen Mirja</dc:creator>
  <cp:lastModifiedBy>Huttunen Neea</cp:lastModifiedBy>
  <cp:revision>12</cp:revision>
  <dcterms:created xsi:type="dcterms:W3CDTF">2017-12-28T08:25:13Z</dcterms:created>
  <dcterms:modified xsi:type="dcterms:W3CDTF">2024-11-06T08:4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023BE75E6072349999047A5FA9D42AC</vt:lpwstr>
  </property>
  <property fmtid="{D5CDD505-2E9C-101B-9397-08002B2CF9AE}" pid="3" name="MediaServiceImageTags">
    <vt:lpwstr/>
  </property>
</Properties>
</file>